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8" r:id="rId2"/>
  </p:sldMasterIdLst>
  <p:notesMasterIdLst>
    <p:notesMasterId r:id="rId27"/>
  </p:notesMasterIdLst>
  <p:sldIdLst>
    <p:sldId id="269" r:id="rId3"/>
    <p:sldId id="715" r:id="rId4"/>
    <p:sldId id="716" r:id="rId5"/>
    <p:sldId id="717" r:id="rId6"/>
    <p:sldId id="718" r:id="rId7"/>
    <p:sldId id="719" r:id="rId8"/>
    <p:sldId id="720" r:id="rId9"/>
    <p:sldId id="721" r:id="rId10"/>
    <p:sldId id="722" r:id="rId11"/>
    <p:sldId id="723" r:id="rId12"/>
    <p:sldId id="724" r:id="rId13"/>
    <p:sldId id="725" r:id="rId14"/>
    <p:sldId id="698" r:id="rId15"/>
    <p:sldId id="710" r:id="rId16"/>
    <p:sldId id="700" r:id="rId17"/>
    <p:sldId id="709" r:id="rId18"/>
    <p:sldId id="701" r:id="rId19"/>
    <p:sldId id="712" r:id="rId20"/>
    <p:sldId id="708" r:id="rId21"/>
    <p:sldId id="703" r:id="rId22"/>
    <p:sldId id="704" r:id="rId23"/>
    <p:sldId id="705" r:id="rId24"/>
    <p:sldId id="706" r:id="rId25"/>
    <p:sldId id="71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showGuides="1">
      <p:cViewPr varScale="1">
        <p:scale>
          <a:sx n="110" d="100"/>
          <a:sy n="110" d="100"/>
        </p:scale>
        <p:origin x="552" y="108"/>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B63A5F-B649-4976-9A1C-DCBCC279BC4E}" type="datetimeFigureOut">
              <a:rPr lang="en-US" smtClean="0"/>
              <a:t>25-Feb-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65C9BA-0910-4F8C-B411-265960834CF5}" type="slidenum">
              <a:rPr lang="en-US" smtClean="0"/>
              <a:t>‹#›</a:t>
            </a:fld>
            <a:endParaRPr lang="en-US"/>
          </a:p>
        </p:txBody>
      </p:sp>
    </p:spTree>
    <p:extLst>
      <p:ext uri="{BB962C8B-B14F-4D97-AF65-F5344CB8AC3E}">
        <p14:creationId xmlns:p14="http://schemas.microsoft.com/office/powerpoint/2010/main" val="14434458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718DD-4AAF-4D8A-BA7D-B91CCB27E3C3}"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936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718DD-4AAF-4D8A-BA7D-B91CCB27E3C3}"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6200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11D287-D87B-4CDB-9114-1953967B6D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9559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6.png"/><Relationship Id="rId7"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7.svg"/><Relationship Id="rId9" Type="http://schemas.openxmlformats.org/officeDocument/2006/relationships/image" Target="../media/image2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Option 1">
    <p:bg>
      <p:bgPr>
        <a:solidFill>
          <a:schemeClr val="bg1"/>
        </a:solidFill>
        <a:effectLst/>
      </p:bgPr>
    </p:bg>
    <p:spTree>
      <p:nvGrpSpPr>
        <p:cNvPr id="1" name=""/>
        <p:cNvGrpSpPr/>
        <p:nvPr/>
      </p:nvGrpSpPr>
      <p:grpSpPr>
        <a:xfrm>
          <a:off x="0" y="0"/>
          <a:ext cx="0" cy="0"/>
          <a:chOff x="0" y="0"/>
          <a:chExt cx="0" cy="0"/>
        </a:xfrm>
      </p:grpSpPr>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57198" y="1181779"/>
            <a:ext cx="6443999" cy="381000"/>
          </a:xfrm>
          <a:prstGeom prst="rect">
            <a:avLst/>
          </a:prstGeom>
        </p:spPr>
        <p:txBody>
          <a:bodyPr lIns="0" anchor="t">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3" name="Footer Placeholder 3">
            <a:extLst>
              <a:ext uri="{FF2B5EF4-FFF2-40B4-BE49-F238E27FC236}">
                <a16:creationId xmlns:a16="http://schemas.microsoft.com/office/drawing/2014/main" id="{7203F0FA-081B-F64D-BCBF-E4C34976390C}"/>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0" name="Title 1">
            <a:extLst>
              <a:ext uri="{FF2B5EF4-FFF2-40B4-BE49-F238E27FC236}">
                <a16:creationId xmlns:a16="http://schemas.microsoft.com/office/drawing/2014/main" id="{418DAEFC-EF40-4589-9F6B-5C1699274A7D}"/>
              </a:ext>
            </a:extLst>
          </p:cNvPr>
          <p:cNvSpPr>
            <a:spLocks noGrp="1"/>
          </p:cNvSpPr>
          <p:nvPr>
            <p:ph type="title" hasCustomPrompt="1"/>
          </p:nvPr>
        </p:nvSpPr>
        <p:spPr>
          <a:xfrm>
            <a:off x="457199" y="1880257"/>
            <a:ext cx="6443998" cy="990000"/>
          </a:xfrm>
        </p:spPr>
        <p:txBody>
          <a:bodyPr vert="horz" lIns="0" tIns="0" rIns="0" bIns="0" rtlCol="0" anchor="b">
            <a:noAutofit/>
          </a:bodyPr>
          <a:lstStyle>
            <a:lvl1pPr>
              <a:defRPr lang="en-GB" sz="4000" b="0" smtClean="0">
                <a:solidFill>
                  <a:schemeClr val="tx2"/>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Tree>
    <p:extLst>
      <p:ext uri="{BB962C8B-B14F-4D97-AF65-F5344CB8AC3E}">
        <p14:creationId xmlns:p14="http://schemas.microsoft.com/office/powerpoint/2010/main" val="237954014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lide Divider Option 5">
    <p:spTree>
      <p:nvGrpSpPr>
        <p:cNvPr id="1" name=""/>
        <p:cNvGrpSpPr/>
        <p:nvPr/>
      </p:nvGrpSpPr>
      <p:grpSpPr>
        <a:xfrm>
          <a:off x="0" y="0"/>
          <a:ext cx="0" cy="0"/>
          <a:chOff x="0" y="0"/>
          <a:chExt cx="0" cy="0"/>
        </a:xfrm>
      </p:grpSpPr>
      <p:sp>
        <p:nvSpPr>
          <p:cNvPr id="25" name="Freeform 24">
            <a:extLst>
              <a:ext uri="{FF2B5EF4-FFF2-40B4-BE49-F238E27FC236}">
                <a16:creationId xmlns:a16="http://schemas.microsoft.com/office/drawing/2014/main" id="{5B049D90-7C0C-2543-A4A6-22DE2C411CA6}"/>
              </a:ext>
            </a:extLst>
          </p:cNvPr>
          <p:cNvSpPr/>
          <p:nvPr/>
        </p:nvSpPr>
        <p:spPr>
          <a:xfrm>
            <a:off x="0" y="4900507"/>
            <a:ext cx="4262572" cy="1957493"/>
          </a:xfrm>
          <a:custGeom>
            <a:avLst/>
            <a:gdLst>
              <a:gd name="connsiteX0" fmla="*/ 1462275 w 4262572"/>
              <a:gd name="connsiteY0" fmla="*/ 0 h 1957493"/>
              <a:gd name="connsiteX1" fmla="*/ 4262572 w 4262572"/>
              <a:gd name="connsiteY1" fmla="*/ 1957493 h 1957493"/>
              <a:gd name="connsiteX2" fmla="*/ 0 w 4262572"/>
              <a:gd name="connsiteY2" fmla="*/ 1957493 h 1957493"/>
              <a:gd name="connsiteX3" fmla="*/ 0 w 4262572"/>
              <a:gd name="connsiteY3" fmla="*/ 1021999 h 1957493"/>
            </a:gdLst>
            <a:ahLst/>
            <a:cxnLst>
              <a:cxn ang="0">
                <a:pos x="connsiteX0" y="connsiteY0"/>
              </a:cxn>
              <a:cxn ang="0">
                <a:pos x="connsiteX1" y="connsiteY1"/>
              </a:cxn>
              <a:cxn ang="0">
                <a:pos x="connsiteX2" y="connsiteY2"/>
              </a:cxn>
              <a:cxn ang="0">
                <a:pos x="connsiteX3" y="connsiteY3"/>
              </a:cxn>
            </a:cxnLst>
            <a:rect l="l" t="t" r="r" b="b"/>
            <a:pathLst>
              <a:path w="4262572" h="1957493">
                <a:moveTo>
                  <a:pt x="1462275" y="0"/>
                </a:moveTo>
                <a:lnTo>
                  <a:pt x="4262572" y="1957493"/>
                </a:lnTo>
                <a:lnTo>
                  <a:pt x="0" y="1957493"/>
                </a:lnTo>
                <a:lnTo>
                  <a:pt x="0" y="1021999"/>
                </a:lnTo>
                <a:close/>
              </a:path>
            </a:pathLst>
          </a:custGeom>
          <a:gradFill>
            <a:gsLst>
              <a:gs pos="0">
                <a:schemeClr val="accent2"/>
              </a:gs>
              <a:gs pos="31000">
                <a:schemeClr val="accent2"/>
              </a:gs>
              <a:gs pos="10000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6" name="Freeform: Shape 15">
            <a:extLst>
              <a:ext uri="{FF2B5EF4-FFF2-40B4-BE49-F238E27FC236}">
                <a16:creationId xmlns:a16="http://schemas.microsoft.com/office/drawing/2014/main" id="{929773AE-3026-4994-9E24-119377549C30}"/>
              </a:ext>
            </a:extLst>
          </p:cNvPr>
          <p:cNvSpPr/>
          <p:nvPr/>
        </p:nvSpPr>
        <p:spPr>
          <a:xfrm>
            <a:off x="1739901" y="5448182"/>
            <a:ext cx="4065894" cy="1412994"/>
          </a:xfrm>
          <a:custGeom>
            <a:avLst/>
            <a:gdLst>
              <a:gd name="connsiteX0" fmla="*/ 0 w 4467225"/>
              <a:gd name="connsiteY0" fmla="*/ 1533525 h 1562100"/>
              <a:gd name="connsiteX1" fmla="*/ 2228850 w 4467225"/>
              <a:gd name="connsiteY1" fmla="*/ 0 h 1562100"/>
              <a:gd name="connsiteX2" fmla="*/ 4467225 w 4467225"/>
              <a:gd name="connsiteY2" fmla="*/ 1562100 h 1562100"/>
              <a:gd name="connsiteX3" fmla="*/ 0 w 4467225"/>
              <a:gd name="connsiteY3" fmla="*/ 1533525 h 1562100"/>
              <a:gd name="connsiteX0" fmla="*/ 0 w 4505325"/>
              <a:gd name="connsiteY0" fmla="*/ 1552575 h 1562100"/>
              <a:gd name="connsiteX1" fmla="*/ 2266950 w 4505325"/>
              <a:gd name="connsiteY1" fmla="*/ 0 h 1562100"/>
              <a:gd name="connsiteX2" fmla="*/ 4505325 w 4505325"/>
              <a:gd name="connsiteY2" fmla="*/ 1562100 h 1562100"/>
              <a:gd name="connsiteX3" fmla="*/ 0 w 4505325"/>
              <a:gd name="connsiteY3" fmla="*/ 1552575 h 1562100"/>
              <a:gd name="connsiteX0" fmla="*/ 0 w 4514850"/>
              <a:gd name="connsiteY0" fmla="*/ 1562100 h 1562100"/>
              <a:gd name="connsiteX1" fmla="*/ 2276475 w 4514850"/>
              <a:gd name="connsiteY1" fmla="*/ 0 h 1562100"/>
              <a:gd name="connsiteX2" fmla="*/ 4514850 w 4514850"/>
              <a:gd name="connsiteY2" fmla="*/ 1562100 h 1562100"/>
              <a:gd name="connsiteX3" fmla="*/ 0 w 4514850"/>
              <a:gd name="connsiteY3" fmla="*/ 1562100 h 1562100"/>
              <a:gd name="connsiteX0" fmla="*/ 0 w 4514850"/>
              <a:gd name="connsiteY0" fmla="*/ 1410144 h 1410144"/>
              <a:gd name="connsiteX1" fmla="*/ 2265873 w 4514850"/>
              <a:gd name="connsiteY1" fmla="*/ 0 h 1410144"/>
              <a:gd name="connsiteX2" fmla="*/ 4514850 w 4514850"/>
              <a:gd name="connsiteY2" fmla="*/ 1410144 h 1410144"/>
              <a:gd name="connsiteX3" fmla="*/ 0 w 4514850"/>
              <a:gd name="connsiteY3" fmla="*/ 1410144 h 1410144"/>
              <a:gd name="connsiteX0" fmla="*/ 0 w 4514850"/>
              <a:gd name="connsiteY0" fmla="*/ 1569168 h 1569168"/>
              <a:gd name="connsiteX1" fmla="*/ 2265873 w 4514850"/>
              <a:gd name="connsiteY1" fmla="*/ 0 h 1569168"/>
              <a:gd name="connsiteX2" fmla="*/ 4514850 w 4514850"/>
              <a:gd name="connsiteY2" fmla="*/ 1569168 h 1569168"/>
              <a:gd name="connsiteX3" fmla="*/ 0 w 4514850"/>
              <a:gd name="connsiteY3" fmla="*/ 1569168 h 1569168"/>
              <a:gd name="connsiteX0" fmla="*/ 0 w 4525452"/>
              <a:gd name="connsiteY0" fmla="*/ 1569168 h 1572702"/>
              <a:gd name="connsiteX1" fmla="*/ 2265873 w 4525452"/>
              <a:gd name="connsiteY1" fmla="*/ 0 h 1572702"/>
              <a:gd name="connsiteX2" fmla="*/ 4525452 w 4525452"/>
              <a:gd name="connsiteY2" fmla="*/ 1572702 h 1572702"/>
              <a:gd name="connsiteX3" fmla="*/ 0 w 4525452"/>
              <a:gd name="connsiteY3" fmla="*/ 1569168 h 1572702"/>
            </a:gdLst>
            <a:ahLst/>
            <a:cxnLst>
              <a:cxn ang="0">
                <a:pos x="connsiteX0" y="connsiteY0"/>
              </a:cxn>
              <a:cxn ang="0">
                <a:pos x="connsiteX1" y="connsiteY1"/>
              </a:cxn>
              <a:cxn ang="0">
                <a:pos x="connsiteX2" y="connsiteY2"/>
              </a:cxn>
              <a:cxn ang="0">
                <a:pos x="connsiteX3" y="connsiteY3"/>
              </a:cxn>
            </a:cxnLst>
            <a:rect l="l" t="t" r="r" b="b"/>
            <a:pathLst>
              <a:path w="4525452" h="1572702">
                <a:moveTo>
                  <a:pt x="0" y="1569168"/>
                </a:moveTo>
                <a:lnTo>
                  <a:pt x="2265873" y="0"/>
                </a:lnTo>
                <a:lnTo>
                  <a:pt x="4525452" y="1572702"/>
                </a:lnTo>
                <a:lnTo>
                  <a:pt x="0" y="1569168"/>
                </a:lnTo>
                <a:close/>
              </a:path>
            </a:pathLst>
          </a:custGeom>
          <a:gradFill flip="none" rotWithShape="1">
            <a:gsLst>
              <a:gs pos="79000">
                <a:schemeClr val="accent1"/>
              </a:gs>
              <a:gs pos="0">
                <a:schemeClr val="accent1">
                  <a:alpha val="0"/>
                </a:schemeClr>
              </a:gs>
              <a:gs pos="100000">
                <a:schemeClr val="accent1"/>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8" name="Text Placeholder 10">
            <a:extLst>
              <a:ext uri="{FF2B5EF4-FFF2-40B4-BE49-F238E27FC236}">
                <a16:creationId xmlns:a16="http://schemas.microsoft.com/office/drawing/2014/main" id="{1998EB54-0F58-441A-8144-11615353638B}"/>
              </a:ext>
            </a:extLst>
          </p:cNvPr>
          <p:cNvSpPr>
            <a:spLocks noGrp="1"/>
          </p:cNvSpPr>
          <p:nvPr>
            <p:ph type="body" sz="quarter" idx="14" hasCustomPrompt="1"/>
          </p:nvPr>
        </p:nvSpPr>
        <p:spPr>
          <a:xfrm>
            <a:off x="2674257" y="3702319"/>
            <a:ext cx="6843487" cy="381000"/>
          </a:xfrm>
          <a:prstGeom prst="rect">
            <a:avLst/>
          </a:prstGeom>
        </p:spPr>
        <p:txBody>
          <a:bodyPr lIns="0" anchor="t">
            <a:noAutofit/>
          </a:bodyPr>
          <a:lstStyle>
            <a:lvl1pPr marL="0" indent="0" algn="ctr">
              <a:buNone/>
              <a:defRPr sz="160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Description goes here</a:t>
            </a:r>
          </a:p>
        </p:txBody>
      </p:sp>
      <p:sp>
        <p:nvSpPr>
          <p:cNvPr id="27" name="Freeform 26">
            <a:extLst>
              <a:ext uri="{FF2B5EF4-FFF2-40B4-BE49-F238E27FC236}">
                <a16:creationId xmlns:a16="http://schemas.microsoft.com/office/drawing/2014/main" id="{BE0095B5-53D4-9C4C-8876-BE836797DEE0}"/>
              </a:ext>
            </a:extLst>
          </p:cNvPr>
          <p:cNvSpPr/>
          <p:nvPr/>
        </p:nvSpPr>
        <p:spPr>
          <a:xfrm rot="10800000">
            <a:off x="9083364" y="0"/>
            <a:ext cx="3108635" cy="1425182"/>
          </a:xfrm>
          <a:custGeom>
            <a:avLst/>
            <a:gdLst>
              <a:gd name="connsiteX0" fmla="*/ 3108635 w 3108635"/>
              <a:gd name="connsiteY0" fmla="*/ 1425182 h 1425182"/>
              <a:gd name="connsiteX1" fmla="*/ 0 w 3108635"/>
              <a:gd name="connsiteY1" fmla="*/ 1425182 h 1425182"/>
              <a:gd name="connsiteX2" fmla="*/ 0 w 3108635"/>
              <a:gd name="connsiteY2" fmla="*/ 730957 h 1425182"/>
              <a:gd name="connsiteX3" fmla="*/ 1084862 w 3108635"/>
              <a:gd name="connsiteY3" fmla="*/ 0 h 1425182"/>
            </a:gdLst>
            <a:ahLst/>
            <a:cxnLst>
              <a:cxn ang="0">
                <a:pos x="connsiteX0" y="connsiteY0"/>
              </a:cxn>
              <a:cxn ang="0">
                <a:pos x="connsiteX1" y="connsiteY1"/>
              </a:cxn>
              <a:cxn ang="0">
                <a:pos x="connsiteX2" y="connsiteY2"/>
              </a:cxn>
              <a:cxn ang="0">
                <a:pos x="connsiteX3" y="connsiteY3"/>
              </a:cxn>
            </a:cxnLst>
            <a:rect l="l" t="t" r="r" b="b"/>
            <a:pathLst>
              <a:path w="3108635" h="1425182">
                <a:moveTo>
                  <a:pt x="3108635" y="1425182"/>
                </a:moveTo>
                <a:lnTo>
                  <a:pt x="0" y="1425182"/>
                </a:lnTo>
                <a:lnTo>
                  <a:pt x="0" y="730957"/>
                </a:lnTo>
                <a:lnTo>
                  <a:pt x="1084862" y="0"/>
                </a:lnTo>
                <a:close/>
              </a:path>
            </a:pathLst>
          </a:custGeom>
          <a:gradFill>
            <a:gsLst>
              <a:gs pos="0">
                <a:schemeClr val="accent2"/>
              </a:gs>
              <a:gs pos="31000">
                <a:schemeClr val="accent2"/>
              </a:gs>
              <a:gs pos="10000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21">
            <a:extLst>
              <a:ext uri="{FF2B5EF4-FFF2-40B4-BE49-F238E27FC236}">
                <a16:creationId xmlns:a16="http://schemas.microsoft.com/office/drawing/2014/main" id="{B5DEA3EB-7023-3642-83F2-FD716952AC57}"/>
              </a:ext>
            </a:extLst>
          </p:cNvPr>
          <p:cNvSpPr/>
          <p:nvPr/>
        </p:nvSpPr>
        <p:spPr>
          <a:xfrm rot="10800000">
            <a:off x="7899082" y="-1"/>
            <a:ext cx="2943008" cy="1021432"/>
          </a:xfrm>
          <a:custGeom>
            <a:avLst/>
            <a:gdLst>
              <a:gd name="connsiteX0" fmla="*/ 2943008 w 2943008"/>
              <a:gd name="connsiteY0" fmla="*/ 1021432 h 1021432"/>
              <a:gd name="connsiteX1" fmla="*/ 0 w 2943008"/>
              <a:gd name="connsiteY1" fmla="*/ 1021432 h 1021432"/>
              <a:gd name="connsiteX2" fmla="*/ 1473230 w 2943008"/>
              <a:gd name="connsiteY2" fmla="*/ 0 h 1021432"/>
            </a:gdLst>
            <a:ahLst/>
            <a:cxnLst>
              <a:cxn ang="0">
                <a:pos x="connsiteX0" y="connsiteY0"/>
              </a:cxn>
              <a:cxn ang="0">
                <a:pos x="connsiteX1" y="connsiteY1"/>
              </a:cxn>
              <a:cxn ang="0">
                <a:pos x="connsiteX2" y="connsiteY2"/>
              </a:cxn>
            </a:cxnLst>
            <a:rect l="l" t="t" r="r" b="b"/>
            <a:pathLst>
              <a:path w="2943008" h="1021432">
                <a:moveTo>
                  <a:pt x="2943008" y="1021432"/>
                </a:moveTo>
                <a:lnTo>
                  <a:pt x="0" y="1021432"/>
                </a:lnTo>
                <a:lnTo>
                  <a:pt x="1473230" y="0"/>
                </a:lnTo>
                <a:close/>
              </a:path>
            </a:pathLst>
          </a:custGeom>
          <a:gradFill flip="none" rotWithShape="1">
            <a:gsLst>
              <a:gs pos="79000">
                <a:schemeClr val="accent1"/>
              </a:gs>
              <a:gs pos="0">
                <a:schemeClr val="accent1">
                  <a:alpha val="0"/>
                </a:schemeClr>
              </a:gs>
              <a:gs pos="100000">
                <a:schemeClr val="accent1"/>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solidFill>
                <a:schemeClr val="tx2"/>
              </a:solidFill>
            </a:endParaRPr>
          </a:p>
        </p:txBody>
      </p:sp>
      <p:pic>
        <p:nvPicPr>
          <p:cNvPr id="28" name="Graphic 27">
            <a:extLst>
              <a:ext uri="{FF2B5EF4-FFF2-40B4-BE49-F238E27FC236}">
                <a16:creationId xmlns:a16="http://schemas.microsoft.com/office/drawing/2014/main" id="{26A78AB9-EAF7-7746-895A-843233C622E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3" name="Slide Number Placeholder 5">
            <a:extLst>
              <a:ext uri="{FF2B5EF4-FFF2-40B4-BE49-F238E27FC236}">
                <a16:creationId xmlns:a16="http://schemas.microsoft.com/office/drawing/2014/main" id="{E4AD6F2E-E98E-9044-9478-ACD5AF551C6C}"/>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1"/>
                </a:solidFill>
                <a:latin typeface="+mn-lt"/>
                <a:ea typeface="Cambria" panose="02040503050406030204" pitchFamily="18" charset="0"/>
              </a:rPr>
              <a:pPr algn="l"/>
              <a:t>‹#›</a:t>
            </a:fld>
            <a:endParaRPr lang="en-US" b="1" dirty="0">
              <a:solidFill>
                <a:schemeClr val="bg1"/>
              </a:solidFill>
              <a:latin typeface="+mn-lt"/>
              <a:ea typeface="Cambria" panose="02040503050406030204" pitchFamily="18" charset="0"/>
            </a:endParaRPr>
          </a:p>
        </p:txBody>
      </p:sp>
      <p:sp>
        <p:nvSpPr>
          <p:cNvPr id="15" name="Footer Placeholder 3">
            <a:extLst>
              <a:ext uri="{FF2B5EF4-FFF2-40B4-BE49-F238E27FC236}">
                <a16:creationId xmlns:a16="http://schemas.microsoft.com/office/drawing/2014/main" id="{C4D85586-5DE1-B042-804D-6E4DEB2D87B1}"/>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1"/>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4" name="Title 1">
            <a:extLst>
              <a:ext uri="{FF2B5EF4-FFF2-40B4-BE49-F238E27FC236}">
                <a16:creationId xmlns:a16="http://schemas.microsoft.com/office/drawing/2014/main" id="{612FCD5A-D75B-4B19-A0CD-3722DB639B10}"/>
              </a:ext>
            </a:extLst>
          </p:cNvPr>
          <p:cNvSpPr>
            <a:spLocks noGrp="1"/>
          </p:cNvSpPr>
          <p:nvPr>
            <p:ph type="title" hasCustomPrompt="1"/>
          </p:nvPr>
        </p:nvSpPr>
        <p:spPr>
          <a:xfrm>
            <a:off x="2674257" y="2401252"/>
            <a:ext cx="6843486" cy="970378"/>
          </a:xfrm>
        </p:spPr>
        <p:txBody>
          <a:bodyPr vert="horz" lIns="0" tIns="45720" rIns="91440" bIns="45720" rtlCol="0" anchor="b">
            <a:noAutofit/>
          </a:bodyPr>
          <a:lstStyle>
            <a:lvl1pPr algn="ctr">
              <a:defRPr lang="en-GB" sz="4000" dirty="0" smtClean="0">
                <a:solidFill>
                  <a:schemeClr val="tx2"/>
                </a:solidFill>
              </a:defRPr>
            </a:lvl1pPr>
          </a:lstStyle>
          <a:p>
            <a:pPr lvl="0" algn="ctr">
              <a:spcBef>
                <a:spcPts val="600"/>
              </a:spcBef>
            </a:pPr>
            <a:r>
              <a:rPr lang="en-US" dirty="0"/>
              <a:t>Slide divider option-5</a:t>
            </a:r>
            <a:endParaRPr lang="en-GB" dirty="0"/>
          </a:p>
        </p:txBody>
      </p:sp>
    </p:spTree>
    <p:extLst>
      <p:ext uri="{BB962C8B-B14F-4D97-AF65-F5344CB8AC3E}">
        <p14:creationId xmlns:p14="http://schemas.microsoft.com/office/powerpoint/2010/main" val="164441988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lide Divider Option 6">
    <p:bg>
      <p:bgPr>
        <a:solidFill>
          <a:schemeClr val="bg1"/>
        </a:solidFill>
        <a:effectLst/>
      </p:bgPr>
    </p:bg>
    <p:spTree>
      <p:nvGrpSpPr>
        <p:cNvPr id="1" name=""/>
        <p:cNvGrpSpPr/>
        <p:nvPr/>
      </p:nvGrpSpPr>
      <p:grpSpPr>
        <a:xfrm>
          <a:off x="0" y="0"/>
          <a:ext cx="0" cy="0"/>
          <a:chOff x="0" y="0"/>
          <a:chExt cx="0" cy="0"/>
        </a:xfrm>
      </p:grpSpPr>
      <p:sp>
        <p:nvSpPr>
          <p:cNvPr id="24" name="Text Placeholder 10">
            <a:extLst>
              <a:ext uri="{FF2B5EF4-FFF2-40B4-BE49-F238E27FC236}">
                <a16:creationId xmlns:a16="http://schemas.microsoft.com/office/drawing/2014/main" id="{0CC2C6EF-776C-43CF-B77C-3AD42BC255CF}"/>
              </a:ext>
            </a:extLst>
          </p:cNvPr>
          <p:cNvSpPr>
            <a:spLocks noGrp="1"/>
          </p:cNvSpPr>
          <p:nvPr>
            <p:ph type="body" sz="quarter" idx="15" hasCustomPrompt="1"/>
          </p:nvPr>
        </p:nvSpPr>
        <p:spPr>
          <a:xfrm>
            <a:off x="2674143" y="3702319"/>
            <a:ext cx="6843600" cy="381600"/>
          </a:xfrm>
          <a:prstGeom prst="rect">
            <a:avLst/>
          </a:prstGeom>
        </p:spPr>
        <p:txBody>
          <a:bodyPr lIns="0" anchor="t">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da-DK" dirty="0" err="1"/>
              <a:t>Description</a:t>
            </a:r>
            <a:r>
              <a:rPr lang="da-DK" dirty="0"/>
              <a:t> </a:t>
            </a:r>
            <a:r>
              <a:rPr lang="da-DK" dirty="0" err="1"/>
              <a:t>goes</a:t>
            </a:r>
            <a:r>
              <a:rPr lang="da-DK" dirty="0"/>
              <a:t> </a:t>
            </a:r>
            <a:r>
              <a:rPr lang="da-DK" dirty="0" err="1"/>
              <a:t>here</a:t>
            </a:r>
            <a:endParaRPr lang="da-DK" dirty="0"/>
          </a:p>
          <a:p>
            <a:pPr marL="0" marR="0" lvl="0" indent="0" algn="ctr" defTabSz="914400" rtl="0" eaLnBrk="1" fontAlgn="auto" latinLnBrk="0" hangingPunct="1">
              <a:lnSpc>
                <a:spcPct val="90000"/>
              </a:lnSpc>
              <a:spcBef>
                <a:spcPts val="1000"/>
              </a:spcBef>
              <a:spcAft>
                <a:spcPts val="0"/>
              </a:spcAft>
              <a:buClrTx/>
              <a:buSzTx/>
              <a:buFontTx/>
              <a:buNone/>
              <a:tabLst/>
              <a:defRPr/>
            </a:pPr>
            <a:endParaRPr lang="da-DK" dirty="0" err="1"/>
          </a:p>
        </p:txBody>
      </p:sp>
      <p:sp>
        <p:nvSpPr>
          <p:cNvPr id="37" name="Freeform 36">
            <a:extLst>
              <a:ext uri="{FF2B5EF4-FFF2-40B4-BE49-F238E27FC236}">
                <a16:creationId xmlns:a16="http://schemas.microsoft.com/office/drawing/2014/main" id="{507FF555-C362-BC4D-A8EA-21A034747FD9}"/>
              </a:ext>
            </a:extLst>
          </p:cNvPr>
          <p:cNvSpPr/>
          <p:nvPr/>
        </p:nvSpPr>
        <p:spPr>
          <a:xfrm rot="18300963" flipH="1">
            <a:off x="8503132" y="-1165064"/>
            <a:ext cx="495116" cy="4554815"/>
          </a:xfrm>
          <a:custGeom>
            <a:avLst/>
            <a:gdLst>
              <a:gd name="connsiteX0" fmla="*/ 484981 w 495116"/>
              <a:gd name="connsiteY0" fmla="*/ 0 h 4554815"/>
              <a:gd name="connsiteX1" fmla="*/ 43362 w 495116"/>
              <a:gd name="connsiteY1" fmla="*/ 630320 h 4554815"/>
              <a:gd name="connsiteX2" fmla="*/ 0 w 495116"/>
              <a:gd name="connsiteY2" fmla="*/ 4554815 h 4554815"/>
              <a:gd name="connsiteX3" fmla="*/ 484123 w 495116"/>
              <a:gd name="connsiteY3" fmla="*/ 4385194 h 4554815"/>
              <a:gd name="connsiteX4" fmla="*/ 495116 w 495116"/>
              <a:gd name="connsiteY4" fmla="*/ 3771414 h 4554815"/>
              <a:gd name="connsiteX5" fmla="*/ 466021 w 495116"/>
              <a:gd name="connsiteY5" fmla="*/ 3782827 h 4554815"/>
              <a:gd name="connsiteX6" fmla="*/ 482994 w 495116"/>
              <a:gd name="connsiteY6" fmla="*/ 370448 h 455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116" h="4554815">
                <a:moveTo>
                  <a:pt x="484981" y="0"/>
                </a:moveTo>
                <a:lnTo>
                  <a:pt x="43362" y="630320"/>
                </a:lnTo>
                <a:lnTo>
                  <a:pt x="0" y="4554815"/>
                </a:lnTo>
                <a:lnTo>
                  <a:pt x="484123" y="4385194"/>
                </a:lnTo>
                <a:lnTo>
                  <a:pt x="495116" y="3771414"/>
                </a:lnTo>
                <a:lnTo>
                  <a:pt x="466021" y="3782827"/>
                </a:lnTo>
                <a:cubicBezTo>
                  <a:pt x="466280" y="2865719"/>
                  <a:pt x="476637" y="1476643"/>
                  <a:pt x="482994" y="370448"/>
                </a:cubicBezTo>
                <a:close/>
              </a:path>
            </a:pathLst>
          </a:custGeom>
          <a:gradFill flip="none" rotWithShape="1">
            <a:gsLst>
              <a:gs pos="0">
                <a:schemeClr val="accent2"/>
              </a:gs>
              <a:gs pos="85000">
                <a:schemeClr val="accent2">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8" name="Freeform 27">
            <a:extLst>
              <a:ext uri="{FF2B5EF4-FFF2-40B4-BE49-F238E27FC236}">
                <a16:creationId xmlns:a16="http://schemas.microsoft.com/office/drawing/2014/main" id="{BA5EF075-83E7-774F-B885-37C07770ABA8}"/>
              </a:ext>
            </a:extLst>
          </p:cNvPr>
          <p:cNvSpPr/>
          <p:nvPr/>
        </p:nvSpPr>
        <p:spPr>
          <a:xfrm rot="18300963" flipH="1">
            <a:off x="4607641" y="3724836"/>
            <a:ext cx="1098431" cy="4553250"/>
          </a:xfrm>
          <a:custGeom>
            <a:avLst/>
            <a:gdLst>
              <a:gd name="connsiteX0" fmla="*/ 7678 w 1098431"/>
              <a:gd name="connsiteY0" fmla="*/ 354047 h 4553250"/>
              <a:gd name="connsiteX1" fmla="*/ 0 w 1098431"/>
              <a:gd name="connsiteY1" fmla="*/ 4553250 h 4553250"/>
              <a:gd name="connsiteX2" fmla="*/ 1098431 w 1098431"/>
              <a:gd name="connsiteY2" fmla="*/ 2985463 h 4553250"/>
              <a:gd name="connsiteX3" fmla="*/ 1098431 w 1098431"/>
              <a:gd name="connsiteY3" fmla="*/ 0 h 4553250"/>
              <a:gd name="connsiteX4" fmla="*/ 7678 w 1098431"/>
              <a:gd name="connsiteY4" fmla="*/ 354047 h 4553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431" h="4553250">
                <a:moveTo>
                  <a:pt x="7678" y="354047"/>
                </a:moveTo>
                <a:lnTo>
                  <a:pt x="0" y="4553250"/>
                </a:lnTo>
                <a:lnTo>
                  <a:pt x="1098431" y="2985463"/>
                </a:lnTo>
                <a:lnTo>
                  <a:pt x="1098431" y="0"/>
                </a:lnTo>
                <a:cubicBezTo>
                  <a:pt x="734631" y="127326"/>
                  <a:pt x="371478" y="226721"/>
                  <a:pt x="7678" y="354047"/>
                </a:cubicBezTo>
                <a:close/>
              </a:path>
            </a:pathLst>
          </a:custGeom>
          <a:gradFill>
            <a:gsLst>
              <a:gs pos="0">
                <a:schemeClr val="accent1"/>
              </a:gs>
              <a:gs pos="85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6" name="Freeform 25">
            <a:extLst>
              <a:ext uri="{FF2B5EF4-FFF2-40B4-BE49-F238E27FC236}">
                <a16:creationId xmlns:a16="http://schemas.microsoft.com/office/drawing/2014/main" id="{0FDB5CF5-44C1-1D4A-A2B9-37C0F30F6278}"/>
              </a:ext>
            </a:extLst>
          </p:cNvPr>
          <p:cNvSpPr/>
          <p:nvPr/>
        </p:nvSpPr>
        <p:spPr>
          <a:xfrm rot="18300963" flipH="1">
            <a:off x="4473394" y="5471677"/>
            <a:ext cx="227425" cy="1880095"/>
          </a:xfrm>
          <a:custGeom>
            <a:avLst/>
            <a:gdLst>
              <a:gd name="connsiteX0" fmla="*/ 0 w 227425"/>
              <a:gd name="connsiteY0" fmla="*/ 96845 h 1880095"/>
              <a:gd name="connsiteX1" fmla="*/ 0 w 227425"/>
              <a:gd name="connsiteY1" fmla="*/ 1880095 h 1880095"/>
              <a:gd name="connsiteX2" fmla="*/ 224453 w 227425"/>
              <a:gd name="connsiteY2" fmla="*/ 1559734 h 1880095"/>
              <a:gd name="connsiteX3" fmla="*/ 225257 w 227425"/>
              <a:gd name="connsiteY3" fmla="*/ 1214869 h 1880095"/>
              <a:gd name="connsiteX4" fmla="*/ 227425 w 227425"/>
              <a:gd name="connsiteY4" fmla="*/ 0 h 1880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425" h="1880095">
                <a:moveTo>
                  <a:pt x="0" y="96845"/>
                </a:moveTo>
                <a:lnTo>
                  <a:pt x="0" y="1880095"/>
                </a:lnTo>
                <a:lnTo>
                  <a:pt x="224453" y="1559734"/>
                </a:lnTo>
                <a:lnTo>
                  <a:pt x="225257" y="1214869"/>
                </a:lnTo>
                <a:cubicBezTo>
                  <a:pt x="225980" y="809913"/>
                  <a:pt x="226237" y="390570"/>
                  <a:pt x="227425" y="0"/>
                </a:cubicBezTo>
                <a:close/>
              </a:path>
            </a:pathLst>
          </a:custGeom>
          <a:gradFill flip="none" rotWithShape="1">
            <a:gsLst>
              <a:gs pos="0">
                <a:schemeClr val="accent2"/>
              </a:gs>
              <a:gs pos="85000">
                <a:schemeClr val="accent2">
                  <a:alpha val="0"/>
                </a:schemeClr>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5" name="Freeform 34">
            <a:extLst>
              <a:ext uri="{FF2B5EF4-FFF2-40B4-BE49-F238E27FC236}">
                <a16:creationId xmlns:a16="http://schemas.microsoft.com/office/drawing/2014/main" id="{4D8B62A9-4796-7441-BB51-FE9050BD3210}"/>
              </a:ext>
            </a:extLst>
          </p:cNvPr>
          <p:cNvSpPr/>
          <p:nvPr/>
        </p:nvSpPr>
        <p:spPr>
          <a:xfrm rot="18300963" flipH="1">
            <a:off x="6797834" y="-1592612"/>
            <a:ext cx="1110167" cy="5340305"/>
          </a:xfrm>
          <a:custGeom>
            <a:avLst/>
            <a:gdLst>
              <a:gd name="connsiteX0" fmla="*/ 1110167 w 1110167"/>
              <a:gd name="connsiteY0" fmla="*/ 0 h 5340305"/>
              <a:gd name="connsiteX1" fmla="*/ 18977 w 1110167"/>
              <a:gd name="connsiteY1" fmla="*/ 1557452 h 5340305"/>
              <a:gd name="connsiteX2" fmla="*/ 18186 w 1110167"/>
              <a:gd name="connsiteY2" fmla="*/ 1710683 h 5340305"/>
              <a:gd name="connsiteX3" fmla="*/ 0 w 1110167"/>
              <a:gd name="connsiteY3" fmla="*/ 5340305 h 5340305"/>
              <a:gd name="connsiteX4" fmla="*/ 1096070 w 1110167"/>
              <a:gd name="connsiteY4" fmla="*/ 4910334 h 534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67" h="5340305">
                <a:moveTo>
                  <a:pt x="1110167" y="0"/>
                </a:moveTo>
                <a:lnTo>
                  <a:pt x="18977" y="1557452"/>
                </a:lnTo>
                <a:lnTo>
                  <a:pt x="18186" y="1710683"/>
                </a:lnTo>
                <a:cubicBezTo>
                  <a:pt x="12041" y="2846813"/>
                  <a:pt x="276" y="4362057"/>
                  <a:pt x="0" y="5340305"/>
                </a:cubicBezTo>
                <a:lnTo>
                  <a:pt x="1096070" y="4910334"/>
                </a:lnTo>
                <a:close/>
              </a:path>
            </a:pathLst>
          </a:custGeom>
          <a:gradFill>
            <a:gsLst>
              <a:gs pos="3000">
                <a:schemeClr val="accent1"/>
              </a:gs>
              <a:gs pos="85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pic>
        <p:nvPicPr>
          <p:cNvPr id="38" name="Graphic 37">
            <a:extLst>
              <a:ext uri="{FF2B5EF4-FFF2-40B4-BE49-F238E27FC236}">
                <a16:creationId xmlns:a16="http://schemas.microsoft.com/office/drawing/2014/main" id="{E2CC5BE5-129B-7847-BDB4-75DA3D4EA79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3" name="Slide Number Placeholder 5">
            <a:extLst>
              <a:ext uri="{FF2B5EF4-FFF2-40B4-BE49-F238E27FC236}">
                <a16:creationId xmlns:a16="http://schemas.microsoft.com/office/drawing/2014/main" id="{1F6F403F-0246-A84C-98CF-60D4432A379B}"/>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5" name="Footer Placeholder 3">
            <a:extLst>
              <a:ext uri="{FF2B5EF4-FFF2-40B4-BE49-F238E27FC236}">
                <a16:creationId xmlns:a16="http://schemas.microsoft.com/office/drawing/2014/main" id="{72B42450-104F-034B-9B6F-91C09191999F}"/>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9" name="Title 1">
            <a:extLst>
              <a:ext uri="{FF2B5EF4-FFF2-40B4-BE49-F238E27FC236}">
                <a16:creationId xmlns:a16="http://schemas.microsoft.com/office/drawing/2014/main" id="{0970D0B5-60C7-43B7-9391-F41A7E9C2C35}"/>
              </a:ext>
            </a:extLst>
          </p:cNvPr>
          <p:cNvSpPr>
            <a:spLocks noGrp="1"/>
          </p:cNvSpPr>
          <p:nvPr>
            <p:ph type="title" hasCustomPrompt="1"/>
          </p:nvPr>
        </p:nvSpPr>
        <p:spPr>
          <a:xfrm>
            <a:off x="2674257" y="2401252"/>
            <a:ext cx="6843486" cy="970378"/>
          </a:xfrm>
        </p:spPr>
        <p:txBody>
          <a:bodyPr vert="horz" lIns="0" tIns="45720" rIns="91440" bIns="45720" rtlCol="0" anchor="b">
            <a:noAutofit/>
          </a:bodyPr>
          <a:lstStyle>
            <a:lvl1pPr>
              <a:defRPr lang="en-GB" sz="4000" dirty="0" smtClean="0">
                <a:solidFill>
                  <a:schemeClr val="tx2"/>
                </a:solidFill>
              </a:defRPr>
            </a:lvl1pPr>
          </a:lstStyle>
          <a:p>
            <a:pPr lvl="0" algn="ctr">
              <a:spcBef>
                <a:spcPts val="600"/>
              </a:spcBef>
            </a:pPr>
            <a:r>
              <a:rPr lang="en-US" dirty="0"/>
              <a:t>Slide divider option-6</a:t>
            </a:r>
            <a:endParaRPr lang="en-GB" dirty="0"/>
          </a:p>
        </p:txBody>
      </p:sp>
      <p:sp>
        <p:nvSpPr>
          <p:cNvPr id="22" name="Slide Number Placeholder 5">
            <a:extLst>
              <a:ext uri="{FF2B5EF4-FFF2-40B4-BE49-F238E27FC236}">
                <a16:creationId xmlns:a16="http://schemas.microsoft.com/office/drawing/2014/main" id="{DAE480CE-076A-414C-AFB4-F7FD7AE5177B}"/>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Tree>
    <p:extLst>
      <p:ext uri="{BB962C8B-B14F-4D97-AF65-F5344CB8AC3E}">
        <p14:creationId xmlns:p14="http://schemas.microsoft.com/office/powerpoint/2010/main" val="273429495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mall Content with Angles">
    <p:bg>
      <p:bgPr>
        <a:solidFill>
          <a:schemeClr val="bg1"/>
        </a:solidFill>
        <a:effectLst/>
      </p:bgPr>
    </p:bg>
    <p:spTree>
      <p:nvGrpSpPr>
        <p:cNvPr id="1" name=""/>
        <p:cNvGrpSpPr/>
        <p:nvPr/>
      </p:nvGrpSpPr>
      <p:grpSpPr>
        <a:xfrm>
          <a:off x="0" y="0"/>
          <a:ext cx="0" cy="0"/>
          <a:chOff x="0" y="0"/>
          <a:chExt cx="0" cy="0"/>
        </a:xfrm>
      </p:grpSpPr>
      <p:sp>
        <p:nvSpPr>
          <p:cNvPr id="35" name="Freeform: Shape 34">
            <a:extLst>
              <a:ext uri="{FF2B5EF4-FFF2-40B4-BE49-F238E27FC236}">
                <a16:creationId xmlns:a16="http://schemas.microsoft.com/office/drawing/2014/main" id="{B91F8A20-C584-48B2-B8D0-5A7792E52E41}"/>
              </a:ext>
            </a:extLst>
          </p:cNvPr>
          <p:cNvSpPr/>
          <p:nvPr userDrawn="1"/>
        </p:nvSpPr>
        <p:spPr>
          <a:xfrm flipV="1">
            <a:off x="6766830" y="1"/>
            <a:ext cx="5425171" cy="3771437"/>
          </a:xfrm>
          <a:custGeom>
            <a:avLst/>
            <a:gdLst>
              <a:gd name="connsiteX0" fmla="*/ 0 w 5425171"/>
              <a:gd name="connsiteY0" fmla="*/ 3771437 h 3771437"/>
              <a:gd name="connsiteX1" fmla="*/ 5425171 w 5425171"/>
              <a:gd name="connsiteY1" fmla="*/ 3771437 h 3771437"/>
              <a:gd name="connsiteX2" fmla="*/ 5425171 w 5425171"/>
              <a:gd name="connsiteY2" fmla="*/ 0 h 3771437"/>
            </a:gdLst>
            <a:ahLst/>
            <a:cxnLst>
              <a:cxn ang="0">
                <a:pos x="connsiteX0" y="connsiteY0"/>
              </a:cxn>
              <a:cxn ang="0">
                <a:pos x="connsiteX1" y="connsiteY1"/>
              </a:cxn>
              <a:cxn ang="0">
                <a:pos x="connsiteX2" y="connsiteY2"/>
              </a:cxn>
            </a:cxnLst>
            <a:rect l="l" t="t" r="r" b="b"/>
            <a:pathLst>
              <a:path w="5425171" h="3771437">
                <a:moveTo>
                  <a:pt x="0" y="3771437"/>
                </a:moveTo>
                <a:lnTo>
                  <a:pt x="5425171" y="3771437"/>
                </a:lnTo>
                <a:lnTo>
                  <a:pt x="5425171" y="0"/>
                </a:lnTo>
                <a:close/>
              </a:path>
            </a:pathLst>
          </a:custGeom>
          <a:solidFill>
            <a:schemeClr val="accent1"/>
          </a:solidFill>
          <a:ln w="15691" cap="flat">
            <a:noFill/>
            <a:prstDash val="solid"/>
            <a:miter/>
          </a:ln>
        </p:spPr>
        <p:txBody>
          <a:bodyPr rtlCol="0" anchor="ctr">
            <a:noAutofit/>
          </a:bodyPr>
          <a:lstStyle/>
          <a:p>
            <a:endParaRPr lang="en-GB" dirty="0"/>
          </a:p>
        </p:txBody>
      </p:sp>
      <p:sp>
        <p:nvSpPr>
          <p:cNvPr id="28" name="Freeform: Shape 27">
            <a:extLst>
              <a:ext uri="{FF2B5EF4-FFF2-40B4-BE49-F238E27FC236}">
                <a16:creationId xmlns:a16="http://schemas.microsoft.com/office/drawing/2014/main" id="{EBC369F7-26ED-4748-B416-400F4315F894}"/>
              </a:ext>
            </a:extLst>
          </p:cNvPr>
          <p:cNvSpPr/>
          <p:nvPr userDrawn="1"/>
        </p:nvSpPr>
        <p:spPr>
          <a:xfrm rot="18300963" flipH="1">
            <a:off x="7568200" y="-802590"/>
            <a:ext cx="418585" cy="2961934"/>
          </a:xfrm>
          <a:custGeom>
            <a:avLst/>
            <a:gdLst>
              <a:gd name="connsiteX0" fmla="*/ 418585 w 418585"/>
              <a:gd name="connsiteY0" fmla="*/ 0 h 2961934"/>
              <a:gd name="connsiteX1" fmla="*/ 0 w 418585"/>
              <a:gd name="connsiteY1" fmla="*/ 597446 h 2961934"/>
              <a:gd name="connsiteX2" fmla="*/ 0 w 418585"/>
              <a:gd name="connsiteY2" fmla="*/ 2961934 h 2961934"/>
              <a:gd name="connsiteX3" fmla="*/ 418585 w 418585"/>
              <a:gd name="connsiteY3" fmla="*/ 2808101 h 2961934"/>
            </a:gdLst>
            <a:ahLst/>
            <a:cxnLst>
              <a:cxn ang="0">
                <a:pos x="connsiteX0" y="connsiteY0"/>
              </a:cxn>
              <a:cxn ang="0">
                <a:pos x="connsiteX1" y="connsiteY1"/>
              </a:cxn>
              <a:cxn ang="0">
                <a:pos x="connsiteX2" y="connsiteY2"/>
              </a:cxn>
              <a:cxn ang="0">
                <a:pos x="connsiteX3" y="connsiteY3"/>
              </a:cxn>
            </a:cxnLst>
            <a:rect l="l" t="t" r="r" b="b"/>
            <a:pathLst>
              <a:path w="418585" h="2961934">
                <a:moveTo>
                  <a:pt x="418585" y="0"/>
                </a:moveTo>
                <a:lnTo>
                  <a:pt x="0" y="597446"/>
                </a:lnTo>
                <a:lnTo>
                  <a:pt x="0" y="2961934"/>
                </a:lnTo>
                <a:lnTo>
                  <a:pt x="418585" y="2808101"/>
                </a:lnTo>
                <a:close/>
              </a:path>
            </a:pathLst>
          </a:custGeom>
          <a:gradFill>
            <a:gsLst>
              <a:gs pos="3000">
                <a:schemeClr val="accent1"/>
              </a:gs>
              <a:gs pos="85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bg1"/>
              </a:solidFill>
            </a:endParaRPr>
          </a:p>
        </p:txBody>
      </p:sp>
      <p:sp>
        <p:nvSpPr>
          <p:cNvPr id="20" name="Text Placeholder 22">
            <a:extLst>
              <a:ext uri="{FF2B5EF4-FFF2-40B4-BE49-F238E27FC236}">
                <a16:creationId xmlns:a16="http://schemas.microsoft.com/office/drawing/2014/main" id="{AF3FC7BE-295B-451C-AA25-410A983C92B0}"/>
              </a:ext>
            </a:extLst>
          </p:cNvPr>
          <p:cNvSpPr>
            <a:spLocks noGrp="1"/>
          </p:cNvSpPr>
          <p:nvPr>
            <p:ph type="body" sz="quarter" idx="13" hasCustomPrompt="1"/>
          </p:nvPr>
        </p:nvSpPr>
        <p:spPr>
          <a:xfrm>
            <a:off x="457200" y="2281628"/>
            <a:ext cx="5842467" cy="3795487"/>
          </a:xfrm>
          <a:prstGeom prst="rect">
            <a:avLst/>
          </a:prstGeom>
        </p:spPr>
        <p:txBody>
          <a:bodyPr lIns="0" anchor="t">
            <a:noAutofit/>
          </a:bodyPr>
          <a:lstStyle>
            <a:lvl1pPr marL="266700" indent="-266700">
              <a:lnSpc>
                <a:spcPct val="100000"/>
              </a:lnSpc>
              <a:spcBef>
                <a:spcPts val="600"/>
              </a:spcBef>
              <a:spcAft>
                <a:spcPts val="600"/>
              </a:spcAft>
              <a:buClr>
                <a:schemeClr val="accent1"/>
              </a:buClr>
              <a:buSzPct val="100000"/>
              <a:buFont typeface="Arial" panose="020B0604020202020204" pitchFamily="34" charset="0"/>
              <a:buChar char="■"/>
              <a:defRPr sz="1400" b="0">
                <a:solidFill>
                  <a:schemeClr val="tx2"/>
                </a:solidFill>
                <a:latin typeface="+mn-lt"/>
                <a:ea typeface="Cambria" panose="02040503050406030204" pitchFamily="18" charset="0"/>
                <a:cs typeface="Calibri" panose="020F0502020204030204" pitchFamily="34" charset="0"/>
              </a:defRPr>
            </a:lvl1pPr>
            <a:lvl2pPr marL="503238" indent="-236538">
              <a:spcBef>
                <a:spcPts val="600"/>
              </a:spcBef>
              <a:spcAft>
                <a:spcPts val="600"/>
              </a:spcAft>
              <a:buClr>
                <a:schemeClr val="accent1"/>
              </a:buClr>
              <a:buSzPct val="80000"/>
              <a:buFont typeface="Arial" panose="020B0604020202020204" pitchFamily="34" charset="0"/>
              <a:buChar char="►"/>
              <a:defRPr sz="1200">
                <a:solidFill>
                  <a:schemeClr val="tx2"/>
                </a:solidFill>
                <a:latin typeface="+mn-lt"/>
                <a:ea typeface="Cambria" panose="02040503050406030204" pitchFamily="18" charset="0"/>
                <a:cs typeface="Calibri" panose="020F0502020204030204" pitchFamily="34" charset="0"/>
              </a:defRPr>
            </a:lvl2pPr>
            <a:lvl3pPr marL="715963" indent="-192088" defTabSz="809625">
              <a:spcBef>
                <a:spcPts val="600"/>
              </a:spcBef>
              <a:spcAft>
                <a:spcPts val="600"/>
              </a:spcAft>
              <a:buClr>
                <a:schemeClr val="accent1"/>
              </a:buClr>
              <a:buSzPct val="100000"/>
              <a:buFont typeface="Arial" panose="020B0604020202020204" pitchFamily="34" charset="0"/>
              <a:buChar char="•"/>
              <a:defRPr sz="1050">
                <a:solidFill>
                  <a:schemeClr val="tx2"/>
                </a:solidFill>
                <a:latin typeface="+mn-lt"/>
                <a:ea typeface="Cambria" panose="02040503050406030204" pitchFamily="18" charset="0"/>
                <a:cs typeface="Calibri" panose="020F0502020204030204" pitchFamily="34" charset="0"/>
              </a:defRPr>
            </a:lvl3pPr>
          </a:lstStyle>
          <a:p>
            <a:pPr lvl="0"/>
            <a:r>
              <a:rPr lang="en-US" dirty="0"/>
              <a:t>1st level bullet style</a:t>
            </a:r>
          </a:p>
          <a:p>
            <a:pPr lvl="1"/>
            <a:r>
              <a:rPr lang="en-US" dirty="0"/>
              <a:t>2nd level bullet style</a:t>
            </a:r>
          </a:p>
          <a:p>
            <a:pPr lvl="2"/>
            <a:r>
              <a:rPr lang="en-US" dirty="0"/>
              <a:t>3rd level bullet style</a:t>
            </a:r>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nvPr>
        </p:nvSpPr>
        <p:spPr>
          <a:xfrm>
            <a:off x="460744" y="1486906"/>
            <a:ext cx="5842467"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0" name="Text Placeholder 2">
            <a:extLst>
              <a:ext uri="{FF2B5EF4-FFF2-40B4-BE49-F238E27FC236}">
                <a16:creationId xmlns:a16="http://schemas.microsoft.com/office/drawing/2014/main" id="{473F4034-F802-8147-9CE9-2FDF5990DA6E}"/>
              </a:ext>
            </a:extLst>
          </p:cNvPr>
          <p:cNvSpPr>
            <a:spLocks noGrp="1"/>
          </p:cNvSpPr>
          <p:nvPr>
            <p:ph type="body" sz="quarter" idx="14"/>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CB57D75-5F5E-C041-8A1B-7856968E19BD}"/>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5" name="Footer Placeholder 3">
            <a:extLst>
              <a:ext uri="{FF2B5EF4-FFF2-40B4-BE49-F238E27FC236}">
                <a16:creationId xmlns:a16="http://schemas.microsoft.com/office/drawing/2014/main" id="{F912066A-675D-A44C-89A2-612CCDF7B6E9}"/>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60744" y="388845"/>
            <a:ext cx="5842468"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2" name="Slide Number Placeholder 5">
            <a:extLst>
              <a:ext uri="{FF2B5EF4-FFF2-40B4-BE49-F238E27FC236}">
                <a16:creationId xmlns:a16="http://schemas.microsoft.com/office/drawing/2014/main" id="{185B11D0-B444-4F17-867D-8E310083C2D6}"/>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6" name="Rectangle 35">
            <a:extLst>
              <a:ext uri="{FF2B5EF4-FFF2-40B4-BE49-F238E27FC236}">
                <a16:creationId xmlns:a16="http://schemas.microsoft.com/office/drawing/2014/main" id="{28A0BFCF-F96D-42FD-95BC-E15A6578D4F7}"/>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grpSp>
        <p:nvGrpSpPr>
          <p:cNvPr id="17" name="Group 16">
            <a:extLst>
              <a:ext uri="{FF2B5EF4-FFF2-40B4-BE49-F238E27FC236}">
                <a16:creationId xmlns:a16="http://schemas.microsoft.com/office/drawing/2014/main" id="{04C88BC3-87FF-4DEA-A390-196F279DE9AD}"/>
              </a:ext>
            </a:extLst>
          </p:cNvPr>
          <p:cNvGrpSpPr/>
          <p:nvPr userDrawn="1"/>
        </p:nvGrpSpPr>
        <p:grpSpPr>
          <a:xfrm>
            <a:off x="5715188" y="0"/>
            <a:ext cx="6476813" cy="4013359"/>
            <a:chOff x="5715188" y="0"/>
            <a:chExt cx="6476813" cy="4013359"/>
          </a:xfrm>
        </p:grpSpPr>
        <p:sp>
          <p:nvSpPr>
            <p:cNvPr id="18" name="Freeform: Shape 17">
              <a:extLst>
                <a:ext uri="{FF2B5EF4-FFF2-40B4-BE49-F238E27FC236}">
                  <a16:creationId xmlns:a16="http://schemas.microsoft.com/office/drawing/2014/main" id="{5CE5EE67-8B21-4F87-8DFB-90B271741602}"/>
                </a:ext>
              </a:extLst>
            </p:cNvPr>
            <p:cNvSpPr/>
            <p:nvPr/>
          </p:nvSpPr>
          <p:spPr>
            <a:xfrm>
              <a:off x="12010873" y="2481044"/>
              <a:ext cx="181127" cy="594412"/>
            </a:xfrm>
            <a:custGeom>
              <a:avLst/>
              <a:gdLst>
                <a:gd name="connsiteX0" fmla="*/ 0 w 181127"/>
                <a:gd name="connsiteY0" fmla="*/ 0 h 594412"/>
                <a:gd name="connsiteX1" fmla="*/ 167647 w 181127"/>
                <a:gd name="connsiteY1" fmla="*/ 116845 h 594412"/>
                <a:gd name="connsiteX2" fmla="*/ 167647 w 181127"/>
                <a:gd name="connsiteY2" fmla="*/ 351169 h 594412"/>
                <a:gd name="connsiteX3" fmla="*/ 181127 w 181127"/>
                <a:gd name="connsiteY3" fmla="*/ 360544 h 594412"/>
                <a:gd name="connsiteX4" fmla="*/ 181127 w 181127"/>
                <a:gd name="connsiteY4" fmla="*/ 594412 h 594412"/>
                <a:gd name="connsiteX5" fmla="*/ 0 w 181127"/>
                <a:gd name="connsiteY5" fmla="*/ 468649 h 59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127" h="594412">
                  <a:moveTo>
                    <a:pt x="0" y="0"/>
                  </a:moveTo>
                  <a:lnTo>
                    <a:pt x="167647" y="116845"/>
                  </a:lnTo>
                  <a:lnTo>
                    <a:pt x="167647" y="351169"/>
                  </a:lnTo>
                  <a:lnTo>
                    <a:pt x="181127" y="360544"/>
                  </a:lnTo>
                  <a:lnTo>
                    <a:pt x="181127" y="594412"/>
                  </a:lnTo>
                  <a:lnTo>
                    <a:pt x="0" y="468649"/>
                  </a:lnTo>
                  <a:close/>
                </a:path>
              </a:pathLst>
            </a:custGeom>
            <a:noFill/>
            <a:ln w="3175" cap="flat">
              <a:solidFill>
                <a:schemeClr val="bg1">
                  <a:alpha val="30000"/>
                </a:schemeClr>
              </a:solid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73080386-6680-4E93-BCAF-5CB175921301}"/>
                </a:ext>
              </a:extLst>
            </p:cNvPr>
            <p:cNvSpPr/>
            <p:nvPr/>
          </p:nvSpPr>
          <p:spPr>
            <a:xfrm>
              <a:off x="6565492" y="1"/>
              <a:ext cx="336566" cy="344819"/>
            </a:xfrm>
            <a:custGeom>
              <a:avLst/>
              <a:gdLst>
                <a:gd name="connsiteX0" fmla="*/ 0 w 336566"/>
                <a:gd name="connsiteY0" fmla="*/ 0 h 344819"/>
                <a:gd name="connsiteX1" fmla="*/ 176779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9"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BDDE16F9-C07D-4FEE-A6FA-A182F541F37F}"/>
                </a:ext>
              </a:extLst>
            </p:cNvPr>
            <p:cNvSpPr/>
            <p:nvPr userDrawn="1"/>
          </p:nvSpPr>
          <p:spPr>
            <a:xfrm>
              <a:off x="7246244" y="1"/>
              <a:ext cx="336566" cy="344819"/>
            </a:xfrm>
            <a:custGeom>
              <a:avLst/>
              <a:gdLst>
                <a:gd name="connsiteX0" fmla="*/ 0 w 336566"/>
                <a:gd name="connsiteY0" fmla="*/ 0 h 344819"/>
                <a:gd name="connsiteX1" fmla="*/ 176779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9"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ED9A046-D24A-4E78-8501-42C19EA55EBA}"/>
                </a:ext>
              </a:extLst>
            </p:cNvPr>
            <p:cNvSpPr/>
            <p:nvPr userDrawn="1"/>
          </p:nvSpPr>
          <p:spPr>
            <a:xfrm>
              <a:off x="7926996" y="1"/>
              <a:ext cx="336566" cy="344819"/>
            </a:xfrm>
            <a:custGeom>
              <a:avLst/>
              <a:gdLst>
                <a:gd name="connsiteX0" fmla="*/ 0 w 336566"/>
                <a:gd name="connsiteY0" fmla="*/ 0 h 344819"/>
                <a:gd name="connsiteX1" fmla="*/ 176779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9"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8E60FD82-2BBC-408C-B3E9-46545477070B}"/>
                </a:ext>
              </a:extLst>
            </p:cNvPr>
            <p:cNvSpPr/>
            <p:nvPr/>
          </p:nvSpPr>
          <p:spPr>
            <a:xfrm>
              <a:off x="8607748" y="1"/>
              <a:ext cx="336566" cy="344819"/>
            </a:xfrm>
            <a:custGeom>
              <a:avLst/>
              <a:gdLst>
                <a:gd name="connsiteX0" fmla="*/ 0 w 336566"/>
                <a:gd name="connsiteY0" fmla="*/ 0 h 344819"/>
                <a:gd name="connsiteX1" fmla="*/ 176778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8"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151714C-A962-44D7-8717-DBB0CAD4FB3C}"/>
                </a:ext>
              </a:extLst>
            </p:cNvPr>
            <p:cNvSpPr/>
            <p:nvPr/>
          </p:nvSpPr>
          <p:spPr>
            <a:xfrm>
              <a:off x="9288499" y="1"/>
              <a:ext cx="336566" cy="344819"/>
            </a:xfrm>
            <a:custGeom>
              <a:avLst/>
              <a:gdLst>
                <a:gd name="connsiteX0" fmla="*/ 0 w 336566"/>
                <a:gd name="connsiteY0" fmla="*/ 0 h 344819"/>
                <a:gd name="connsiteX1" fmla="*/ 176778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8"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D3221CAB-ED2A-48D3-9F40-870064BDA5BB}"/>
                </a:ext>
              </a:extLst>
            </p:cNvPr>
            <p:cNvSpPr/>
            <p:nvPr/>
          </p:nvSpPr>
          <p:spPr>
            <a:xfrm>
              <a:off x="9968617" y="1"/>
              <a:ext cx="337201" cy="344819"/>
            </a:xfrm>
            <a:custGeom>
              <a:avLst/>
              <a:gdLst>
                <a:gd name="connsiteX0" fmla="*/ 0 w 337201"/>
                <a:gd name="connsiteY0" fmla="*/ 0 h 344819"/>
                <a:gd name="connsiteX1" fmla="*/ 177413 w 337201"/>
                <a:gd name="connsiteY1" fmla="*/ 0 h 344819"/>
                <a:gd name="connsiteX2" fmla="*/ 337201 w 337201"/>
                <a:gd name="connsiteY2" fmla="*/ 111130 h 344819"/>
                <a:gd name="connsiteX3" fmla="*/ 337201 w 337201"/>
                <a:gd name="connsiteY3" fmla="*/ 344819 h 344819"/>
                <a:gd name="connsiteX4" fmla="*/ 0 w 337201"/>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201" h="344819">
                  <a:moveTo>
                    <a:pt x="0" y="0"/>
                  </a:moveTo>
                  <a:lnTo>
                    <a:pt x="177413" y="0"/>
                  </a:lnTo>
                  <a:lnTo>
                    <a:pt x="337201" y="111130"/>
                  </a:lnTo>
                  <a:lnTo>
                    <a:pt x="337201" y="344819"/>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9CE638EA-11C9-4B89-AB99-E00CA5E130BD}"/>
                </a:ext>
              </a:extLst>
            </p:cNvPr>
            <p:cNvSpPr/>
            <p:nvPr/>
          </p:nvSpPr>
          <p:spPr>
            <a:xfrm>
              <a:off x="10649369" y="1"/>
              <a:ext cx="337201" cy="344819"/>
            </a:xfrm>
            <a:custGeom>
              <a:avLst/>
              <a:gdLst>
                <a:gd name="connsiteX0" fmla="*/ 0 w 337201"/>
                <a:gd name="connsiteY0" fmla="*/ 0 h 344819"/>
                <a:gd name="connsiteX1" fmla="*/ 177413 w 337201"/>
                <a:gd name="connsiteY1" fmla="*/ 0 h 344819"/>
                <a:gd name="connsiteX2" fmla="*/ 337201 w 337201"/>
                <a:gd name="connsiteY2" fmla="*/ 111130 h 344819"/>
                <a:gd name="connsiteX3" fmla="*/ 337201 w 337201"/>
                <a:gd name="connsiteY3" fmla="*/ 344819 h 344819"/>
                <a:gd name="connsiteX4" fmla="*/ 0 w 337201"/>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201" h="344819">
                  <a:moveTo>
                    <a:pt x="0" y="0"/>
                  </a:moveTo>
                  <a:lnTo>
                    <a:pt x="177413" y="0"/>
                  </a:lnTo>
                  <a:lnTo>
                    <a:pt x="337201" y="111130"/>
                  </a:lnTo>
                  <a:lnTo>
                    <a:pt x="337201" y="344819"/>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6F13C4BA-3024-4FB0-9B6B-47A5B558035A}"/>
                </a:ext>
              </a:extLst>
            </p:cNvPr>
            <p:cNvSpPr/>
            <p:nvPr/>
          </p:nvSpPr>
          <p:spPr>
            <a:xfrm>
              <a:off x="11330120" y="1"/>
              <a:ext cx="336566" cy="344819"/>
            </a:xfrm>
            <a:custGeom>
              <a:avLst/>
              <a:gdLst>
                <a:gd name="connsiteX0" fmla="*/ 0 w 336566"/>
                <a:gd name="connsiteY0" fmla="*/ 0 h 344819"/>
                <a:gd name="connsiteX1" fmla="*/ 176778 w 336566"/>
                <a:gd name="connsiteY1" fmla="*/ 0 h 344819"/>
                <a:gd name="connsiteX2" fmla="*/ 336566 w 336566"/>
                <a:gd name="connsiteY2" fmla="*/ 111130 h 344819"/>
                <a:gd name="connsiteX3" fmla="*/ 336566 w 336566"/>
                <a:gd name="connsiteY3" fmla="*/ 344819 h 344819"/>
                <a:gd name="connsiteX4" fmla="*/ 0 w 336566"/>
                <a:gd name="connsiteY4" fmla="*/ 111130 h 344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19">
                  <a:moveTo>
                    <a:pt x="0" y="0"/>
                  </a:moveTo>
                  <a:lnTo>
                    <a:pt x="176778" y="0"/>
                  </a:lnTo>
                  <a:lnTo>
                    <a:pt x="336566" y="111130"/>
                  </a:lnTo>
                  <a:lnTo>
                    <a:pt x="336566" y="344819"/>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636FBC37-DF57-46B8-9978-E944E3AA9B6A}"/>
                </a:ext>
              </a:extLst>
            </p:cNvPr>
            <p:cNvSpPr/>
            <p:nvPr/>
          </p:nvSpPr>
          <p:spPr>
            <a:xfrm>
              <a:off x="12010872" y="1"/>
              <a:ext cx="181128" cy="236893"/>
            </a:xfrm>
            <a:custGeom>
              <a:avLst/>
              <a:gdLst>
                <a:gd name="connsiteX0" fmla="*/ 0 w 181128"/>
                <a:gd name="connsiteY0" fmla="*/ 0 h 236893"/>
                <a:gd name="connsiteX1" fmla="*/ 176777 w 181128"/>
                <a:gd name="connsiteY1" fmla="*/ 0 h 236893"/>
                <a:gd name="connsiteX2" fmla="*/ 181128 w 181128"/>
                <a:gd name="connsiteY2" fmla="*/ 3026 h 236893"/>
                <a:gd name="connsiteX3" fmla="*/ 181128 w 181128"/>
                <a:gd name="connsiteY3" fmla="*/ 236893 h 236893"/>
                <a:gd name="connsiteX4" fmla="*/ 0 w 181128"/>
                <a:gd name="connsiteY4" fmla="*/ 111130 h 236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8" h="236893">
                  <a:moveTo>
                    <a:pt x="0" y="0"/>
                  </a:moveTo>
                  <a:lnTo>
                    <a:pt x="176777" y="0"/>
                  </a:lnTo>
                  <a:lnTo>
                    <a:pt x="181128" y="3026"/>
                  </a:lnTo>
                  <a:lnTo>
                    <a:pt x="181128" y="236893"/>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C764A050-800F-4349-8A14-A6F0F97184CD}"/>
                </a:ext>
              </a:extLst>
            </p:cNvPr>
            <p:cNvSpPr/>
            <p:nvPr/>
          </p:nvSpPr>
          <p:spPr>
            <a:xfrm>
              <a:off x="12010873" y="1061762"/>
              <a:ext cx="181127" cy="594412"/>
            </a:xfrm>
            <a:custGeom>
              <a:avLst/>
              <a:gdLst>
                <a:gd name="connsiteX0" fmla="*/ 0 w 181127"/>
                <a:gd name="connsiteY0" fmla="*/ 0 h 594412"/>
                <a:gd name="connsiteX1" fmla="*/ 167647 w 181127"/>
                <a:gd name="connsiteY1" fmla="*/ 116845 h 594412"/>
                <a:gd name="connsiteX2" fmla="*/ 167647 w 181127"/>
                <a:gd name="connsiteY2" fmla="*/ 351169 h 594412"/>
                <a:gd name="connsiteX3" fmla="*/ 181127 w 181127"/>
                <a:gd name="connsiteY3" fmla="*/ 360544 h 594412"/>
                <a:gd name="connsiteX4" fmla="*/ 181127 w 181127"/>
                <a:gd name="connsiteY4" fmla="*/ 594412 h 594412"/>
                <a:gd name="connsiteX5" fmla="*/ 0 w 181127"/>
                <a:gd name="connsiteY5" fmla="*/ 468649 h 59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127" h="594412">
                  <a:moveTo>
                    <a:pt x="0" y="0"/>
                  </a:moveTo>
                  <a:lnTo>
                    <a:pt x="167647" y="116845"/>
                  </a:lnTo>
                  <a:lnTo>
                    <a:pt x="167647" y="351169"/>
                  </a:lnTo>
                  <a:lnTo>
                    <a:pt x="181127" y="360544"/>
                  </a:lnTo>
                  <a:lnTo>
                    <a:pt x="181127" y="594412"/>
                  </a:lnTo>
                  <a:lnTo>
                    <a:pt x="0" y="468649"/>
                  </a:lnTo>
                  <a:close/>
                </a:path>
              </a:pathLst>
            </a:custGeom>
            <a:noFill/>
            <a:ln w="3175" cap="flat">
              <a:solidFill>
                <a:schemeClr val="bg1">
                  <a:alpha val="30000"/>
                </a:schemeClr>
              </a:solid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046F198D-5084-48A9-8C84-7DB2CEC8A4EC}"/>
                </a:ext>
              </a:extLst>
            </p:cNvPr>
            <p:cNvSpPr/>
            <p:nvPr/>
          </p:nvSpPr>
          <p:spPr>
            <a:xfrm>
              <a:off x="11841955" y="1771720"/>
              <a:ext cx="333390" cy="463568"/>
            </a:xfrm>
            <a:custGeom>
              <a:avLst/>
              <a:gdLst>
                <a:gd name="connsiteX0" fmla="*/ 166378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D89682F6-96A5-41BF-82A7-8041CD27DFCA}"/>
                </a:ext>
              </a:extLst>
            </p:cNvPr>
            <p:cNvSpPr/>
            <p:nvPr/>
          </p:nvSpPr>
          <p:spPr>
            <a:xfrm>
              <a:off x="11671767" y="1533586"/>
              <a:ext cx="520233" cy="351169"/>
            </a:xfrm>
            <a:custGeom>
              <a:avLst/>
              <a:gdLst>
                <a:gd name="connsiteX0" fmla="*/ 337201 w 520233"/>
                <a:gd name="connsiteY0" fmla="*/ 0 h 351169"/>
                <a:gd name="connsiteX1" fmla="*/ 520233 w 520233"/>
                <a:gd name="connsiteY1" fmla="*/ 127191 h 351169"/>
                <a:gd name="connsiteX2" fmla="*/ 520233 w 520233"/>
                <a:gd name="connsiteY2" fmla="*/ 341190 h 351169"/>
                <a:gd name="connsiteX3" fmla="*/ 506753 w 520233"/>
                <a:gd name="connsiteY3" fmla="*/ 350534 h 351169"/>
                <a:gd name="connsiteX4" fmla="*/ 338470 w 520233"/>
                <a:gd name="connsiteY4" fmla="*/ 234324 h 351169"/>
                <a:gd name="connsiteX5" fmla="*/ 337201 w 520233"/>
                <a:gd name="connsiteY5" fmla="*/ 233689 h 351169"/>
                <a:gd name="connsiteX6" fmla="*/ 168283 w 520233"/>
                <a:gd name="connsiteY6" fmla="*/ 351169 h 351169"/>
                <a:gd name="connsiteX7" fmla="*/ 0 w 520233"/>
                <a:gd name="connsiteY7"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233" h="351169">
                  <a:moveTo>
                    <a:pt x="337201" y="0"/>
                  </a:moveTo>
                  <a:lnTo>
                    <a:pt x="520233" y="127191"/>
                  </a:lnTo>
                  <a:lnTo>
                    <a:pt x="520233" y="341190"/>
                  </a:lnTo>
                  <a:lnTo>
                    <a:pt x="506753" y="350534"/>
                  </a:lnTo>
                  <a:lnTo>
                    <a:pt x="338470"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0C05325F-FB04-4D3F-81DA-A8A1958800B0}"/>
                </a:ext>
              </a:extLst>
            </p:cNvPr>
            <p:cNvSpPr/>
            <p:nvPr/>
          </p:nvSpPr>
          <p:spPr>
            <a:xfrm>
              <a:off x="11670497"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EAF07ED-FD46-4A60-A12C-6191D530088B}"/>
                </a:ext>
              </a:extLst>
            </p:cNvPr>
            <p:cNvSpPr/>
            <p:nvPr/>
          </p:nvSpPr>
          <p:spPr>
            <a:xfrm>
              <a:off x="6225117"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647D2024-98F1-4BD4-B343-DAD63E339990}"/>
                </a:ext>
              </a:extLst>
            </p:cNvPr>
            <p:cNvSpPr/>
            <p:nvPr/>
          </p:nvSpPr>
          <p:spPr>
            <a:xfrm>
              <a:off x="6905869"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5E4F5D25-29A7-44F3-8A09-0B85AB758663}"/>
                </a:ext>
              </a:extLst>
            </p:cNvPr>
            <p:cNvSpPr/>
            <p:nvPr/>
          </p:nvSpPr>
          <p:spPr>
            <a:xfrm>
              <a:off x="7586621"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1AE80838-AA85-408D-A5A3-57703C8D7194}"/>
                </a:ext>
              </a:extLst>
            </p:cNvPr>
            <p:cNvSpPr/>
            <p:nvPr/>
          </p:nvSpPr>
          <p:spPr>
            <a:xfrm>
              <a:off x="8267372"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FD0A565E-C13F-4E69-81C4-EF204B972380}"/>
                </a:ext>
              </a:extLst>
            </p:cNvPr>
            <p:cNvSpPr/>
            <p:nvPr/>
          </p:nvSpPr>
          <p:spPr>
            <a:xfrm>
              <a:off x="8948124"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59F79212-CAEE-4FFE-B3AB-0F52E40D66A7}"/>
                </a:ext>
              </a:extLst>
            </p:cNvPr>
            <p:cNvSpPr/>
            <p:nvPr/>
          </p:nvSpPr>
          <p:spPr>
            <a:xfrm>
              <a:off x="9628876" y="352439"/>
              <a:ext cx="336565" cy="702338"/>
            </a:xfrm>
            <a:custGeom>
              <a:avLst/>
              <a:gdLst>
                <a:gd name="connsiteX0" fmla="*/ 167648 w 336565"/>
                <a:gd name="connsiteY0" fmla="*/ 116210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014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210"/>
                  </a:moveTo>
                  <a:lnTo>
                    <a:pt x="167648" y="351169"/>
                  </a:lnTo>
                  <a:lnTo>
                    <a:pt x="336566" y="468649"/>
                  </a:lnTo>
                  <a:lnTo>
                    <a:pt x="336566"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00B462F9-1955-491B-A597-8C3AB0118874}"/>
                </a:ext>
              </a:extLst>
            </p:cNvPr>
            <p:cNvSpPr/>
            <p:nvPr/>
          </p:nvSpPr>
          <p:spPr>
            <a:xfrm>
              <a:off x="10308993" y="352439"/>
              <a:ext cx="337201" cy="702338"/>
            </a:xfrm>
            <a:custGeom>
              <a:avLst/>
              <a:gdLst>
                <a:gd name="connsiteX0" fmla="*/ 168283 w 337201"/>
                <a:gd name="connsiteY0" fmla="*/ 116210 h 702338"/>
                <a:gd name="connsiteX1" fmla="*/ 168283 w 337201"/>
                <a:gd name="connsiteY1" fmla="*/ 351169 h 702338"/>
                <a:gd name="connsiteX2" fmla="*/ 337201 w 337201"/>
                <a:gd name="connsiteY2" fmla="*/ 468649 h 702338"/>
                <a:gd name="connsiteX3" fmla="*/ 337201 w 337201"/>
                <a:gd name="connsiteY3" fmla="*/ 702338 h 702338"/>
                <a:gd name="connsiteX4" fmla="*/ 0 w 337201"/>
                <a:gd name="connsiteY4" fmla="*/ 468014 h 702338"/>
                <a:gd name="connsiteX5" fmla="*/ 0 w 337201"/>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1" h="702338">
                  <a:moveTo>
                    <a:pt x="168283" y="116210"/>
                  </a:moveTo>
                  <a:lnTo>
                    <a:pt x="168283" y="351169"/>
                  </a:lnTo>
                  <a:lnTo>
                    <a:pt x="337201" y="468649"/>
                  </a:lnTo>
                  <a:lnTo>
                    <a:pt x="337201"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BD846CD6-9740-4A70-9C92-C1EF15D475DB}"/>
                </a:ext>
              </a:extLst>
            </p:cNvPr>
            <p:cNvSpPr/>
            <p:nvPr/>
          </p:nvSpPr>
          <p:spPr>
            <a:xfrm>
              <a:off x="10989745" y="352439"/>
              <a:ext cx="337200" cy="702338"/>
            </a:xfrm>
            <a:custGeom>
              <a:avLst/>
              <a:gdLst>
                <a:gd name="connsiteX0" fmla="*/ 168283 w 337200"/>
                <a:gd name="connsiteY0" fmla="*/ 116210 h 702338"/>
                <a:gd name="connsiteX1" fmla="*/ 168283 w 337200"/>
                <a:gd name="connsiteY1" fmla="*/ 351169 h 702338"/>
                <a:gd name="connsiteX2" fmla="*/ 337201 w 337200"/>
                <a:gd name="connsiteY2" fmla="*/ 468649 h 702338"/>
                <a:gd name="connsiteX3" fmla="*/ 337201 w 337200"/>
                <a:gd name="connsiteY3" fmla="*/ 702338 h 702338"/>
                <a:gd name="connsiteX4" fmla="*/ 0 w 337200"/>
                <a:gd name="connsiteY4" fmla="*/ 468014 h 702338"/>
                <a:gd name="connsiteX5" fmla="*/ 0 w 337200"/>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8">
                  <a:moveTo>
                    <a:pt x="168283" y="116210"/>
                  </a:moveTo>
                  <a:lnTo>
                    <a:pt x="168283" y="351169"/>
                  </a:lnTo>
                  <a:lnTo>
                    <a:pt x="337201" y="468649"/>
                  </a:lnTo>
                  <a:lnTo>
                    <a:pt x="337201"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F1E6B00F-6E1D-4F08-A671-8F4ED750732A}"/>
                </a:ext>
              </a:extLst>
            </p:cNvPr>
            <p:cNvSpPr/>
            <p:nvPr/>
          </p:nvSpPr>
          <p:spPr>
            <a:xfrm>
              <a:off x="11670497"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CA6F2F23-1DBB-414D-88DC-583BB6E462CF}"/>
                </a:ext>
              </a:extLst>
            </p:cNvPr>
            <p:cNvSpPr/>
            <p:nvPr/>
          </p:nvSpPr>
          <p:spPr>
            <a:xfrm>
              <a:off x="11330121"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24309412-4EAB-4705-8A4C-685D6C093D86}"/>
                </a:ext>
              </a:extLst>
            </p:cNvPr>
            <p:cNvSpPr/>
            <p:nvPr/>
          </p:nvSpPr>
          <p:spPr>
            <a:xfrm>
              <a:off x="11330121" y="2481044"/>
              <a:ext cx="336565" cy="702337"/>
            </a:xfrm>
            <a:custGeom>
              <a:avLst/>
              <a:gdLst>
                <a:gd name="connsiteX0" fmla="*/ 336566 w 336565"/>
                <a:gd name="connsiteY0" fmla="*/ 468649 h 702337"/>
                <a:gd name="connsiteX1" fmla="*/ 336566 w 336565"/>
                <a:gd name="connsiteY1" fmla="*/ 702338 h 702337"/>
                <a:gd name="connsiteX2" fmla="*/ 0 w 336565"/>
                <a:gd name="connsiteY2" fmla="*/ 468649 h 702337"/>
                <a:gd name="connsiteX3" fmla="*/ 0 w 336565"/>
                <a:gd name="connsiteY3" fmla="*/ 0 h 702337"/>
                <a:gd name="connsiteX4" fmla="*/ 167648 w 336565"/>
                <a:gd name="connsiteY4" fmla="*/ 116845 h 702337"/>
                <a:gd name="connsiteX5" fmla="*/ 167648 w 336565"/>
                <a:gd name="connsiteY5" fmla="*/ 351169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336566" y="468649"/>
                  </a:moveTo>
                  <a:lnTo>
                    <a:pt x="336566" y="702338"/>
                  </a:lnTo>
                  <a:lnTo>
                    <a:pt x="0" y="468649"/>
                  </a:lnTo>
                  <a:lnTo>
                    <a:pt x="0" y="0"/>
                  </a:lnTo>
                  <a:lnTo>
                    <a:pt x="167648" y="116845"/>
                  </a:lnTo>
                  <a:lnTo>
                    <a:pt x="167648"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9C0B2DBC-C430-4A19-B026-9FA6F7202E01}"/>
                </a:ext>
              </a:extLst>
            </p:cNvPr>
            <p:cNvSpPr/>
            <p:nvPr/>
          </p:nvSpPr>
          <p:spPr>
            <a:xfrm>
              <a:off x="11670497" y="2717273"/>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83167BB9-46CD-4709-911A-D1C7A6754A91}"/>
                </a:ext>
              </a:extLst>
            </p:cNvPr>
            <p:cNvSpPr/>
            <p:nvPr/>
          </p:nvSpPr>
          <p:spPr>
            <a:xfrm>
              <a:off x="11330121"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BD647D22-9C60-44B8-9D3F-BBE643FADD9F}"/>
                </a:ext>
              </a:extLst>
            </p:cNvPr>
            <p:cNvSpPr/>
            <p:nvPr/>
          </p:nvSpPr>
          <p:spPr>
            <a:xfrm>
              <a:off x="5884741" y="588668"/>
              <a:ext cx="164472" cy="227974"/>
            </a:xfrm>
            <a:custGeom>
              <a:avLst/>
              <a:gdLst>
                <a:gd name="connsiteX0" fmla="*/ 164473 w 164472"/>
                <a:gd name="connsiteY0" fmla="*/ 114305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59" name="Freeform: Shape 58">
              <a:extLst>
                <a:ext uri="{FF2B5EF4-FFF2-40B4-BE49-F238E27FC236}">
                  <a16:creationId xmlns:a16="http://schemas.microsoft.com/office/drawing/2014/main" id="{6D8CE189-30C4-4911-B40F-1FC72E907B5B}"/>
                </a:ext>
              </a:extLst>
            </p:cNvPr>
            <p:cNvSpPr/>
            <p:nvPr/>
          </p:nvSpPr>
          <p:spPr>
            <a:xfrm>
              <a:off x="5886011" y="824262"/>
              <a:ext cx="674401" cy="351169"/>
            </a:xfrm>
            <a:custGeom>
              <a:avLst/>
              <a:gdLst>
                <a:gd name="connsiteX0" fmla="*/ 337201 w 674401"/>
                <a:gd name="connsiteY0" fmla="*/ 0 h 351169"/>
                <a:gd name="connsiteX1" fmla="*/ 674402 w 674401"/>
                <a:gd name="connsiteY1" fmla="*/ 233689 h 351169"/>
                <a:gd name="connsiteX2" fmla="*/ 506754 w 674401"/>
                <a:gd name="connsiteY2" fmla="*/ 350534 h 351169"/>
                <a:gd name="connsiteX3" fmla="*/ 338471 w 674401"/>
                <a:gd name="connsiteY3" fmla="*/ 234324 h 351169"/>
                <a:gd name="connsiteX4" fmla="*/ 337201 w 674401"/>
                <a:gd name="connsiteY4" fmla="*/ 233689 h 351169"/>
                <a:gd name="connsiteX5" fmla="*/ 168283 w 674401"/>
                <a:gd name="connsiteY5" fmla="*/ 351169 h 351169"/>
                <a:gd name="connsiteX6" fmla="*/ 0 w 674401"/>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7201" y="0"/>
                  </a:moveTo>
                  <a:lnTo>
                    <a:pt x="674402" y="233689"/>
                  </a:lnTo>
                  <a:lnTo>
                    <a:pt x="506754" y="350534"/>
                  </a:lnTo>
                  <a:lnTo>
                    <a:pt x="338471"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7C4FBE59-F683-4E27-8E31-9228C4F0291C}"/>
                </a:ext>
              </a:extLst>
            </p:cNvPr>
            <p:cNvSpPr/>
            <p:nvPr/>
          </p:nvSpPr>
          <p:spPr>
            <a:xfrm>
              <a:off x="6565493" y="588668"/>
              <a:ext cx="164472" cy="227974"/>
            </a:xfrm>
            <a:custGeom>
              <a:avLst/>
              <a:gdLst>
                <a:gd name="connsiteX0" fmla="*/ 0 w 164472"/>
                <a:gd name="connsiteY0" fmla="*/ 0 h 227974"/>
                <a:gd name="connsiteX1" fmla="*/ 164473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305"/>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61" name="Freeform: Shape 60">
              <a:extLst>
                <a:ext uri="{FF2B5EF4-FFF2-40B4-BE49-F238E27FC236}">
                  <a16:creationId xmlns:a16="http://schemas.microsoft.com/office/drawing/2014/main" id="{D519D4CC-4667-4937-AC8A-C1BE2B8F60F3}"/>
                </a:ext>
              </a:extLst>
            </p:cNvPr>
            <p:cNvSpPr/>
            <p:nvPr/>
          </p:nvSpPr>
          <p:spPr>
            <a:xfrm>
              <a:off x="6566763" y="824262"/>
              <a:ext cx="674401" cy="351169"/>
            </a:xfrm>
            <a:custGeom>
              <a:avLst/>
              <a:gdLst>
                <a:gd name="connsiteX0" fmla="*/ 337201 w 674401"/>
                <a:gd name="connsiteY0" fmla="*/ 0 h 351169"/>
                <a:gd name="connsiteX1" fmla="*/ 674402 w 674401"/>
                <a:gd name="connsiteY1" fmla="*/ 233689 h 351169"/>
                <a:gd name="connsiteX2" fmla="*/ 506754 w 674401"/>
                <a:gd name="connsiteY2" fmla="*/ 350534 h 351169"/>
                <a:gd name="connsiteX3" fmla="*/ 338471 w 674401"/>
                <a:gd name="connsiteY3" fmla="*/ 234324 h 351169"/>
                <a:gd name="connsiteX4" fmla="*/ 337201 w 674401"/>
                <a:gd name="connsiteY4" fmla="*/ 233689 h 351169"/>
                <a:gd name="connsiteX5" fmla="*/ 168283 w 674401"/>
                <a:gd name="connsiteY5" fmla="*/ 351169 h 351169"/>
                <a:gd name="connsiteX6" fmla="*/ 0 w 674401"/>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7201" y="0"/>
                  </a:moveTo>
                  <a:lnTo>
                    <a:pt x="674402" y="233689"/>
                  </a:lnTo>
                  <a:lnTo>
                    <a:pt x="506754" y="350534"/>
                  </a:lnTo>
                  <a:lnTo>
                    <a:pt x="338471"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a:p>
          </p:txBody>
        </p:sp>
        <p:sp>
          <p:nvSpPr>
            <p:cNvPr id="62" name="Freeform: Shape 61">
              <a:extLst>
                <a:ext uri="{FF2B5EF4-FFF2-40B4-BE49-F238E27FC236}">
                  <a16:creationId xmlns:a16="http://schemas.microsoft.com/office/drawing/2014/main" id="{3636842B-DCE3-4F08-85A2-DADA9D687C33}"/>
                </a:ext>
              </a:extLst>
            </p:cNvPr>
            <p:cNvSpPr/>
            <p:nvPr/>
          </p:nvSpPr>
          <p:spPr>
            <a:xfrm>
              <a:off x="7246245" y="588668"/>
              <a:ext cx="164472" cy="227974"/>
            </a:xfrm>
            <a:custGeom>
              <a:avLst/>
              <a:gdLst>
                <a:gd name="connsiteX0" fmla="*/ 0 w 164472"/>
                <a:gd name="connsiteY0" fmla="*/ 0 h 227974"/>
                <a:gd name="connsiteX1" fmla="*/ 164473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305"/>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63" name="Freeform: Shape 62">
              <a:extLst>
                <a:ext uri="{FF2B5EF4-FFF2-40B4-BE49-F238E27FC236}">
                  <a16:creationId xmlns:a16="http://schemas.microsoft.com/office/drawing/2014/main" id="{3DA9BF26-63B9-4D35-9BBD-838100622B0D}"/>
                </a:ext>
              </a:extLst>
            </p:cNvPr>
            <p:cNvSpPr/>
            <p:nvPr/>
          </p:nvSpPr>
          <p:spPr>
            <a:xfrm>
              <a:off x="7247515" y="824262"/>
              <a:ext cx="674401" cy="351169"/>
            </a:xfrm>
            <a:custGeom>
              <a:avLst/>
              <a:gdLst>
                <a:gd name="connsiteX0" fmla="*/ 337201 w 674401"/>
                <a:gd name="connsiteY0" fmla="*/ 0 h 351169"/>
                <a:gd name="connsiteX1" fmla="*/ 674402 w 674401"/>
                <a:gd name="connsiteY1" fmla="*/ 233689 h 351169"/>
                <a:gd name="connsiteX2" fmla="*/ 506754 w 674401"/>
                <a:gd name="connsiteY2" fmla="*/ 350534 h 351169"/>
                <a:gd name="connsiteX3" fmla="*/ 337836 w 674401"/>
                <a:gd name="connsiteY3" fmla="*/ 234324 h 351169"/>
                <a:gd name="connsiteX4" fmla="*/ 337201 w 674401"/>
                <a:gd name="connsiteY4" fmla="*/ 233689 h 351169"/>
                <a:gd name="connsiteX5" fmla="*/ 168283 w 674401"/>
                <a:gd name="connsiteY5" fmla="*/ 351169 h 351169"/>
                <a:gd name="connsiteX6" fmla="*/ 0 w 674401"/>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7201" y="0"/>
                  </a:moveTo>
                  <a:lnTo>
                    <a:pt x="674402" y="233689"/>
                  </a:lnTo>
                  <a:lnTo>
                    <a:pt x="506754" y="350534"/>
                  </a:lnTo>
                  <a:lnTo>
                    <a:pt x="337836"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3E6731B1-220D-481E-88A1-E81C15364115}"/>
                </a:ext>
              </a:extLst>
            </p:cNvPr>
            <p:cNvSpPr/>
            <p:nvPr/>
          </p:nvSpPr>
          <p:spPr>
            <a:xfrm>
              <a:off x="7926997" y="588668"/>
              <a:ext cx="163837" cy="227974"/>
            </a:xfrm>
            <a:custGeom>
              <a:avLst/>
              <a:gdLst>
                <a:gd name="connsiteX0" fmla="*/ 163838 w 163837"/>
                <a:gd name="connsiteY0" fmla="*/ 114305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67BA01E-07D3-4CE3-8B5C-A032BAEA7BFD}"/>
                </a:ext>
              </a:extLst>
            </p:cNvPr>
            <p:cNvSpPr/>
            <p:nvPr/>
          </p:nvSpPr>
          <p:spPr>
            <a:xfrm>
              <a:off x="7928267" y="824262"/>
              <a:ext cx="674401" cy="351169"/>
            </a:xfrm>
            <a:custGeom>
              <a:avLst/>
              <a:gdLst>
                <a:gd name="connsiteX0" fmla="*/ 337201 w 674401"/>
                <a:gd name="connsiteY0" fmla="*/ 0 h 351169"/>
                <a:gd name="connsiteX1" fmla="*/ 674401 w 674401"/>
                <a:gd name="connsiteY1" fmla="*/ 233689 h 351169"/>
                <a:gd name="connsiteX2" fmla="*/ 506754 w 674401"/>
                <a:gd name="connsiteY2" fmla="*/ 350534 h 351169"/>
                <a:gd name="connsiteX3" fmla="*/ 337836 w 674401"/>
                <a:gd name="connsiteY3" fmla="*/ 234324 h 351169"/>
                <a:gd name="connsiteX4" fmla="*/ 337201 w 674401"/>
                <a:gd name="connsiteY4" fmla="*/ 233689 h 351169"/>
                <a:gd name="connsiteX5" fmla="*/ 168283 w 674401"/>
                <a:gd name="connsiteY5" fmla="*/ 351169 h 351169"/>
                <a:gd name="connsiteX6" fmla="*/ 0 w 674401"/>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7201" y="0"/>
                  </a:moveTo>
                  <a:lnTo>
                    <a:pt x="674401" y="233689"/>
                  </a:lnTo>
                  <a:lnTo>
                    <a:pt x="506754" y="350534"/>
                  </a:lnTo>
                  <a:lnTo>
                    <a:pt x="337836"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a:p>
          </p:txBody>
        </p:sp>
        <p:sp>
          <p:nvSpPr>
            <p:cNvPr id="66" name="Freeform: Shape 65">
              <a:extLst>
                <a:ext uri="{FF2B5EF4-FFF2-40B4-BE49-F238E27FC236}">
                  <a16:creationId xmlns:a16="http://schemas.microsoft.com/office/drawing/2014/main" id="{6F9CA08F-42C7-4CFD-9F37-C10337C2F2AE}"/>
                </a:ext>
              </a:extLst>
            </p:cNvPr>
            <p:cNvSpPr/>
            <p:nvPr/>
          </p:nvSpPr>
          <p:spPr>
            <a:xfrm>
              <a:off x="8607749" y="588668"/>
              <a:ext cx="163837" cy="227974"/>
            </a:xfrm>
            <a:custGeom>
              <a:avLst/>
              <a:gdLst>
                <a:gd name="connsiteX0" fmla="*/ 163838 w 163837"/>
                <a:gd name="connsiteY0" fmla="*/ 114305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67" name="Freeform: Shape 66">
              <a:extLst>
                <a:ext uri="{FF2B5EF4-FFF2-40B4-BE49-F238E27FC236}">
                  <a16:creationId xmlns:a16="http://schemas.microsoft.com/office/drawing/2014/main" id="{2BE5FE9D-21F9-4C4C-85BB-EEB31817DFC9}"/>
                </a:ext>
              </a:extLst>
            </p:cNvPr>
            <p:cNvSpPr/>
            <p:nvPr/>
          </p:nvSpPr>
          <p:spPr>
            <a:xfrm>
              <a:off x="8609018" y="824262"/>
              <a:ext cx="673766" cy="351169"/>
            </a:xfrm>
            <a:custGeom>
              <a:avLst/>
              <a:gdLst>
                <a:gd name="connsiteX0" fmla="*/ 337201 w 673766"/>
                <a:gd name="connsiteY0" fmla="*/ 0 h 351169"/>
                <a:gd name="connsiteX1" fmla="*/ 673767 w 673766"/>
                <a:gd name="connsiteY1" fmla="*/ 233689 h 351169"/>
                <a:gd name="connsiteX2" fmla="*/ 506119 w 673766"/>
                <a:gd name="connsiteY2" fmla="*/ 350534 h 351169"/>
                <a:gd name="connsiteX3" fmla="*/ 337836 w 673766"/>
                <a:gd name="connsiteY3" fmla="*/ 234324 h 351169"/>
                <a:gd name="connsiteX4" fmla="*/ 337201 w 673766"/>
                <a:gd name="connsiteY4" fmla="*/ 233689 h 351169"/>
                <a:gd name="connsiteX5" fmla="*/ 168283 w 673766"/>
                <a:gd name="connsiteY5" fmla="*/ 351169 h 351169"/>
                <a:gd name="connsiteX6" fmla="*/ 0 w 673766"/>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337201" y="0"/>
                  </a:moveTo>
                  <a:lnTo>
                    <a:pt x="673767" y="233689"/>
                  </a:lnTo>
                  <a:lnTo>
                    <a:pt x="506119" y="350534"/>
                  </a:lnTo>
                  <a:lnTo>
                    <a:pt x="337836"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a:p>
          </p:txBody>
        </p:sp>
        <p:sp>
          <p:nvSpPr>
            <p:cNvPr id="68" name="Freeform: Shape 67">
              <a:extLst>
                <a:ext uri="{FF2B5EF4-FFF2-40B4-BE49-F238E27FC236}">
                  <a16:creationId xmlns:a16="http://schemas.microsoft.com/office/drawing/2014/main" id="{B18E07B5-5A05-46CF-AF1E-74FB011B05C1}"/>
                </a:ext>
              </a:extLst>
            </p:cNvPr>
            <p:cNvSpPr/>
            <p:nvPr/>
          </p:nvSpPr>
          <p:spPr>
            <a:xfrm>
              <a:off x="9288500" y="588668"/>
              <a:ext cx="163837" cy="227974"/>
            </a:xfrm>
            <a:custGeom>
              <a:avLst/>
              <a:gdLst>
                <a:gd name="connsiteX0" fmla="*/ 0 w 163837"/>
                <a:gd name="connsiteY0" fmla="*/ 0 h 227974"/>
                <a:gd name="connsiteX1" fmla="*/ 163838 w 163837"/>
                <a:gd name="connsiteY1" fmla="*/ 114305 h 227974"/>
                <a:gd name="connsiteX2" fmla="*/ 0 w 163837"/>
                <a:gd name="connsiteY2" fmla="*/ 227974 h 227974"/>
              </a:gdLst>
              <a:ahLst/>
              <a:cxnLst>
                <a:cxn ang="0">
                  <a:pos x="connsiteX0" y="connsiteY0"/>
                </a:cxn>
                <a:cxn ang="0">
                  <a:pos x="connsiteX1" y="connsiteY1"/>
                </a:cxn>
                <a:cxn ang="0">
                  <a:pos x="connsiteX2" y="connsiteY2"/>
                </a:cxn>
              </a:cxnLst>
              <a:rect l="l" t="t" r="r" b="b"/>
              <a:pathLst>
                <a:path w="163837" h="227974">
                  <a:moveTo>
                    <a:pt x="0" y="0"/>
                  </a:moveTo>
                  <a:lnTo>
                    <a:pt x="163838" y="114305"/>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69" name="Freeform: Shape 68">
              <a:extLst>
                <a:ext uri="{FF2B5EF4-FFF2-40B4-BE49-F238E27FC236}">
                  <a16:creationId xmlns:a16="http://schemas.microsoft.com/office/drawing/2014/main" id="{30B77125-FE0A-4BB8-AA32-C0C760E202CF}"/>
                </a:ext>
              </a:extLst>
            </p:cNvPr>
            <p:cNvSpPr/>
            <p:nvPr/>
          </p:nvSpPr>
          <p:spPr>
            <a:xfrm>
              <a:off x="9289770" y="824262"/>
              <a:ext cx="673766" cy="351169"/>
            </a:xfrm>
            <a:custGeom>
              <a:avLst/>
              <a:gdLst>
                <a:gd name="connsiteX0" fmla="*/ 337201 w 673766"/>
                <a:gd name="connsiteY0" fmla="*/ 0 h 351169"/>
                <a:gd name="connsiteX1" fmla="*/ 673767 w 673766"/>
                <a:gd name="connsiteY1" fmla="*/ 233689 h 351169"/>
                <a:gd name="connsiteX2" fmla="*/ 506119 w 673766"/>
                <a:gd name="connsiteY2" fmla="*/ 350534 h 351169"/>
                <a:gd name="connsiteX3" fmla="*/ 337836 w 673766"/>
                <a:gd name="connsiteY3" fmla="*/ 234324 h 351169"/>
                <a:gd name="connsiteX4" fmla="*/ 337201 w 673766"/>
                <a:gd name="connsiteY4" fmla="*/ 233689 h 351169"/>
                <a:gd name="connsiteX5" fmla="*/ 168283 w 673766"/>
                <a:gd name="connsiteY5" fmla="*/ 351169 h 351169"/>
                <a:gd name="connsiteX6" fmla="*/ 0 w 673766"/>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337201" y="0"/>
                  </a:moveTo>
                  <a:lnTo>
                    <a:pt x="673767" y="233689"/>
                  </a:lnTo>
                  <a:lnTo>
                    <a:pt x="506119" y="350534"/>
                  </a:lnTo>
                  <a:lnTo>
                    <a:pt x="337836" y="234324"/>
                  </a:lnTo>
                  <a:lnTo>
                    <a:pt x="337201"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a:p>
          </p:txBody>
        </p:sp>
        <p:sp>
          <p:nvSpPr>
            <p:cNvPr id="70" name="Freeform: Shape 69">
              <a:extLst>
                <a:ext uri="{FF2B5EF4-FFF2-40B4-BE49-F238E27FC236}">
                  <a16:creationId xmlns:a16="http://schemas.microsoft.com/office/drawing/2014/main" id="{7F10CAC9-5E2F-4D4B-8762-1EE74B2EE4C7}"/>
                </a:ext>
              </a:extLst>
            </p:cNvPr>
            <p:cNvSpPr/>
            <p:nvPr/>
          </p:nvSpPr>
          <p:spPr>
            <a:xfrm>
              <a:off x="9968617" y="588668"/>
              <a:ext cx="164472" cy="227974"/>
            </a:xfrm>
            <a:custGeom>
              <a:avLst/>
              <a:gdLst>
                <a:gd name="connsiteX0" fmla="*/ 0 w 164472"/>
                <a:gd name="connsiteY0" fmla="*/ 0 h 227974"/>
                <a:gd name="connsiteX1" fmla="*/ 164472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2" y="114305"/>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DA3B5C39-F1BB-4A8E-8E22-5D750A638332}"/>
                </a:ext>
              </a:extLst>
            </p:cNvPr>
            <p:cNvSpPr/>
            <p:nvPr/>
          </p:nvSpPr>
          <p:spPr>
            <a:xfrm>
              <a:off x="9970522" y="824262"/>
              <a:ext cx="673766" cy="351169"/>
            </a:xfrm>
            <a:custGeom>
              <a:avLst/>
              <a:gdLst>
                <a:gd name="connsiteX0" fmla="*/ 336566 w 673766"/>
                <a:gd name="connsiteY0" fmla="*/ 0 h 351169"/>
                <a:gd name="connsiteX1" fmla="*/ 673766 w 673766"/>
                <a:gd name="connsiteY1" fmla="*/ 233689 h 351169"/>
                <a:gd name="connsiteX2" fmla="*/ 506119 w 673766"/>
                <a:gd name="connsiteY2" fmla="*/ 350534 h 351169"/>
                <a:gd name="connsiteX3" fmla="*/ 337836 w 673766"/>
                <a:gd name="connsiteY3" fmla="*/ 234324 h 351169"/>
                <a:gd name="connsiteX4" fmla="*/ 336566 w 673766"/>
                <a:gd name="connsiteY4" fmla="*/ 233689 h 351169"/>
                <a:gd name="connsiteX5" fmla="*/ 168283 w 673766"/>
                <a:gd name="connsiteY5" fmla="*/ 351169 h 351169"/>
                <a:gd name="connsiteX6" fmla="*/ 0 w 673766"/>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336566" y="0"/>
                  </a:moveTo>
                  <a:lnTo>
                    <a:pt x="673766" y="233689"/>
                  </a:lnTo>
                  <a:lnTo>
                    <a:pt x="506119" y="350534"/>
                  </a:lnTo>
                  <a:lnTo>
                    <a:pt x="337836" y="234324"/>
                  </a:lnTo>
                  <a:lnTo>
                    <a:pt x="336566"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a:p>
          </p:txBody>
        </p:sp>
        <p:sp>
          <p:nvSpPr>
            <p:cNvPr id="72" name="Freeform: Shape 71">
              <a:extLst>
                <a:ext uri="{FF2B5EF4-FFF2-40B4-BE49-F238E27FC236}">
                  <a16:creationId xmlns:a16="http://schemas.microsoft.com/office/drawing/2014/main" id="{1C23EC0F-A6E1-40B6-884C-76B1582A16F8}"/>
                </a:ext>
              </a:extLst>
            </p:cNvPr>
            <p:cNvSpPr/>
            <p:nvPr/>
          </p:nvSpPr>
          <p:spPr>
            <a:xfrm>
              <a:off x="10649369" y="588668"/>
              <a:ext cx="164472" cy="227974"/>
            </a:xfrm>
            <a:custGeom>
              <a:avLst/>
              <a:gdLst>
                <a:gd name="connsiteX0" fmla="*/ 0 w 164472"/>
                <a:gd name="connsiteY0" fmla="*/ 0 h 227974"/>
                <a:gd name="connsiteX1" fmla="*/ 164472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2" y="114305"/>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24328EBA-4DDC-4236-B440-BF0A104F46E2}"/>
                </a:ext>
              </a:extLst>
            </p:cNvPr>
            <p:cNvSpPr/>
            <p:nvPr/>
          </p:nvSpPr>
          <p:spPr>
            <a:xfrm>
              <a:off x="10651274" y="824262"/>
              <a:ext cx="673766" cy="351169"/>
            </a:xfrm>
            <a:custGeom>
              <a:avLst/>
              <a:gdLst>
                <a:gd name="connsiteX0" fmla="*/ 336565 w 673766"/>
                <a:gd name="connsiteY0" fmla="*/ 0 h 351169"/>
                <a:gd name="connsiteX1" fmla="*/ 673767 w 673766"/>
                <a:gd name="connsiteY1" fmla="*/ 233689 h 351169"/>
                <a:gd name="connsiteX2" fmla="*/ 506119 w 673766"/>
                <a:gd name="connsiteY2" fmla="*/ 350534 h 351169"/>
                <a:gd name="connsiteX3" fmla="*/ 337836 w 673766"/>
                <a:gd name="connsiteY3" fmla="*/ 234324 h 351169"/>
                <a:gd name="connsiteX4" fmla="*/ 336565 w 673766"/>
                <a:gd name="connsiteY4" fmla="*/ 233689 h 351169"/>
                <a:gd name="connsiteX5" fmla="*/ 168283 w 673766"/>
                <a:gd name="connsiteY5" fmla="*/ 351169 h 351169"/>
                <a:gd name="connsiteX6" fmla="*/ 0 w 673766"/>
                <a:gd name="connsiteY6" fmla="*/ 233689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336565" y="0"/>
                  </a:moveTo>
                  <a:lnTo>
                    <a:pt x="673767" y="233689"/>
                  </a:lnTo>
                  <a:lnTo>
                    <a:pt x="506119" y="350534"/>
                  </a:lnTo>
                  <a:lnTo>
                    <a:pt x="337836" y="234324"/>
                  </a:lnTo>
                  <a:lnTo>
                    <a:pt x="336565" y="233689"/>
                  </a:lnTo>
                  <a:lnTo>
                    <a:pt x="168283" y="351169"/>
                  </a:lnTo>
                  <a:lnTo>
                    <a:pt x="0" y="233689"/>
                  </a:lnTo>
                  <a:close/>
                </a:path>
              </a:pathLst>
            </a:custGeom>
            <a:noFill/>
            <a:ln w="3175" cap="flat">
              <a:solidFill>
                <a:schemeClr val="bg1">
                  <a:alpha val="30000"/>
                </a:schemeClr>
              </a:solidFill>
              <a:prstDash val="solid"/>
              <a:miter/>
            </a:ln>
          </p:spPr>
          <p:txBody>
            <a:bodyPr rtlCol="0" anchor="ctr"/>
            <a:lstStyle/>
            <a:p>
              <a:endParaRPr lang="en-GB"/>
            </a:p>
          </p:txBody>
        </p:sp>
        <p:sp>
          <p:nvSpPr>
            <p:cNvPr id="74" name="Freeform: Shape 73">
              <a:extLst>
                <a:ext uri="{FF2B5EF4-FFF2-40B4-BE49-F238E27FC236}">
                  <a16:creationId xmlns:a16="http://schemas.microsoft.com/office/drawing/2014/main" id="{D90F04C2-DE22-476E-90B0-F39240F8C370}"/>
                </a:ext>
              </a:extLst>
            </p:cNvPr>
            <p:cNvSpPr/>
            <p:nvPr/>
          </p:nvSpPr>
          <p:spPr>
            <a:xfrm>
              <a:off x="11330121" y="588668"/>
              <a:ext cx="164472" cy="227974"/>
            </a:xfrm>
            <a:custGeom>
              <a:avLst/>
              <a:gdLst>
                <a:gd name="connsiteX0" fmla="*/ 0 w 164472"/>
                <a:gd name="connsiteY0" fmla="*/ 0 h 227974"/>
                <a:gd name="connsiteX1" fmla="*/ 164473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305"/>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83F901A7-A96D-4225-B56B-097F10BA4198}"/>
                </a:ext>
              </a:extLst>
            </p:cNvPr>
            <p:cNvSpPr/>
            <p:nvPr/>
          </p:nvSpPr>
          <p:spPr>
            <a:xfrm>
              <a:off x="11330121" y="1061762"/>
              <a:ext cx="336565" cy="702338"/>
            </a:xfrm>
            <a:custGeom>
              <a:avLst/>
              <a:gdLst>
                <a:gd name="connsiteX0" fmla="*/ 336566 w 336565"/>
                <a:gd name="connsiteY0" fmla="*/ 468649 h 702338"/>
                <a:gd name="connsiteX1" fmla="*/ 336566 w 336565"/>
                <a:gd name="connsiteY1" fmla="*/ 702338 h 702338"/>
                <a:gd name="connsiteX2" fmla="*/ 0 w 336565"/>
                <a:gd name="connsiteY2" fmla="*/ 468649 h 702338"/>
                <a:gd name="connsiteX3" fmla="*/ 0 w 336565"/>
                <a:gd name="connsiteY3" fmla="*/ 0 h 702338"/>
                <a:gd name="connsiteX4" fmla="*/ 167648 w 336565"/>
                <a:gd name="connsiteY4" fmla="*/ 116845 h 702338"/>
                <a:gd name="connsiteX5" fmla="*/ 167648 w 336565"/>
                <a:gd name="connsiteY5" fmla="*/ 351169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336566" y="468649"/>
                  </a:moveTo>
                  <a:lnTo>
                    <a:pt x="336566" y="702338"/>
                  </a:lnTo>
                  <a:lnTo>
                    <a:pt x="0" y="468649"/>
                  </a:lnTo>
                  <a:lnTo>
                    <a:pt x="0" y="0"/>
                  </a:lnTo>
                  <a:lnTo>
                    <a:pt x="167648" y="116845"/>
                  </a:lnTo>
                  <a:lnTo>
                    <a:pt x="167648"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76" name="Freeform: Shape 75">
              <a:extLst>
                <a:ext uri="{FF2B5EF4-FFF2-40B4-BE49-F238E27FC236}">
                  <a16:creationId xmlns:a16="http://schemas.microsoft.com/office/drawing/2014/main" id="{B8C23906-A74F-484F-B5D0-F8D1D70E416B}"/>
                </a:ext>
              </a:extLst>
            </p:cNvPr>
            <p:cNvSpPr/>
            <p:nvPr/>
          </p:nvSpPr>
          <p:spPr>
            <a:xfrm>
              <a:off x="11670497" y="1297991"/>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617012FE-D9A3-40B2-917B-05B21C90D142}"/>
                </a:ext>
              </a:extLst>
            </p:cNvPr>
            <p:cNvSpPr/>
            <p:nvPr/>
          </p:nvSpPr>
          <p:spPr>
            <a:xfrm>
              <a:off x="5884741"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AEF34A93-EB7C-48BD-B3A6-4C56EECA01A5}"/>
                </a:ext>
              </a:extLst>
            </p:cNvPr>
            <p:cNvSpPr/>
            <p:nvPr/>
          </p:nvSpPr>
          <p:spPr>
            <a:xfrm>
              <a:off x="6565493"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78238E33-6A82-49C9-A952-76FDF8F1FE43}"/>
                </a:ext>
              </a:extLst>
            </p:cNvPr>
            <p:cNvSpPr/>
            <p:nvPr/>
          </p:nvSpPr>
          <p:spPr>
            <a:xfrm>
              <a:off x="7246245"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25DF4D9B-EE59-4AD9-B375-3288C1C1B918}"/>
                </a:ext>
              </a:extLst>
            </p:cNvPr>
            <p:cNvSpPr/>
            <p:nvPr/>
          </p:nvSpPr>
          <p:spPr>
            <a:xfrm>
              <a:off x="7926997"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81" name="Freeform: Shape 80">
              <a:extLst>
                <a:ext uri="{FF2B5EF4-FFF2-40B4-BE49-F238E27FC236}">
                  <a16:creationId xmlns:a16="http://schemas.microsoft.com/office/drawing/2014/main" id="{FE180511-C746-4C16-A9B7-28A0EB58DCD4}"/>
                </a:ext>
              </a:extLst>
            </p:cNvPr>
            <p:cNvSpPr/>
            <p:nvPr/>
          </p:nvSpPr>
          <p:spPr>
            <a:xfrm>
              <a:off x="8607749"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82" name="Freeform: Shape 81">
              <a:extLst>
                <a:ext uri="{FF2B5EF4-FFF2-40B4-BE49-F238E27FC236}">
                  <a16:creationId xmlns:a16="http://schemas.microsoft.com/office/drawing/2014/main" id="{F35AF811-12BC-469A-805D-3D67E3B3FECF}"/>
                </a:ext>
              </a:extLst>
            </p:cNvPr>
            <p:cNvSpPr/>
            <p:nvPr/>
          </p:nvSpPr>
          <p:spPr>
            <a:xfrm>
              <a:off x="9288500" y="1061762"/>
              <a:ext cx="336565" cy="702338"/>
            </a:xfrm>
            <a:custGeom>
              <a:avLst/>
              <a:gdLst>
                <a:gd name="connsiteX0" fmla="*/ 167648 w 336565"/>
                <a:gd name="connsiteY0" fmla="*/ 116845 h 702338"/>
                <a:gd name="connsiteX1" fmla="*/ 167648 w 336565"/>
                <a:gd name="connsiteY1" fmla="*/ 351169 h 702338"/>
                <a:gd name="connsiteX2" fmla="*/ 336566 w 336565"/>
                <a:gd name="connsiteY2" fmla="*/ 468649 h 702338"/>
                <a:gd name="connsiteX3" fmla="*/ 336566 w 336565"/>
                <a:gd name="connsiteY3" fmla="*/ 702338 h 702338"/>
                <a:gd name="connsiteX4" fmla="*/ 0 w 336565"/>
                <a:gd name="connsiteY4" fmla="*/ 468649 h 702338"/>
                <a:gd name="connsiteX5" fmla="*/ 0 w 336565"/>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83" name="Freeform: Shape 82">
              <a:extLst>
                <a:ext uri="{FF2B5EF4-FFF2-40B4-BE49-F238E27FC236}">
                  <a16:creationId xmlns:a16="http://schemas.microsoft.com/office/drawing/2014/main" id="{0C82A089-6B43-410E-8EB1-81A84B4636F9}"/>
                </a:ext>
              </a:extLst>
            </p:cNvPr>
            <p:cNvSpPr/>
            <p:nvPr/>
          </p:nvSpPr>
          <p:spPr>
            <a:xfrm>
              <a:off x="9968617" y="1061762"/>
              <a:ext cx="337200" cy="702338"/>
            </a:xfrm>
            <a:custGeom>
              <a:avLst/>
              <a:gdLst>
                <a:gd name="connsiteX0" fmla="*/ 168283 w 337200"/>
                <a:gd name="connsiteY0" fmla="*/ 116845 h 702338"/>
                <a:gd name="connsiteX1" fmla="*/ 168283 w 337200"/>
                <a:gd name="connsiteY1" fmla="*/ 351169 h 702338"/>
                <a:gd name="connsiteX2" fmla="*/ 337201 w 337200"/>
                <a:gd name="connsiteY2" fmla="*/ 468649 h 702338"/>
                <a:gd name="connsiteX3" fmla="*/ 337201 w 337200"/>
                <a:gd name="connsiteY3" fmla="*/ 702338 h 702338"/>
                <a:gd name="connsiteX4" fmla="*/ 0 w 337200"/>
                <a:gd name="connsiteY4" fmla="*/ 468649 h 702338"/>
                <a:gd name="connsiteX5" fmla="*/ 0 w 337200"/>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8">
                  <a:moveTo>
                    <a:pt x="168283" y="116845"/>
                  </a:moveTo>
                  <a:lnTo>
                    <a:pt x="168283" y="351169"/>
                  </a:lnTo>
                  <a:lnTo>
                    <a:pt x="337201" y="468649"/>
                  </a:lnTo>
                  <a:lnTo>
                    <a:pt x="337201"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C6A892B4-E765-440F-902C-C7B744380C77}"/>
                </a:ext>
              </a:extLst>
            </p:cNvPr>
            <p:cNvSpPr/>
            <p:nvPr/>
          </p:nvSpPr>
          <p:spPr>
            <a:xfrm>
              <a:off x="10649369" y="1061762"/>
              <a:ext cx="337200" cy="702338"/>
            </a:xfrm>
            <a:custGeom>
              <a:avLst/>
              <a:gdLst>
                <a:gd name="connsiteX0" fmla="*/ 168283 w 337200"/>
                <a:gd name="connsiteY0" fmla="*/ 116845 h 702338"/>
                <a:gd name="connsiteX1" fmla="*/ 168283 w 337200"/>
                <a:gd name="connsiteY1" fmla="*/ 351169 h 702338"/>
                <a:gd name="connsiteX2" fmla="*/ 337201 w 337200"/>
                <a:gd name="connsiteY2" fmla="*/ 468649 h 702338"/>
                <a:gd name="connsiteX3" fmla="*/ 337201 w 337200"/>
                <a:gd name="connsiteY3" fmla="*/ 702338 h 702338"/>
                <a:gd name="connsiteX4" fmla="*/ 0 w 337200"/>
                <a:gd name="connsiteY4" fmla="*/ 468649 h 702338"/>
                <a:gd name="connsiteX5" fmla="*/ 0 w 337200"/>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8">
                  <a:moveTo>
                    <a:pt x="168283" y="116845"/>
                  </a:moveTo>
                  <a:lnTo>
                    <a:pt x="168283" y="351169"/>
                  </a:lnTo>
                  <a:lnTo>
                    <a:pt x="337201" y="468649"/>
                  </a:lnTo>
                  <a:lnTo>
                    <a:pt x="337201"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F8946D8A-C4D0-4B6B-BC13-9085E87B09A1}"/>
                </a:ext>
              </a:extLst>
            </p:cNvPr>
            <p:cNvSpPr/>
            <p:nvPr/>
          </p:nvSpPr>
          <p:spPr>
            <a:xfrm>
              <a:off x="10989745" y="1298626"/>
              <a:ext cx="336565" cy="465473"/>
            </a:xfrm>
            <a:custGeom>
              <a:avLst/>
              <a:gdLst>
                <a:gd name="connsiteX0" fmla="*/ 336566 w 336565"/>
                <a:gd name="connsiteY0" fmla="*/ 231784 h 465473"/>
                <a:gd name="connsiteX1" fmla="*/ 0 w 336565"/>
                <a:gd name="connsiteY1" fmla="*/ 465474 h 465473"/>
                <a:gd name="connsiteX2" fmla="*/ 0 w 336565"/>
                <a:gd name="connsiteY2" fmla="*/ 231784 h 465473"/>
                <a:gd name="connsiteX3" fmla="*/ 336566 w 336565"/>
                <a:gd name="connsiteY3" fmla="*/ 0 h 465473"/>
              </a:gdLst>
              <a:ahLst/>
              <a:cxnLst>
                <a:cxn ang="0">
                  <a:pos x="connsiteX0" y="connsiteY0"/>
                </a:cxn>
                <a:cxn ang="0">
                  <a:pos x="connsiteX1" y="connsiteY1"/>
                </a:cxn>
                <a:cxn ang="0">
                  <a:pos x="connsiteX2" y="connsiteY2"/>
                </a:cxn>
                <a:cxn ang="0">
                  <a:pos x="connsiteX3" y="connsiteY3"/>
                </a:cxn>
              </a:cxnLst>
              <a:rect l="l" t="t" r="r" b="b"/>
              <a:pathLst>
                <a:path w="336565" h="465473">
                  <a:moveTo>
                    <a:pt x="336566" y="231784"/>
                  </a:moveTo>
                  <a:lnTo>
                    <a:pt x="0" y="465474"/>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411E3C16-5FC0-45F0-A5EE-F8279D9465BB}"/>
                </a:ext>
              </a:extLst>
            </p:cNvPr>
            <p:cNvSpPr/>
            <p:nvPr/>
          </p:nvSpPr>
          <p:spPr>
            <a:xfrm>
              <a:off x="10989745"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23FB0399-8E5D-4D7E-A112-B96C75021B37}"/>
                </a:ext>
              </a:extLst>
            </p:cNvPr>
            <p:cNvSpPr/>
            <p:nvPr/>
          </p:nvSpPr>
          <p:spPr>
            <a:xfrm>
              <a:off x="6225117" y="1297991"/>
              <a:ext cx="164472" cy="227974"/>
            </a:xfrm>
            <a:custGeom>
              <a:avLst/>
              <a:gdLst>
                <a:gd name="connsiteX0" fmla="*/ 164473 w 164472"/>
                <a:gd name="connsiteY0" fmla="*/ 114940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1ECE2692-953B-4AC1-967A-07C2B9325CE9}"/>
                </a:ext>
              </a:extLst>
            </p:cNvPr>
            <p:cNvSpPr/>
            <p:nvPr/>
          </p:nvSpPr>
          <p:spPr>
            <a:xfrm>
              <a:off x="6226387" y="1533586"/>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8471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8471"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5EF41F3E-1ED1-4531-A78F-92ECADC62005}"/>
                </a:ext>
              </a:extLst>
            </p:cNvPr>
            <p:cNvSpPr/>
            <p:nvPr/>
          </p:nvSpPr>
          <p:spPr>
            <a:xfrm>
              <a:off x="6905869" y="1297991"/>
              <a:ext cx="164472" cy="227974"/>
            </a:xfrm>
            <a:custGeom>
              <a:avLst/>
              <a:gdLst>
                <a:gd name="connsiteX0" fmla="*/ 164473 w 164472"/>
                <a:gd name="connsiteY0" fmla="*/ 114940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243E3060-ACF3-4671-8363-605AE0C6E82B}"/>
                </a:ext>
              </a:extLst>
            </p:cNvPr>
            <p:cNvSpPr/>
            <p:nvPr/>
          </p:nvSpPr>
          <p:spPr>
            <a:xfrm>
              <a:off x="6907139" y="1533586"/>
              <a:ext cx="674401" cy="351168"/>
            </a:xfrm>
            <a:custGeom>
              <a:avLst/>
              <a:gdLst>
                <a:gd name="connsiteX0" fmla="*/ 337201 w 674401"/>
                <a:gd name="connsiteY0" fmla="*/ 0 h 351168"/>
                <a:gd name="connsiteX1" fmla="*/ 674401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1"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0AC77EAC-09BC-4C0A-9631-F8E8A7601F2C}"/>
                </a:ext>
              </a:extLst>
            </p:cNvPr>
            <p:cNvSpPr/>
            <p:nvPr/>
          </p:nvSpPr>
          <p:spPr>
            <a:xfrm>
              <a:off x="7586621" y="1297991"/>
              <a:ext cx="163837" cy="227974"/>
            </a:xfrm>
            <a:custGeom>
              <a:avLst/>
              <a:gdLst>
                <a:gd name="connsiteX0" fmla="*/ 0 w 163837"/>
                <a:gd name="connsiteY0" fmla="*/ 0 h 227974"/>
                <a:gd name="connsiteX1" fmla="*/ 163838 w 163837"/>
                <a:gd name="connsiteY1" fmla="*/ 114940 h 227974"/>
                <a:gd name="connsiteX2" fmla="*/ 0 w 163837"/>
                <a:gd name="connsiteY2" fmla="*/ 227974 h 227974"/>
              </a:gdLst>
              <a:ahLst/>
              <a:cxnLst>
                <a:cxn ang="0">
                  <a:pos x="connsiteX0" y="connsiteY0"/>
                </a:cxn>
                <a:cxn ang="0">
                  <a:pos x="connsiteX1" y="connsiteY1"/>
                </a:cxn>
                <a:cxn ang="0">
                  <a:pos x="connsiteX2" y="connsiteY2"/>
                </a:cxn>
              </a:cxnLst>
              <a:rect l="l" t="t" r="r" b="b"/>
              <a:pathLst>
                <a:path w="163837" h="227974">
                  <a:moveTo>
                    <a:pt x="0" y="0"/>
                  </a:moveTo>
                  <a:lnTo>
                    <a:pt x="163838"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0A9BF34A-5F29-4331-A5A9-368590661D06}"/>
                </a:ext>
              </a:extLst>
            </p:cNvPr>
            <p:cNvSpPr/>
            <p:nvPr/>
          </p:nvSpPr>
          <p:spPr>
            <a:xfrm>
              <a:off x="7587891" y="1533586"/>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E51A0FD3-1C0A-46B4-B0DC-683E6C961442}"/>
                </a:ext>
              </a:extLst>
            </p:cNvPr>
            <p:cNvSpPr/>
            <p:nvPr/>
          </p:nvSpPr>
          <p:spPr>
            <a:xfrm>
              <a:off x="8267372" y="1297991"/>
              <a:ext cx="163837" cy="227974"/>
            </a:xfrm>
            <a:custGeom>
              <a:avLst/>
              <a:gdLst>
                <a:gd name="connsiteX0" fmla="*/ 0 w 163837"/>
                <a:gd name="connsiteY0" fmla="*/ 0 h 227974"/>
                <a:gd name="connsiteX1" fmla="*/ 163838 w 163837"/>
                <a:gd name="connsiteY1" fmla="*/ 114940 h 227974"/>
                <a:gd name="connsiteX2" fmla="*/ 0 w 163837"/>
                <a:gd name="connsiteY2" fmla="*/ 227974 h 227974"/>
              </a:gdLst>
              <a:ahLst/>
              <a:cxnLst>
                <a:cxn ang="0">
                  <a:pos x="connsiteX0" y="connsiteY0"/>
                </a:cxn>
                <a:cxn ang="0">
                  <a:pos x="connsiteX1" y="connsiteY1"/>
                </a:cxn>
                <a:cxn ang="0">
                  <a:pos x="connsiteX2" y="connsiteY2"/>
                </a:cxn>
              </a:cxnLst>
              <a:rect l="l" t="t" r="r" b="b"/>
              <a:pathLst>
                <a:path w="163837" h="227974">
                  <a:moveTo>
                    <a:pt x="0" y="0"/>
                  </a:moveTo>
                  <a:lnTo>
                    <a:pt x="163838"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89A00A66-1ED0-4EE0-9A96-086FA9F03DEB}"/>
                </a:ext>
              </a:extLst>
            </p:cNvPr>
            <p:cNvSpPr/>
            <p:nvPr/>
          </p:nvSpPr>
          <p:spPr>
            <a:xfrm>
              <a:off x="8268643" y="1533586"/>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432786C6-288E-4BEB-959D-0E1427BC8444}"/>
                </a:ext>
              </a:extLst>
            </p:cNvPr>
            <p:cNvSpPr/>
            <p:nvPr/>
          </p:nvSpPr>
          <p:spPr>
            <a:xfrm>
              <a:off x="8948124" y="1297991"/>
              <a:ext cx="163837" cy="227974"/>
            </a:xfrm>
            <a:custGeom>
              <a:avLst/>
              <a:gdLst>
                <a:gd name="connsiteX0" fmla="*/ 163838 w 163837"/>
                <a:gd name="connsiteY0" fmla="*/ 114940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D956F3A2-7473-4D7A-81E6-1A7935A3CBCD}"/>
                </a:ext>
              </a:extLst>
            </p:cNvPr>
            <p:cNvSpPr/>
            <p:nvPr/>
          </p:nvSpPr>
          <p:spPr>
            <a:xfrm>
              <a:off x="8949395" y="1533586"/>
              <a:ext cx="673766" cy="351168"/>
            </a:xfrm>
            <a:custGeom>
              <a:avLst/>
              <a:gdLst>
                <a:gd name="connsiteX0" fmla="*/ 337201 w 673766"/>
                <a:gd name="connsiteY0" fmla="*/ 0 h 351168"/>
                <a:gd name="connsiteX1" fmla="*/ 673766 w 673766"/>
                <a:gd name="connsiteY1" fmla="*/ 234324 h 351168"/>
                <a:gd name="connsiteX2" fmla="*/ 506119 w 673766"/>
                <a:gd name="connsiteY2" fmla="*/ 350534 h 351168"/>
                <a:gd name="connsiteX3" fmla="*/ 337836 w 673766"/>
                <a:gd name="connsiteY3" fmla="*/ 234324 h 351168"/>
                <a:gd name="connsiteX4" fmla="*/ 337201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6" y="234324"/>
                  </a:lnTo>
                  <a:lnTo>
                    <a:pt x="506119"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5AD55FF9-7A83-49C4-8987-6B407213FD82}"/>
                </a:ext>
              </a:extLst>
            </p:cNvPr>
            <p:cNvSpPr/>
            <p:nvPr/>
          </p:nvSpPr>
          <p:spPr>
            <a:xfrm>
              <a:off x="9628876" y="1297991"/>
              <a:ext cx="163837" cy="227974"/>
            </a:xfrm>
            <a:custGeom>
              <a:avLst/>
              <a:gdLst>
                <a:gd name="connsiteX0" fmla="*/ 163838 w 163837"/>
                <a:gd name="connsiteY0" fmla="*/ 114940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98" name="Freeform: Shape 97">
              <a:extLst>
                <a:ext uri="{FF2B5EF4-FFF2-40B4-BE49-F238E27FC236}">
                  <a16:creationId xmlns:a16="http://schemas.microsoft.com/office/drawing/2014/main" id="{CB1CA6EF-C90C-4F5E-83D6-5836FC356AC1}"/>
                </a:ext>
              </a:extLst>
            </p:cNvPr>
            <p:cNvSpPr/>
            <p:nvPr/>
          </p:nvSpPr>
          <p:spPr>
            <a:xfrm>
              <a:off x="9630146" y="1533586"/>
              <a:ext cx="673766" cy="351168"/>
            </a:xfrm>
            <a:custGeom>
              <a:avLst/>
              <a:gdLst>
                <a:gd name="connsiteX0" fmla="*/ 337201 w 673766"/>
                <a:gd name="connsiteY0" fmla="*/ 0 h 351168"/>
                <a:gd name="connsiteX1" fmla="*/ 673766 w 673766"/>
                <a:gd name="connsiteY1" fmla="*/ 234324 h 351168"/>
                <a:gd name="connsiteX2" fmla="*/ 506118 w 673766"/>
                <a:gd name="connsiteY2" fmla="*/ 350534 h 351168"/>
                <a:gd name="connsiteX3" fmla="*/ 337836 w 673766"/>
                <a:gd name="connsiteY3" fmla="*/ 234324 h 351168"/>
                <a:gd name="connsiteX4" fmla="*/ 337201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6" y="234324"/>
                  </a:lnTo>
                  <a:lnTo>
                    <a:pt x="506118"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99" name="Freeform: Shape 98">
              <a:extLst>
                <a:ext uri="{FF2B5EF4-FFF2-40B4-BE49-F238E27FC236}">
                  <a16:creationId xmlns:a16="http://schemas.microsoft.com/office/drawing/2014/main" id="{67569F49-3B0E-4616-8E49-14DDF3711780}"/>
                </a:ext>
              </a:extLst>
            </p:cNvPr>
            <p:cNvSpPr/>
            <p:nvPr/>
          </p:nvSpPr>
          <p:spPr>
            <a:xfrm>
              <a:off x="10308993" y="1297991"/>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100" name="Freeform: Shape 99">
              <a:extLst>
                <a:ext uri="{FF2B5EF4-FFF2-40B4-BE49-F238E27FC236}">
                  <a16:creationId xmlns:a16="http://schemas.microsoft.com/office/drawing/2014/main" id="{ED7F85D0-1DC8-4D42-9601-1DF3EF1B1459}"/>
                </a:ext>
              </a:extLst>
            </p:cNvPr>
            <p:cNvSpPr/>
            <p:nvPr/>
          </p:nvSpPr>
          <p:spPr>
            <a:xfrm>
              <a:off x="10310898" y="1533586"/>
              <a:ext cx="673766" cy="351168"/>
            </a:xfrm>
            <a:custGeom>
              <a:avLst/>
              <a:gdLst>
                <a:gd name="connsiteX0" fmla="*/ 336566 w 673766"/>
                <a:gd name="connsiteY0" fmla="*/ 0 h 351168"/>
                <a:gd name="connsiteX1" fmla="*/ 673766 w 673766"/>
                <a:gd name="connsiteY1" fmla="*/ 234324 h 351168"/>
                <a:gd name="connsiteX2" fmla="*/ 506119 w 673766"/>
                <a:gd name="connsiteY2" fmla="*/ 350534 h 351168"/>
                <a:gd name="connsiteX3" fmla="*/ 337836 w 673766"/>
                <a:gd name="connsiteY3" fmla="*/ 234324 h 351168"/>
                <a:gd name="connsiteX4" fmla="*/ 336566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6566" y="0"/>
                  </a:moveTo>
                  <a:lnTo>
                    <a:pt x="673766" y="234324"/>
                  </a:lnTo>
                  <a:lnTo>
                    <a:pt x="506119" y="350534"/>
                  </a:lnTo>
                  <a:lnTo>
                    <a:pt x="337836" y="234324"/>
                  </a:lnTo>
                  <a:lnTo>
                    <a:pt x="336566"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01" name="Freeform: Shape 100">
              <a:extLst>
                <a:ext uri="{FF2B5EF4-FFF2-40B4-BE49-F238E27FC236}">
                  <a16:creationId xmlns:a16="http://schemas.microsoft.com/office/drawing/2014/main" id="{C4B2E9D1-3071-4E57-9223-9A98C4F952D9}"/>
                </a:ext>
              </a:extLst>
            </p:cNvPr>
            <p:cNvSpPr/>
            <p:nvPr/>
          </p:nvSpPr>
          <p:spPr>
            <a:xfrm>
              <a:off x="10989745" y="1297991"/>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102" name="Freeform: Shape 101">
              <a:extLst>
                <a:ext uri="{FF2B5EF4-FFF2-40B4-BE49-F238E27FC236}">
                  <a16:creationId xmlns:a16="http://schemas.microsoft.com/office/drawing/2014/main" id="{7F693C5B-0DF6-4E60-AABF-9C128C0A0F37}"/>
                </a:ext>
              </a:extLst>
            </p:cNvPr>
            <p:cNvSpPr/>
            <p:nvPr/>
          </p:nvSpPr>
          <p:spPr>
            <a:xfrm>
              <a:off x="10649369" y="2007950"/>
              <a:ext cx="337200" cy="466108"/>
            </a:xfrm>
            <a:custGeom>
              <a:avLst/>
              <a:gdLst>
                <a:gd name="connsiteX0" fmla="*/ 337201 w 337200"/>
                <a:gd name="connsiteY0" fmla="*/ 231784 h 466108"/>
                <a:gd name="connsiteX1" fmla="*/ 0 w 337200"/>
                <a:gd name="connsiteY1" fmla="*/ 466109 h 466108"/>
                <a:gd name="connsiteX2" fmla="*/ 0 w 337200"/>
                <a:gd name="connsiteY2" fmla="*/ 232419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0"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a:p>
          </p:txBody>
        </p:sp>
        <p:sp>
          <p:nvSpPr>
            <p:cNvPr id="103" name="Freeform: Shape 102">
              <a:extLst>
                <a:ext uri="{FF2B5EF4-FFF2-40B4-BE49-F238E27FC236}">
                  <a16:creationId xmlns:a16="http://schemas.microsoft.com/office/drawing/2014/main" id="{25E6A8BA-2AE0-449D-B1E5-F4620FA8F7E8}"/>
                </a:ext>
              </a:extLst>
            </p:cNvPr>
            <p:cNvSpPr/>
            <p:nvPr/>
          </p:nvSpPr>
          <p:spPr>
            <a:xfrm>
              <a:off x="10649369" y="2481044"/>
              <a:ext cx="337200" cy="702337"/>
            </a:xfrm>
            <a:custGeom>
              <a:avLst/>
              <a:gdLst>
                <a:gd name="connsiteX0" fmla="*/ 337201 w 337200"/>
                <a:gd name="connsiteY0" fmla="*/ 468649 h 702337"/>
                <a:gd name="connsiteX1" fmla="*/ 337201 w 337200"/>
                <a:gd name="connsiteY1" fmla="*/ 702338 h 702337"/>
                <a:gd name="connsiteX2" fmla="*/ 0 w 337200"/>
                <a:gd name="connsiteY2" fmla="*/ 468649 h 702337"/>
                <a:gd name="connsiteX3" fmla="*/ 0 w 337200"/>
                <a:gd name="connsiteY3" fmla="*/ 0 h 702337"/>
                <a:gd name="connsiteX4" fmla="*/ 168283 w 337200"/>
                <a:gd name="connsiteY4" fmla="*/ 116845 h 702337"/>
                <a:gd name="connsiteX5" fmla="*/ 168283 w 337200"/>
                <a:gd name="connsiteY5" fmla="*/ 351169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7">
                  <a:moveTo>
                    <a:pt x="337201" y="468649"/>
                  </a:moveTo>
                  <a:lnTo>
                    <a:pt x="337201" y="702338"/>
                  </a:lnTo>
                  <a:lnTo>
                    <a:pt x="0" y="468649"/>
                  </a:lnTo>
                  <a:lnTo>
                    <a:pt x="0" y="0"/>
                  </a:lnTo>
                  <a:lnTo>
                    <a:pt x="168283" y="116845"/>
                  </a:lnTo>
                  <a:lnTo>
                    <a:pt x="168283"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C1ADDF2A-388B-4186-AD3F-0586B748E92C}"/>
                </a:ext>
              </a:extLst>
            </p:cNvPr>
            <p:cNvSpPr/>
            <p:nvPr/>
          </p:nvSpPr>
          <p:spPr>
            <a:xfrm>
              <a:off x="10989745" y="2717273"/>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105" name="Freeform: Shape 104">
              <a:extLst>
                <a:ext uri="{FF2B5EF4-FFF2-40B4-BE49-F238E27FC236}">
                  <a16:creationId xmlns:a16="http://schemas.microsoft.com/office/drawing/2014/main" id="{443CACCB-39E2-4EA8-AC99-9401646FDCB0}"/>
                </a:ext>
              </a:extLst>
            </p:cNvPr>
            <p:cNvSpPr/>
            <p:nvPr/>
          </p:nvSpPr>
          <p:spPr>
            <a:xfrm>
              <a:off x="10649369" y="3427232"/>
              <a:ext cx="337200" cy="466108"/>
            </a:xfrm>
            <a:custGeom>
              <a:avLst/>
              <a:gdLst>
                <a:gd name="connsiteX0" fmla="*/ 337201 w 337200"/>
                <a:gd name="connsiteY0" fmla="*/ 231784 h 466108"/>
                <a:gd name="connsiteX1" fmla="*/ 0 w 337200"/>
                <a:gd name="connsiteY1" fmla="*/ 466108 h 466108"/>
                <a:gd name="connsiteX2" fmla="*/ 0 w 337200"/>
                <a:gd name="connsiteY2" fmla="*/ 231784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0" y="466108"/>
                  </a:lnTo>
                  <a:lnTo>
                    <a:pt x="0" y="231784"/>
                  </a:lnTo>
                  <a:lnTo>
                    <a:pt x="337201" y="0"/>
                  </a:lnTo>
                  <a:close/>
                </a:path>
              </a:pathLst>
            </a:custGeom>
            <a:noFill/>
            <a:ln w="3175" cap="flat">
              <a:solidFill>
                <a:schemeClr val="bg1">
                  <a:alpha val="30000"/>
                </a:schemeClr>
              </a:solidFill>
              <a:prstDash val="solid"/>
              <a:miter/>
            </a:ln>
          </p:spPr>
          <p:txBody>
            <a:bodyPr rtlCol="0" anchor="ctr"/>
            <a:lstStyle/>
            <a:p>
              <a:endParaRPr lang="en-GB"/>
            </a:p>
          </p:txBody>
        </p:sp>
        <p:sp>
          <p:nvSpPr>
            <p:cNvPr id="106" name="Freeform: Shape 105">
              <a:extLst>
                <a:ext uri="{FF2B5EF4-FFF2-40B4-BE49-F238E27FC236}">
                  <a16:creationId xmlns:a16="http://schemas.microsoft.com/office/drawing/2014/main" id="{26C8C4B9-7425-4479-B651-308F9DD66200}"/>
                </a:ext>
              </a:extLst>
            </p:cNvPr>
            <p:cNvSpPr/>
            <p:nvPr/>
          </p:nvSpPr>
          <p:spPr>
            <a:xfrm>
              <a:off x="6225117"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07" name="Freeform: Shape 106">
              <a:extLst>
                <a:ext uri="{FF2B5EF4-FFF2-40B4-BE49-F238E27FC236}">
                  <a16:creationId xmlns:a16="http://schemas.microsoft.com/office/drawing/2014/main" id="{9B744EA5-A0DD-48CB-BD03-E3283B6C1FAB}"/>
                </a:ext>
              </a:extLst>
            </p:cNvPr>
            <p:cNvSpPr/>
            <p:nvPr/>
          </p:nvSpPr>
          <p:spPr>
            <a:xfrm>
              <a:off x="6905869"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08" name="Freeform: Shape 107">
              <a:extLst>
                <a:ext uri="{FF2B5EF4-FFF2-40B4-BE49-F238E27FC236}">
                  <a16:creationId xmlns:a16="http://schemas.microsoft.com/office/drawing/2014/main" id="{EC0FB516-189B-4E42-9CDF-C87020608F8C}"/>
                </a:ext>
              </a:extLst>
            </p:cNvPr>
            <p:cNvSpPr/>
            <p:nvPr/>
          </p:nvSpPr>
          <p:spPr>
            <a:xfrm>
              <a:off x="7586621"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09" name="Freeform: Shape 108">
              <a:extLst>
                <a:ext uri="{FF2B5EF4-FFF2-40B4-BE49-F238E27FC236}">
                  <a16:creationId xmlns:a16="http://schemas.microsoft.com/office/drawing/2014/main" id="{3CAD79AE-A908-419C-B3E9-6F3003319534}"/>
                </a:ext>
              </a:extLst>
            </p:cNvPr>
            <p:cNvSpPr/>
            <p:nvPr/>
          </p:nvSpPr>
          <p:spPr>
            <a:xfrm>
              <a:off x="8267372"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10" name="Freeform: Shape 109">
              <a:extLst>
                <a:ext uri="{FF2B5EF4-FFF2-40B4-BE49-F238E27FC236}">
                  <a16:creationId xmlns:a16="http://schemas.microsoft.com/office/drawing/2014/main" id="{F7334151-2D90-4AD6-93A6-5C9B540CE6A9}"/>
                </a:ext>
              </a:extLst>
            </p:cNvPr>
            <p:cNvSpPr/>
            <p:nvPr/>
          </p:nvSpPr>
          <p:spPr>
            <a:xfrm>
              <a:off x="8948124"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9CD0CF71-D7D8-4F66-B05F-5534BA861FE8}"/>
                </a:ext>
              </a:extLst>
            </p:cNvPr>
            <p:cNvSpPr/>
            <p:nvPr/>
          </p:nvSpPr>
          <p:spPr>
            <a:xfrm>
              <a:off x="9628876" y="1771085"/>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9284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9284"/>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01CDDE50-8826-418D-BE3C-CE7FC5CF963E}"/>
                </a:ext>
              </a:extLst>
            </p:cNvPr>
            <p:cNvSpPr/>
            <p:nvPr/>
          </p:nvSpPr>
          <p:spPr>
            <a:xfrm>
              <a:off x="10308993" y="1771720"/>
              <a:ext cx="337201" cy="702338"/>
            </a:xfrm>
            <a:custGeom>
              <a:avLst/>
              <a:gdLst>
                <a:gd name="connsiteX0" fmla="*/ 168283 w 337201"/>
                <a:gd name="connsiteY0" fmla="*/ 116210 h 702338"/>
                <a:gd name="connsiteX1" fmla="*/ 168283 w 337201"/>
                <a:gd name="connsiteY1" fmla="*/ 351169 h 702338"/>
                <a:gd name="connsiteX2" fmla="*/ 337201 w 337201"/>
                <a:gd name="connsiteY2" fmla="*/ 468649 h 702338"/>
                <a:gd name="connsiteX3" fmla="*/ 337201 w 337201"/>
                <a:gd name="connsiteY3" fmla="*/ 702338 h 702338"/>
                <a:gd name="connsiteX4" fmla="*/ 0 w 337201"/>
                <a:gd name="connsiteY4" fmla="*/ 468014 h 702338"/>
                <a:gd name="connsiteX5" fmla="*/ 0 w 337201"/>
                <a:gd name="connsiteY5" fmla="*/ 0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1" h="702338">
                  <a:moveTo>
                    <a:pt x="168283" y="116210"/>
                  </a:moveTo>
                  <a:lnTo>
                    <a:pt x="168283" y="351169"/>
                  </a:lnTo>
                  <a:lnTo>
                    <a:pt x="337201" y="468649"/>
                  </a:lnTo>
                  <a:lnTo>
                    <a:pt x="337201" y="702338"/>
                  </a:lnTo>
                  <a:lnTo>
                    <a:pt x="0" y="46801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CFC56595-95A9-4044-BEB7-338F22D1B63E}"/>
                </a:ext>
              </a:extLst>
            </p:cNvPr>
            <p:cNvSpPr/>
            <p:nvPr/>
          </p:nvSpPr>
          <p:spPr>
            <a:xfrm>
              <a:off x="5884741" y="2007950"/>
              <a:ext cx="164472" cy="227974"/>
            </a:xfrm>
            <a:custGeom>
              <a:avLst/>
              <a:gdLst>
                <a:gd name="connsiteX0" fmla="*/ 164473 w 164472"/>
                <a:gd name="connsiteY0" fmla="*/ 114305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C330D5F3-E30E-4C16-A64E-11AF52E979BD}"/>
                </a:ext>
              </a:extLst>
            </p:cNvPr>
            <p:cNvSpPr/>
            <p:nvPr/>
          </p:nvSpPr>
          <p:spPr>
            <a:xfrm>
              <a:off x="5886011" y="2242909"/>
              <a:ext cx="674401" cy="351804"/>
            </a:xfrm>
            <a:custGeom>
              <a:avLst/>
              <a:gdLst>
                <a:gd name="connsiteX0" fmla="*/ 337201 w 674401"/>
                <a:gd name="connsiteY0" fmla="*/ 0 h 351804"/>
                <a:gd name="connsiteX1" fmla="*/ 674402 w 674401"/>
                <a:gd name="connsiteY1" fmla="*/ 234324 h 351804"/>
                <a:gd name="connsiteX2" fmla="*/ 506754 w 674401"/>
                <a:gd name="connsiteY2" fmla="*/ 351169 h 351804"/>
                <a:gd name="connsiteX3" fmla="*/ 338471 w 674401"/>
                <a:gd name="connsiteY3" fmla="*/ 234959 h 351804"/>
                <a:gd name="connsiteX4" fmla="*/ 337201 w 674401"/>
                <a:gd name="connsiteY4" fmla="*/ 234324 h 351804"/>
                <a:gd name="connsiteX5" fmla="*/ 168283 w 674401"/>
                <a:gd name="connsiteY5" fmla="*/ 351804 h 351804"/>
                <a:gd name="connsiteX6" fmla="*/ 0 w 674401"/>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7201" y="0"/>
                  </a:moveTo>
                  <a:lnTo>
                    <a:pt x="674402" y="234324"/>
                  </a:lnTo>
                  <a:lnTo>
                    <a:pt x="506754" y="351169"/>
                  </a:lnTo>
                  <a:lnTo>
                    <a:pt x="338471"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15" name="Freeform: Shape 114">
              <a:extLst>
                <a:ext uri="{FF2B5EF4-FFF2-40B4-BE49-F238E27FC236}">
                  <a16:creationId xmlns:a16="http://schemas.microsoft.com/office/drawing/2014/main" id="{782BD340-55C8-47D4-92B8-8B2B97FC65F7}"/>
                </a:ext>
              </a:extLst>
            </p:cNvPr>
            <p:cNvSpPr/>
            <p:nvPr/>
          </p:nvSpPr>
          <p:spPr>
            <a:xfrm>
              <a:off x="6565493" y="2007950"/>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116" name="Freeform: Shape 115">
              <a:extLst>
                <a:ext uri="{FF2B5EF4-FFF2-40B4-BE49-F238E27FC236}">
                  <a16:creationId xmlns:a16="http://schemas.microsoft.com/office/drawing/2014/main" id="{305DA62D-3E8B-4444-9940-A06926FDB9CF}"/>
                </a:ext>
              </a:extLst>
            </p:cNvPr>
            <p:cNvSpPr/>
            <p:nvPr/>
          </p:nvSpPr>
          <p:spPr>
            <a:xfrm>
              <a:off x="6566763" y="2242909"/>
              <a:ext cx="674401" cy="351804"/>
            </a:xfrm>
            <a:custGeom>
              <a:avLst/>
              <a:gdLst>
                <a:gd name="connsiteX0" fmla="*/ 337201 w 674401"/>
                <a:gd name="connsiteY0" fmla="*/ 0 h 351804"/>
                <a:gd name="connsiteX1" fmla="*/ 674402 w 674401"/>
                <a:gd name="connsiteY1" fmla="*/ 234324 h 351804"/>
                <a:gd name="connsiteX2" fmla="*/ 506754 w 674401"/>
                <a:gd name="connsiteY2" fmla="*/ 351169 h 351804"/>
                <a:gd name="connsiteX3" fmla="*/ 338471 w 674401"/>
                <a:gd name="connsiteY3" fmla="*/ 234959 h 351804"/>
                <a:gd name="connsiteX4" fmla="*/ 337201 w 674401"/>
                <a:gd name="connsiteY4" fmla="*/ 234324 h 351804"/>
                <a:gd name="connsiteX5" fmla="*/ 168283 w 674401"/>
                <a:gd name="connsiteY5" fmla="*/ 351804 h 351804"/>
                <a:gd name="connsiteX6" fmla="*/ 0 w 674401"/>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7201" y="0"/>
                  </a:moveTo>
                  <a:lnTo>
                    <a:pt x="674402" y="234324"/>
                  </a:lnTo>
                  <a:lnTo>
                    <a:pt x="506754" y="351169"/>
                  </a:lnTo>
                  <a:lnTo>
                    <a:pt x="338471"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17" name="Freeform: Shape 116">
              <a:extLst>
                <a:ext uri="{FF2B5EF4-FFF2-40B4-BE49-F238E27FC236}">
                  <a16:creationId xmlns:a16="http://schemas.microsoft.com/office/drawing/2014/main" id="{4C31DF2A-3F35-4928-AE6F-FD139173A0FB}"/>
                </a:ext>
              </a:extLst>
            </p:cNvPr>
            <p:cNvSpPr/>
            <p:nvPr/>
          </p:nvSpPr>
          <p:spPr>
            <a:xfrm>
              <a:off x="7246245" y="2007950"/>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118" name="Freeform: Shape 117">
              <a:extLst>
                <a:ext uri="{FF2B5EF4-FFF2-40B4-BE49-F238E27FC236}">
                  <a16:creationId xmlns:a16="http://schemas.microsoft.com/office/drawing/2014/main" id="{033AB131-8015-4D37-8013-5F2C1AF3203E}"/>
                </a:ext>
              </a:extLst>
            </p:cNvPr>
            <p:cNvSpPr/>
            <p:nvPr/>
          </p:nvSpPr>
          <p:spPr>
            <a:xfrm>
              <a:off x="7247515" y="2242909"/>
              <a:ext cx="674401" cy="351804"/>
            </a:xfrm>
            <a:custGeom>
              <a:avLst/>
              <a:gdLst>
                <a:gd name="connsiteX0" fmla="*/ 337201 w 674401"/>
                <a:gd name="connsiteY0" fmla="*/ 0 h 351804"/>
                <a:gd name="connsiteX1" fmla="*/ 674402 w 674401"/>
                <a:gd name="connsiteY1" fmla="*/ 234324 h 351804"/>
                <a:gd name="connsiteX2" fmla="*/ 506754 w 674401"/>
                <a:gd name="connsiteY2" fmla="*/ 351169 h 351804"/>
                <a:gd name="connsiteX3" fmla="*/ 337836 w 674401"/>
                <a:gd name="connsiteY3" fmla="*/ 234959 h 351804"/>
                <a:gd name="connsiteX4" fmla="*/ 337201 w 674401"/>
                <a:gd name="connsiteY4" fmla="*/ 234324 h 351804"/>
                <a:gd name="connsiteX5" fmla="*/ 168283 w 674401"/>
                <a:gd name="connsiteY5" fmla="*/ 351804 h 351804"/>
                <a:gd name="connsiteX6" fmla="*/ 0 w 674401"/>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7201" y="0"/>
                  </a:moveTo>
                  <a:lnTo>
                    <a:pt x="674402" y="234324"/>
                  </a:lnTo>
                  <a:lnTo>
                    <a:pt x="506754" y="351169"/>
                  </a:lnTo>
                  <a:lnTo>
                    <a:pt x="337836"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19" name="Freeform: Shape 118">
              <a:extLst>
                <a:ext uri="{FF2B5EF4-FFF2-40B4-BE49-F238E27FC236}">
                  <a16:creationId xmlns:a16="http://schemas.microsoft.com/office/drawing/2014/main" id="{299B9582-93C4-45E7-A59E-31617D1D3020}"/>
                </a:ext>
              </a:extLst>
            </p:cNvPr>
            <p:cNvSpPr/>
            <p:nvPr/>
          </p:nvSpPr>
          <p:spPr>
            <a:xfrm>
              <a:off x="7926997" y="2007950"/>
              <a:ext cx="163837" cy="227974"/>
            </a:xfrm>
            <a:custGeom>
              <a:avLst/>
              <a:gdLst>
                <a:gd name="connsiteX0" fmla="*/ 163838 w 163837"/>
                <a:gd name="connsiteY0" fmla="*/ 114305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20" name="Freeform: Shape 119">
              <a:extLst>
                <a:ext uri="{FF2B5EF4-FFF2-40B4-BE49-F238E27FC236}">
                  <a16:creationId xmlns:a16="http://schemas.microsoft.com/office/drawing/2014/main" id="{DD141CE6-D000-4C34-AAED-AC6ADC543E23}"/>
                </a:ext>
              </a:extLst>
            </p:cNvPr>
            <p:cNvSpPr/>
            <p:nvPr/>
          </p:nvSpPr>
          <p:spPr>
            <a:xfrm>
              <a:off x="7928267" y="2242909"/>
              <a:ext cx="674401" cy="351804"/>
            </a:xfrm>
            <a:custGeom>
              <a:avLst/>
              <a:gdLst>
                <a:gd name="connsiteX0" fmla="*/ 337201 w 674401"/>
                <a:gd name="connsiteY0" fmla="*/ 0 h 351804"/>
                <a:gd name="connsiteX1" fmla="*/ 674401 w 674401"/>
                <a:gd name="connsiteY1" fmla="*/ 234324 h 351804"/>
                <a:gd name="connsiteX2" fmla="*/ 506754 w 674401"/>
                <a:gd name="connsiteY2" fmla="*/ 351169 h 351804"/>
                <a:gd name="connsiteX3" fmla="*/ 337836 w 674401"/>
                <a:gd name="connsiteY3" fmla="*/ 234959 h 351804"/>
                <a:gd name="connsiteX4" fmla="*/ 337201 w 674401"/>
                <a:gd name="connsiteY4" fmla="*/ 234324 h 351804"/>
                <a:gd name="connsiteX5" fmla="*/ 168283 w 674401"/>
                <a:gd name="connsiteY5" fmla="*/ 351804 h 351804"/>
                <a:gd name="connsiteX6" fmla="*/ 0 w 674401"/>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7201" y="0"/>
                  </a:moveTo>
                  <a:lnTo>
                    <a:pt x="674401" y="234324"/>
                  </a:lnTo>
                  <a:lnTo>
                    <a:pt x="506754" y="351169"/>
                  </a:lnTo>
                  <a:lnTo>
                    <a:pt x="337836"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21" name="Freeform: Shape 120">
              <a:extLst>
                <a:ext uri="{FF2B5EF4-FFF2-40B4-BE49-F238E27FC236}">
                  <a16:creationId xmlns:a16="http://schemas.microsoft.com/office/drawing/2014/main" id="{13B89D51-61C9-47E3-9D41-42A55AC37292}"/>
                </a:ext>
              </a:extLst>
            </p:cNvPr>
            <p:cNvSpPr/>
            <p:nvPr/>
          </p:nvSpPr>
          <p:spPr>
            <a:xfrm>
              <a:off x="8607749" y="2007950"/>
              <a:ext cx="163837" cy="227974"/>
            </a:xfrm>
            <a:custGeom>
              <a:avLst/>
              <a:gdLst>
                <a:gd name="connsiteX0" fmla="*/ 163838 w 163837"/>
                <a:gd name="connsiteY0" fmla="*/ 114305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305"/>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22" name="Freeform: Shape 121">
              <a:extLst>
                <a:ext uri="{FF2B5EF4-FFF2-40B4-BE49-F238E27FC236}">
                  <a16:creationId xmlns:a16="http://schemas.microsoft.com/office/drawing/2014/main" id="{325920DF-F3A8-4F16-905C-3122D1E2B44D}"/>
                </a:ext>
              </a:extLst>
            </p:cNvPr>
            <p:cNvSpPr/>
            <p:nvPr/>
          </p:nvSpPr>
          <p:spPr>
            <a:xfrm>
              <a:off x="8609018" y="2242909"/>
              <a:ext cx="673766" cy="351804"/>
            </a:xfrm>
            <a:custGeom>
              <a:avLst/>
              <a:gdLst>
                <a:gd name="connsiteX0" fmla="*/ 337201 w 673766"/>
                <a:gd name="connsiteY0" fmla="*/ 0 h 351804"/>
                <a:gd name="connsiteX1" fmla="*/ 673767 w 673766"/>
                <a:gd name="connsiteY1" fmla="*/ 234324 h 351804"/>
                <a:gd name="connsiteX2" fmla="*/ 506119 w 673766"/>
                <a:gd name="connsiteY2" fmla="*/ 351169 h 351804"/>
                <a:gd name="connsiteX3" fmla="*/ 337836 w 673766"/>
                <a:gd name="connsiteY3" fmla="*/ 234959 h 351804"/>
                <a:gd name="connsiteX4" fmla="*/ 337201 w 673766"/>
                <a:gd name="connsiteY4" fmla="*/ 234324 h 351804"/>
                <a:gd name="connsiteX5" fmla="*/ 168283 w 673766"/>
                <a:gd name="connsiteY5" fmla="*/ 351804 h 351804"/>
                <a:gd name="connsiteX6" fmla="*/ 0 w 673766"/>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804">
                  <a:moveTo>
                    <a:pt x="337201" y="0"/>
                  </a:moveTo>
                  <a:lnTo>
                    <a:pt x="673767" y="234324"/>
                  </a:lnTo>
                  <a:lnTo>
                    <a:pt x="506119" y="351169"/>
                  </a:lnTo>
                  <a:lnTo>
                    <a:pt x="337836"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23" name="Freeform: Shape 122">
              <a:extLst>
                <a:ext uri="{FF2B5EF4-FFF2-40B4-BE49-F238E27FC236}">
                  <a16:creationId xmlns:a16="http://schemas.microsoft.com/office/drawing/2014/main" id="{1F934023-089F-4239-B5D8-F8BEAD47DB37}"/>
                </a:ext>
              </a:extLst>
            </p:cNvPr>
            <p:cNvSpPr/>
            <p:nvPr/>
          </p:nvSpPr>
          <p:spPr>
            <a:xfrm>
              <a:off x="9288500" y="2007950"/>
              <a:ext cx="163837" cy="227339"/>
            </a:xfrm>
            <a:custGeom>
              <a:avLst/>
              <a:gdLst>
                <a:gd name="connsiteX0" fmla="*/ 0 w 163837"/>
                <a:gd name="connsiteY0" fmla="*/ 0 h 227339"/>
                <a:gd name="connsiteX1" fmla="*/ 163838 w 163837"/>
                <a:gd name="connsiteY1" fmla="*/ 114305 h 227339"/>
                <a:gd name="connsiteX2" fmla="*/ 0 w 163837"/>
                <a:gd name="connsiteY2" fmla="*/ 227339 h 227339"/>
              </a:gdLst>
              <a:ahLst/>
              <a:cxnLst>
                <a:cxn ang="0">
                  <a:pos x="connsiteX0" y="connsiteY0"/>
                </a:cxn>
                <a:cxn ang="0">
                  <a:pos x="connsiteX1" y="connsiteY1"/>
                </a:cxn>
                <a:cxn ang="0">
                  <a:pos x="connsiteX2" y="connsiteY2"/>
                </a:cxn>
              </a:cxnLst>
              <a:rect l="l" t="t" r="r" b="b"/>
              <a:pathLst>
                <a:path w="163837" h="227339">
                  <a:moveTo>
                    <a:pt x="0" y="0"/>
                  </a:moveTo>
                  <a:lnTo>
                    <a:pt x="163838"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124" name="Freeform: Shape 123">
              <a:extLst>
                <a:ext uri="{FF2B5EF4-FFF2-40B4-BE49-F238E27FC236}">
                  <a16:creationId xmlns:a16="http://schemas.microsoft.com/office/drawing/2014/main" id="{D759BE44-28FC-41D3-8C50-F468A5FFB64D}"/>
                </a:ext>
              </a:extLst>
            </p:cNvPr>
            <p:cNvSpPr/>
            <p:nvPr/>
          </p:nvSpPr>
          <p:spPr>
            <a:xfrm>
              <a:off x="9289770" y="2242909"/>
              <a:ext cx="673766" cy="351804"/>
            </a:xfrm>
            <a:custGeom>
              <a:avLst/>
              <a:gdLst>
                <a:gd name="connsiteX0" fmla="*/ 337201 w 673766"/>
                <a:gd name="connsiteY0" fmla="*/ 0 h 351804"/>
                <a:gd name="connsiteX1" fmla="*/ 673767 w 673766"/>
                <a:gd name="connsiteY1" fmla="*/ 234324 h 351804"/>
                <a:gd name="connsiteX2" fmla="*/ 506119 w 673766"/>
                <a:gd name="connsiteY2" fmla="*/ 351169 h 351804"/>
                <a:gd name="connsiteX3" fmla="*/ 337836 w 673766"/>
                <a:gd name="connsiteY3" fmla="*/ 234959 h 351804"/>
                <a:gd name="connsiteX4" fmla="*/ 337201 w 673766"/>
                <a:gd name="connsiteY4" fmla="*/ 234324 h 351804"/>
                <a:gd name="connsiteX5" fmla="*/ 168283 w 673766"/>
                <a:gd name="connsiteY5" fmla="*/ 351804 h 351804"/>
                <a:gd name="connsiteX6" fmla="*/ 0 w 673766"/>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804">
                  <a:moveTo>
                    <a:pt x="337201" y="0"/>
                  </a:moveTo>
                  <a:lnTo>
                    <a:pt x="673767" y="234324"/>
                  </a:lnTo>
                  <a:lnTo>
                    <a:pt x="506119" y="351169"/>
                  </a:lnTo>
                  <a:lnTo>
                    <a:pt x="337836" y="234959"/>
                  </a:lnTo>
                  <a:lnTo>
                    <a:pt x="337201"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25" name="Freeform: Shape 124">
              <a:extLst>
                <a:ext uri="{FF2B5EF4-FFF2-40B4-BE49-F238E27FC236}">
                  <a16:creationId xmlns:a16="http://schemas.microsoft.com/office/drawing/2014/main" id="{8BDA129B-34BF-4C48-A1FB-FE16A8646049}"/>
                </a:ext>
              </a:extLst>
            </p:cNvPr>
            <p:cNvSpPr/>
            <p:nvPr/>
          </p:nvSpPr>
          <p:spPr>
            <a:xfrm>
              <a:off x="9968617" y="2007950"/>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126" name="Freeform: Shape 125">
              <a:extLst>
                <a:ext uri="{FF2B5EF4-FFF2-40B4-BE49-F238E27FC236}">
                  <a16:creationId xmlns:a16="http://schemas.microsoft.com/office/drawing/2014/main" id="{B2510271-CBAA-4CC6-BC87-13A4440156B9}"/>
                </a:ext>
              </a:extLst>
            </p:cNvPr>
            <p:cNvSpPr/>
            <p:nvPr/>
          </p:nvSpPr>
          <p:spPr>
            <a:xfrm>
              <a:off x="9970522" y="2242909"/>
              <a:ext cx="673766" cy="351804"/>
            </a:xfrm>
            <a:custGeom>
              <a:avLst/>
              <a:gdLst>
                <a:gd name="connsiteX0" fmla="*/ 336566 w 673766"/>
                <a:gd name="connsiteY0" fmla="*/ 0 h 351804"/>
                <a:gd name="connsiteX1" fmla="*/ 673766 w 673766"/>
                <a:gd name="connsiteY1" fmla="*/ 234324 h 351804"/>
                <a:gd name="connsiteX2" fmla="*/ 506119 w 673766"/>
                <a:gd name="connsiteY2" fmla="*/ 351169 h 351804"/>
                <a:gd name="connsiteX3" fmla="*/ 337836 w 673766"/>
                <a:gd name="connsiteY3" fmla="*/ 234959 h 351804"/>
                <a:gd name="connsiteX4" fmla="*/ 336566 w 673766"/>
                <a:gd name="connsiteY4" fmla="*/ 234324 h 351804"/>
                <a:gd name="connsiteX5" fmla="*/ 168283 w 673766"/>
                <a:gd name="connsiteY5" fmla="*/ 351804 h 351804"/>
                <a:gd name="connsiteX6" fmla="*/ 0 w 673766"/>
                <a:gd name="connsiteY6" fmla="*/ 234324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804">
                  <a:moveTo>
                    <a:pt x="336566" y="0"/>
                  </a:moveTo>
                  <a:lnTo>
                    <a:pt x="673766" y="234324"/>
                  </a:lnTo>
                  <a:lnTo>
                    <a:pt x="506119" y="351169"/>
                  </a:lnTo>
                  <a:lnTo>
                    <a:pt x="337836" y="234959"/>
                  </a:lnTo>
                  <a:lnTo>
                    <a:pt x="336566" y="234324"/>
                  </a:lnTo>
                  <a:lnTo>
                    <a:pt x="168283" y="351804"/>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27" name="Freeform: Shape 126">
              <a:extLst>
                <a:ext uri="{FF2B5EF4-FFF2-40B4-BE49-F238E27FC236}">
                  <a16:creationId xmlns:a16="http://schemas.microsoft.com/office/drawing/2014/main" id="{32248F2F-4F58-4B95-9DB5-83046F1408B8}"/>
                </a:ext>
              </a:extLst>
            </p:cNvPr>
            <p:cNvSpPr/>
            <p:nvPr/>
          </p:nvSpPr>
          <p:spPr>
            <a:xfrm>
              <a:off x="10308993" y="2717273"/>
              <a:ext cx="337201" cy="466108"/>
            </a:xfrm>
            <a:custGeom>
              <a:avLst/>
              <a:gdLst>
                <a:gd name="connsiteX0" fmla="*/ 337201 w 337201"/>
                <a:gd name="connsiteY0" fmla="*/ 232419 h 466108"/>
                <a:gd name="connsiteX1" fmla="*/ 0 w 337201"/>
                <a:gd name="connsiteY1" fmla="*/ 466109 h 466108"/>
                <a:gd name="connsiteX2" fmla="*/ 0 w 337201"/>
                <a:gd name="connsiteY2" fmla="*/ 232419 h 466108"/>
                <a:gd name="connsiteX3" fmla="*/ 337201 w 337201"/>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1" h="466108">
                  <a:moveTo>
                    <a:pt x="337201" y="232419"/>
                  </a:moveTo>
                  <a:lnTo>
                    <a:pt x="0"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a:p>
          </p:txBody>
        </p:sp>
        <p:sp>
          <p:nvSpPr>
            <p:cNvPr id="128" name="Freeform: Shape 127">
              <a:extLst>
                <a:ext uri="{FF2B5EF4-FFF2-40B4-BE49-F238E27FC236}">
                  <a16:creationId xmlns:a16="http://schemas.microsoft.com/office/drawing/2014/main" id="{DC50E18B-F19A-4CFF-AC12-071B40EAAC93}"/>
                </a:ext>
              </a:extLst>
            </p:cNvPr>
            <p:cNvSpPr/>
            <p:nvPr/>
          </p:nvSpPr>
          <p:spPr>
            <a:xfrm>
              <a:off x="5884741"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3CE00540-4227-41C0-AD1F-68B5936D35EB}"/>
                </a:ext>
              </a:extLst>
            </p:cNvPr>
            <p:cNvSpPr/>
            <p:nvPr/>
          </p:nvSpPr>
          <p:spPr>
            <a:xfrm>
              <a:off x="6565493"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55EFD218-9869-495E-AD61-860397277F65}"/>
                </a:ext>
              </a:extLst>
            </p:cNvPr>
            <p:cNvSpPr/>
            <p:nvPr/>
          </p:nvSpPr>
          <p:spPr>
            <a:xfrm>
              <a:off x="7246245"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86D3FFB9-CD19-4B38-8C4D-FE7250BA4220}"/>
                </a:ext>
              </a:extLst>
            </p:cNvPr>
            <p:cNvSpPr/>
            <p:nvPr/>
          </p:nvSpPr>
          <p:spPr>
            <a:xfrm>
              <a:off x="7926997"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32" name="Freeform: Shape 131">
              <a:extLst>
                <a:ext uri="{FF2B5EF4-FFF2-40B4-BE49-F238E27FC236}">
                  <a16:creationId xmlns:a16="http://schemas.microsoft.com/office/drawing/2014/main" id="{DCB12E43-EDEE-42E1-8DCB-2780B2BE36CD}"/>
                </a:ext>
              </a:extLst>
            </p:cNvPr>
            <p:cNvSpPr/>
            <p:nvPr/>
          </p:nvSpPr>
          <p:spPr>
            <a:xfrm>
              <a:off x="8607749"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ED96145D-F364-4FA7-9A14-D1ABAE38FB39}"/>
                </a:ext>
              </a:extLst>
            </p:cNvPr>
            <p:cNvSpPr/>
            <p:nvPr/>
          </p:nvSpPr>
          <p:spPr>
            <a:xfrm>
              <a:off x="9288500" y="2481044"/>
              <a:ext cx="336565" cy="702337"/>
            </a:xfrm>
            <a:custGeom>
              <a:avLst/>
              <a:gdLst>
                <a:gd name="connsiteX0" fmla="*/ 167648 w 336565"/>
                <a:gd name="connsiteY0" fmla="*/ 116845 h 702337"/>
                <a:gd name="connsiteX1" fmla="*/ 167648 w 336565"/>
                <a:gd name="connsiteY1" fmla="*/ 351169 h 702337"/>
                <a:gd name="connsiteX2" fmla="*/ 336566 w 336565"/>
                <a:gd name="connsiteY2" fmla="*/ 468649 h 702337"/>
                <a:gd name="connsiteX3" fmla="*/ 336566 w 336565"/>
                <a:gd name="connsiteY3" fmla="*/ 702338 h 702337"/>
                <a:gd name="connsiteX4" fmla="*/ 0 w 336565"/>
                <a:gd name="connsiteY4" fmla="*/ 468649 h 702337"/>
                <a:gd name="connsiteX5" fmla="*/ 0 w 336565"/>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7">
                  <a:moveTo>
                    <a:pt x="167648" y="116845"/>
                  </a:moveTo>
                  <a:lnTo>
                    <a:pt x="167648" y="351169"/>
                  </a:lnTo>
                  <a:lnTo>
                    <a:pt x="336566" y="468649"/>
                  </a:lnTo>
                  <a:lnTo>
                    <a:pt x="336566"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7AE77DD9-96FE-4C7A-A814-29E2013D8011}"/>
                </a:ext>
              </a:extLst>
            </p:cNvPr>
            <p:cNvSpPr/>
            <p:nvPr/>
          </p:nvSpPr>
          <p:spPr>
            <a:xfrm>
              <a:off x="9968617" y="2481044"/>
              <a:ext cx="337200" cy="702337"/>
            </a:xfrm>
            <a:custGeom>
              <a:avLst/>
              <a:gdLst>
                <a:gd name="connsiteX0" fmla="*/ 168283 w 337200"/>
                <a:gd name="connsiteY0" fmla="*/ 116845 h 702337"/>
                <a:gd name="connsiteX1" fmla="*/ 168283 w 337200"/>
                <a:gd name="connsiteY1" fmla="*/ 351169 h 702337"/>
                <a:gd name="connsiteX2" fmla="*/ 337201 w 337200"/>
                <a:gd name="connsiteY2" fmla="*/ 468649 h 702337"/>
                <a:gd name="connsiteX3" fmla="*/ 337201 w 337200"/>
                <a:gd name="connsiteY3" fmla="*/ 702338 h 702337"/>
                <a:gd name="connsiteX4" fmla="*/ 0 w 337200"/>
                <a:gd name="connsiteY4" fmla="*/ 468649 h 702337"/>
                <a:gd name="connsiteX5" fmla="*/ 0 w 337200"/>
                <a:gd name="connsiteY5" fmla="*/ 0 h 702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7">
                  <a:moveTo>
                    <a:pt x="168283" y="116845"/>
                  </a:moveTo>
                  <a:lnTo>
                    <a:pt x="168283" y="351169"/>
                  </a:lnTo>
                  <a:lnTo>
                    <a:pt x="337201" y="468649"/>
                  </a:lnTo>
                  <a:lnTo>
                    <a:pt x="337201" y="702338"/>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53E11C83-5B65-40E3-B352-E004406309AC}"/>
                </a:ext>
              </a:extLst>
            </p:cNvPr>
            <p:cNvSpPr/>
            <p:nvPr/>
          </p:nvSpPr>
          <p:spPr>
            <a:xfrm>
              <a:off x="10308993" y="2717273"/>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C6E1DBF3-84FA-402E-9E19-09A3560CCCFB}"/>
                </a:ext>
              </a:extLst>
            </p:cNvPr>
            <p:cNvSpPr/>
            <p:nvPr/>
          </p:nvSpPr>
          <p:spPr>
            <a:xfrm>
              <a:off x="9968617" y="3427232"/>
              <a:ext cx="337200" cy="466108"/>
            </a:xfrm>
            <a:custGeom>
              <a:avLst/>
              <a:gdLst>
                <a:gd name="connsiteX0" fmla="*/ 337201 w 337200"/>
                <a:gd name="connsiteY0" fmla="*/ 231784 h 466108"/>
                <a:gd name="connsiteX1" fmla="*/ 635 w 337200"/>
                <a:gd name="connsiteY1" fmla="*/ 466108 h 466108"/>
                <a:gd name="connsiteX2" fmla="*/ 0 w 337200"/>
                <a:gd name="connsiteY2" fmla="*/ 231784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635" y="466108"/>
                  </a:lnTo>
                  <a:lnTo>
                    <a:pt x="0" y="231784"/>
                  </a:lnTo>
                  <a:lnTo>
                    <a:pt x="337201" y="0"/>
                  </a:lnTo>
                  <a:close/>
                </a:path>
              </a:pathLst>
            </a:custGeom>
            <a:noFill/>
            <a:ln w="3175" cap="flat">
              <a:solidFill>
                <a:schemeClr val="bg1">
                  <a:alpha val="30000"/>
                </a:schemeClr>
              </a:solid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7CA5F8E1-F2CF-45CF-B32F-378A09914289}"/>
                </a:ext>
              </a:extLst>
            </p:cNvPr>
            <p:cNvSpPr/>
            <p:nvPr/>
          </p:nvSpPr>
          <p:spPr>
            <a:xfrm>
              <a:off x="6225117" y="2717273"/>
              <a:ext cx="164472" cy="227974"/>
            </a:xfrm>
            <a:custGeom>
              <a:avLst/>
              <a:gdLst>
                <a:gd name="connsiteX0" fmla="*/ 164473 w 164472"/>
                <a:gd name="connsiteY0" fmla="*/ 114940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C827B525-BAAD-415A-844C-438FA2C616B6}"/>
                </a:ext>
              </a:extLst>
            </p:cNvPr>
            <p:cNvSpPr/>
            <p:nvPr/>
          </p:nvSpPr>
          <p:spPr>
            <a:xfrm>
              <a:off x="6226387" y="2952868"/>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8471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8471"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B9182623-8EE2-4FAB-A33F-DE36638F85B4}"/>
                </a:ext>
              </a:extLst>
            </p:cNvPr>
            <p:cNvSpPr/>
            <p:nvPr/>
          </p:nvSpPr>
          <p:spPr>
            <a:xfrm>
              <a:off x="6905869" y="2717273"/>
              <a:ext cx="164472" cy="227974"/>
            </a:xfrm>
            <a:custGeom>
              <a:avLst/>
              <a:gdLst>
                <a:gd name="connsiteX0" fmla="*/ 164473 w 164472"/>
                <a:gd name="connsiteY0" fmla="*/ 114940 h 227974"/>
                <a:gd name="connsiteX1" fmla="*/ 0 w 164472"/>
                <a:gd name="connsiteY1" fmla="*/ 227974 h 227974"/>
                <a:gd name="connsiteX2" fmla="*/ 0 w 164472"/>
                <a:gd name="connsiteY2" fmla="*/ 0 h 227974"/>
              </a:gdLst>
              <a:ahLst/>
              <a:cxnLst>
                <a:cxn ang="0">
                  <a:pos x="connsiteX0" y="connsiteY0"/>
                </a:cxn>
                <a:cxn ang="0">
                  <a:pos x="connsiteX1" y="connsiteY1"/>
                </a:cxn>
                <a:cxn ang="0">
                  <a:pos x="connsiteX2" y="connsiteY2"/>
                </a:cxn>
              </a:cxnLst>
              <a:rect l="l" t="t" r="r" b="b"/>
              <a:pathLst>
                <a:path w="164472" h="227974">
                  <a:moveTo>
                    <a:pt x="164473"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C14EA703-DDD1-445F-8CD5-0F5E5B8416BA}"/>
                </a:ext>
              </a:extLst>
            </p:cNvPr>
            <p:cNvSpPr/>
            <p:nvPr/>
          </p:nvSpPr>
          <p:spPr>
            <a:xfrm>
              <a:off x="6907139" y="2952868"/>
              <a:ext cx="674401" cy="351168"/>
            </a:xfrm>
            <a:custGeom>
              <a:avLst/>
              <a:gdLst>
                <a:gd name="connsiteX0" fmla="*/ 337201 w 674401"/>
                <a:gd name="connsiteY0" fmla="*/ 0 h 351168"/>
                <a:gd name="connsiteX1" fmla="*/ 674401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1"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656AF480-FF2E-4FAD-9EC4-B0AA3D7F9571}"/>
                </a:ext>
              </a:extLst>
            </p:cNvPr>
            <p:cNvSpPr/>
            <p:nvPr/>
          </p:nvSpPr>
          <p:spPr>
            <a:xfrm>
              <a:off x="7586621" y="2717273"/>
              <a:ext cx="164472" cy="227974"/>
            </a:xfrm>
            <a:custGeom>
              <a:avLst/>
              <a:gdLst>
                <a:gd name="connsiteX0" fmla="*/ 0 w 164472"/>
                <a:gd name="connsiteY0" fmla="*/ 0 h 227974"/>
                <a:gd name="connsiteX1" fmla="*/ 164473 w 164472"/>
                <a:gd name="connsiteY1" fmla="*/ 114940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3"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C4D952BF-2AA5-49E2-8574-91E84C6D103B}"/>
                </a:ext>
              </a:extLst>
            </p:cNvPr>
            <p:cNvSpPr/>
            <p:nvPr/>
          </p:nvSpPr>
          <p:spPr>
            <a:xfrm>
              <a:off x="7587891" y="2952868"/>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9CF4C8FC-76FE-4349-911B-472FD131DFFB}"/>
                </a:ext>
              </a:extLst>
            </p:cNvPr>
            <p:cNvSpPr/>
            <p:nvPr/>
          </p:nvSpPr>
          <p:spPr>
            <a:xfrm>
              <a:off x="8267372" y="2717273"/>
              <a:ext cx="163837" cy="227974"/>
            </a:xfrm>
            <a:custGeom>
              <a:avLst/>
              <a:gdLst>
                <a:gd name="connsiteX0" fmla="*/ 0 w 163837"/>
                <a:gd name="connsiteY0" fmla="*/ 0 h 227974"/>
                <a:gd name="connsiteX1" fmla="*/ 163838 w 163837"/>
                <a:gd name="connsiteY1" fmla="*/ 114940 h 227974"/>
                <a:gd name="connsiteX2" fmla="*/ 0 w 163837"/>
                <a:gd name="connsiteY2" fmla="*/ 227974 h 227974"/>
              </a:gdLst>
              <a:ahLst/>
              <a:cxnLst>
                <a:cxn ang="0">
                  <a:pos x="connsiteX0" y="connsiteY0"/>
                </a:cxn>
                <a:cxn ang="0">
                  <a:pos x="connsiteX1" y="connsiteY1"/>
                </a:cxn>
                <a:cxn ang="0">
                  <a:pos x="connsiteX2" y="connsiteY2"/>
                </a:cxn>
              </a:cxnLst>
              <a:rect l="l" t="t" r="r" b="b"/>
              <a:pathLst>
                <a:path w="163837" h="227974">
                  <a:moveTo>
                    <a:pt x="0" y="0"/>
                  </a:moveTo>
                  <a:lnTo>
                    <a:pt x="163838" y="114940"/>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15852022-E13D-461C-B03B-B9785E4224BE}"/>
                </a:ext>
              </a:extLst>
            </p:cNvPr>
            <p:cNvSpPr/>
            <p:nvPr/>
          </p:nvSpPr>
          <p:spPr>
            <a:xfrm>
              <a:off x="8268643" y="2952868"/>
              <a:ext cx="674401" cy="351168"/>
            </a:xfrm>
            <a:custGeom>
              <a:avLst/>
              <a:gdLst>
                <a:gd name="connsiteX0" fmla="*/ 337201 w 674401"/>
                <a:gd name="connsiteY0" fmla="*/ 0 h 351168"/>
                <a:gd name="connsiteX1" fmla="*/ 674402 w 674401"/>
                <a:gd name="connsiteY1" fmla="*/ 234324 h 351168"/>
                <a:gd name="connsiteX2" fmla="*/ 506754 w 674401"/>
                <a:gd name="connsiteY2" fmla="*/ 350534 h 351168"/>
                <a:gd name="connsiteX3" fmla="*/ 337836 w 674401"/>
                <a:gd name="connsiteY3" fmla="*/ 234324 h 351168"/>
                <a:gd name="connsiteX4" fmla="*/ 337201 w 674401"/>
                <a:gd name="connsiteY4" fmla="*/ 233689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45" name="Freeform: Shape 144">
              <a:extLst>
                <a:ext uri="{FF2B5EF4-FFF2-40B4-BE49-F238E27FC236}">
                  <a16:creationId xmlns:a16="http://schemas.microsoft.com/office/drawing/2014/main" id="{9DCB2652-C20B-4A50-9717-F307D4448256}"/>
                </a:ext>
              </a:extLst>
            </p:cNvPr>
            <p:cNvSpPr/>
            <p:nvPr/>
          </p:nvSpPr>
          <p:spPr>
            <a:xfrm>
              <a:off x="8948124" y="2717273"/>
              <a:ext cx="163837" cy="227974"/>
            </a:xfrm>
            <a:custGeom>
              <a:avLst/>
              <a:gdLst>
                <a:gd name="connsiteX0" fmla="*/ 163838 w 163837"/>
                <a:gd name="connsiteY0" fmla="*/ 114940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46" name="Freeform: Shape 145">
              <a:extLst>
                <a:ext uri="{FF2B5EF4-FFF2-40B4-BE49-F238E27FC236}">
                  <a16:creationId xmlns:a16="http://schemas.microsoft.com/office/drawing/2014/main" id="{20DDCA67-7550-4725-96AE-AAC68D69ECCE}"/>
                </a:ext>
              </a:extLst>
            </p:cNvPr>
            <p:cNvSpPr/>
            <p:nvPr/>
          </p:nvSpPr>
          <p:spPr>
            <a:xfrm>
              <a:off x="8949395" y="2952868"/>
              <a:ext cx="673766" cy="351168"/>
            </a:xfrm>
            <a:custGeom>
              <a:avLst/>
              <a:gdLst>
                <a:gd name="connsiteX0" fmla="*/ 337201 w 673766"/>
                <a:gd name="connsiteY0" fmla="*/ 0 h 351168"/>
                <a:gd name="connsiteX1" fmla="*/ 673766 w 673766"/>
                <a:gd name="connsiteY1" fmla="*/ 234324 h 351168"/>
                <a:gd name="connsiteX2" fmla="*/ 506119 w 673766"/>
                <a:gd name="connsiteY2" fmla="*/ 350534 h 351168"/>
                <a:gd name="connsiteX3" fmla="*/ 337836 w 673766"/>
                <a:gd name="connsiteY3" fmla="*/ 234324 h 351168"/>
                <a:gd name="connsiteX4" fmla="*/ 337201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6" y="234324"/>
                  </a:lnTo>
                  <a:lnTo>
                    <a:pt x="506119"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47" name="Freeform: Shape 146">
              <a:extLst>
                <a:ext uri="{FF2B5EF4-FFF2-40B4-BE49-F238E27FC236}">
                  <a16:creationId xmlns:a16="http://schemas.microsoft.com/office/drawing/2014/main" id="{9C4A2BD7-A29F-43FD-A0D0-EA3CFF8A676D}"/>
                </a:ext>
              </a:extLst>
            </p:cNvPr>
            <p:cNvSpPr/>
            <p:nvPr/>
          </p:nvSpPr>
          <p:spPr>
            <a:xfrm>
              <a:off x="9628876" y="2717273"/>
              <a:ext cx="163837" cy="227974"/>
            </a:xfrm>
            <a:custGeom>
              <a:avLst/>
              <a:gdLst>
                <a:gd name="connsiteX0" fmla="*/ 163838 w 163837"/>
                <a:gd name="connsiteY0" fmla="*/ 114940 h 227974"/>
                <a:gd name="connsiteX1" fmla="*/ 0 w 163837"/>
                <a:gd name="connsiteY1" fmla="*/ 227974 h 227974"/>
                <a:gd name="connsiteX2" fmla="*/ 0 w 163837"/>
                <a:gd name="connsiteY2" fmla="*/ 0 h 227974"/>
              </a:gdLst>
              <a:ahLst/>
              <a:cxnLst>
                <a:cxn ang="0">
                  <a:pos x="connsiteX0" y="connsiteY0"/>
                </a:cxn>
                <a:cxn ang="0">
                  <a:pos x="connsiteX1" y="connsiteY1"/>
                </a:cxn>
                <a:cxn ang="0">
                  <a:pos x="connsiteX2" y="connsiteY2"/>
                </a:cxn>
              </a:cxnLst>
              <a:rect l="l" t="t" r="r" b="b"/>
              <a:pathLst>
                <a:path w="163837" h="227974">
                  <a:moveTo>
                    <a:pt x="163838" y="114940"/>
                  </a:moveTo>
                  <a:lnTo>
                    <a:pt x="0" y="227974"/>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48" name="Freeform: Shape 147">
              <a:extLst>
                <a:ext uri="{FF2B5EF4-FFF2-40B4-BE49-F238E27FC236}">
                  <a16:creationId xmlns:a16="http://schemas.microsoft.com/office/drawing/2014/main" id="{C9B631A0-07CE-4731-BF18-13663077CBAC}"/>
                </a:ext>
              </a:extLst>
            </p:cNvPr>
            <p:cNvSpPr/>
            <p:nvPr/>
          </p:nvSpPr>
          <p:spPr>
            <a:xfrm>
              <a:off x="9630146" y="2952868"/>
              <a:ext cx="673766" cy="351168"/>
            </a:xfrm>
            <a:custGeom>
              <a:avLst/>
              <a:gdLst>
                <a:gd name="connsiteX0" fmla="*/ 337201 w 673766"/>
                <a:gd name="connsiteY0" fmla="*/ 0 h 351168"/>
                <a:gd name="connsiteX1" fmla="*/ 673766 w 673766"/>
                <a:gd name="connsiteY1" fmla="*/ 234324 h 351168"/>
                <a:gd name="connsiteX2" fmla="*/ 506118 w 673766"/>
                <a:gd name="connsiteY2" fmla="*/ 350534 h 351168"/>
                <a:gd name="connsiteX3" fmla="*/ 337836 w 673766"/>
                <a:gd name="connsiteY3" fmla="*/ 234324 h 351168"/>
                <a:gd name="connsiteX4" fmla="*/ 337201 w 673766"/>
                <a:gd name="connsiteY4" fmla="*/ 233689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6" y="234324"/>
                  </a:lnTo>
                  <a:lnTo>
                    <a:pt x="506118" y="350534"/>
                  </a:lnTo>
                  <a:lnTo>
                    <a:pt x="337836"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49" name="Freeform: Shape 148">
              <a:extLst>
                <a:ext uri="{FF2B5EF4-FFF2-40B4-BE49-F238E27FC236}">
                  <a16:creationId xmlns:a16="http://schemas.microsoft.com/office/drawing/2014/main" id="{5E9EF1EC-6FED-481E-AD90-49EB598CE6B4}"/>
                </a:ext>
              </a:extLst>
            </p:cNvPr>
            <p:cNvSpPr/>
            <p:nvPr/>
          </p:nvSpPr>
          <p:spPr>
            <a:xfrm>
              <a:off x="6225117"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50" name="Freeform: Shape 149">
              <a:extLst>
                <a:ext uri="{FF2B5EF4-FFF2-40B4-BE49-F238E27FC236}">
                  <a16:creationId xmlns:a16="http://schemas.microsoft.com/office/drawing/2014/main" id="{33C0CB7A-776D-4270-81F1-A6DF4E36A0B5}"/>
                </a:ext>
              </a:extLst>
            </p:cNvPr>
            <p:cNvSpPr/>
            <p:nvPr/>
          </p:nvSpPr>
          <p:spPr>
            <a:xfrm>
              <a:off x="6905869"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9A92C8F4-3F89-410B-95DE-14889E61C6BE}"/>
                </a:ext>
              </a:extLst>
            </p:cNvPr>
            <p:cNvSpPr/>
            <p:nvPr/>
          </p:nvSpPr>
          <p:spPr>
            <a:xfrm>
              <a:off x="7586621"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52" name="Freeform: Shape 151">
              <a:extLst>
                <a:ext uri="{FF2B5EF4-FFF2-40B4-BE49-F238E27FC236}">
                  <a16:creationId xmlns:a16="http://schemas.microsoft.com/office/drawing/2014/main" id="{B818EB59-386E-4B12-9DB5-67BBFF1F8319}"/>
                </a:ext>
              </a:extLst>
            </p:cNvPr>
            <p:cNvSpPr/>
            <p:nvPr/>
          </p:nvSpPr>
          <p:spPr>
            <a:xfrm>
              <a:off x="8267372"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53" name="Freeform: Shape 152">
              <a:extLst>
                <a:ext uri="{FF2B5EF4-FFF2-40B4-BE49-F238E27FC236}">
                  <a16:creationId xmlns:a16="http://schemas.microsoft.com/office/drawing/2014/main" id="{315AB366-349E-4A15-980A-C66B3E374AE5}"/>
                </a:ext>
              </a:extLst>
            </p:cNvPr>
            <p:cNvSpPr/>
            <p:nvPr/>
          </p:nvSpPr>
          <p:spPr>
            <a:xfrm>
              <a:off x="8948124" y="3190367"/>
              <a:ext cx="336565" cy="702973"/>
            </a:xfrm>
            <a:custGeom>
              <a:avLst/>
              <a:gdLst>
                <a:gd name="connsiteX0" fmla="*/ 167648 w 336565"/>
                <a:gd name="connsiteY0" fmla="*/ 116845 h 702973"/>
                <a:gd name="connsiteX1" fmla="*/ 167648 w 336565"/>
                <a:gd name="connsiteY1" fmla="*/ 351804 h 702973"/>
                <a:gd name="connsiteX2" fmla="*/ 336566 w 336565"/>
                <a:gd name="connsiteY2" fmla="*/ 468649 h 702973"/>
                <a:gd name="connsiteX3" fmla="*/ 336566 w 336565"/>
                <a:gd name="connsiteY3" fmla="*/ 702973 h 702973"/>
                <a:gd name="connsiteX4" fmla="*/ 0 w 336565"/>
                <a:gd name="connsiteY4" fmla="*/ 468649 h 702973"/>
                <a:gd name="connsiteX5" fmla="*/ 0 w 336565"/>
                <a:gd name="connsiteY5" fmla="*/ 0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167648" y="116845"/>
                  </a:moveTo>
                  <a:lnTo>
                    <a:pt x="167648" y="351804"/>
                  </a:lnTo>
                  <a:lnTo>
                    <a:pt x="336566" y="468649"/>
                  </a:lnTo>
                  <a:lnTo>
                    <a:pt x="336566" y="702973"/>
                  </a:lnTo>
                  <a:lnTo>
                    <a:pt x="0" y="46864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54" name="Freeform: Shape 153">
              <a:extLst>
                <a:ext uri="{FF2B5EF4-FFF2-40B4-BE49-F238E27FC236}">
                  <a16:creationId xmlns:a16="http://schemas.microsoft.com/office/drawing/2014/main" id="{2E4FEECF-D566-4EF9-9F40-7441FCF227E7}"/>
                </a:ext>
              </a:extLst>
            </p:cNvPr>
            <p:cNvSpPr/>
            <p:nvPr/>
          </p:nvSpPr>
          <p:spPr>
            <a:xfrm>
              <a:off x="5884741" y="3427232"/>
              <a:ext cx="164472" cy="227339"/>
            </a:xfrm>
            <a:custGeom>
              <a:avLst/>
              <a:gdLst>
                <a:gd name="connsiteX0" fmla="*/ 164473 w 164472"/>
                <a:gd name="connsiteY0" fmla="*/ 114305 h 227339"/>
                <a:gd name="connsiteX1" fmla="*/ 0 w 164472"/>
                <a:gd name="connsiteY1" fmla="*/ 227339 h 227339"/>
                <a:gd name="connsiteX2" fmla="*/ 0 w 164472"/>
                <a:gd name="connsiteY2" fmla="*/ 0 h 227339"/>
              </a:gdLst>
              <a:ahLst/>
              <a:cxnLst>
                <a:cxn ang="0">
                  <a:pos x="connsiteX0" y="connsiteY0"/>
                </a:cxn>
                <a:cxn ang="0">
                  <a:pos x="connsiteX1" y="connsiteY1"/>
                </a:cxn>
                <a:cxn ang="0">
                  <a:pos x="connsiteX2" y="connsiteY2"/>
                </a:cxn>
              </a:cxnLst>
              <a:rect l="l" t="t" r="r" b="b"/>
              <a:pathLst>
                <a:path w="164472" h="227339">
                  <a:moveTo>
                    <a:pt x="164473" y="114305"/>
                  </a:moveTo>
                  <a:lnTo>
                    <a:pt x="0" y="22733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55" name="Freeform: Shape 154">
              <a:extLst>
                <a:ext uri="{FF2B5EF4-FFF2-40B4-BE49-F238E27FC236}">
                  <a16:creationId xmlns:a16="http://schemas.microsoft.com/office/drawing/2014/main" id="{1D5CB6F7-A3EA-4CEE-B3D7-FB78F807AD60}"/>
                </a:ext>
              </a:extLst>
            </p:cNvPr>
            <p:cNvSpPr/>
            <p:nvPr/>
          </p:nvSpPr>
          <p:spPr>
            <a:xfrm>
              <a:off x="5886011" y="3662191"/>
              <a:ext cx="674401" cy="351168"/>
            </a:xfrm>
            <a:custGeom>
              <a:avLst/>
              <a:gdLst>
                <a:gd name="connsiteX0" fmla="*/ 337201 w 674401"/>
                <a:gd name="connsiteY0" fmla="*/ 0 h 351168"/>
                <a:gd name="connsiteX1" fmla="*/ 674402 w 674401"/>
                <a:gd name="connsiteY1" fmla="*/ 234324 h 351168"/>
                <a:gd name="connsiteX2" fmla="*/ 506754 w 674401"/>
                <a:gd name="connsiteY2" fmla="*/ 351169 h 351168"/>
                <a:gd name="connsiteX3" fmla="*/ 338471 w 674401"/>
                <a:gd name="connsiteY3" fmla="*/ 234959 h 351168"/>
                <a:gd name="connsiteX4" fmla="*/ 337201 w 674401"/>
                <a:gd name="connsiteY4" fmla="*/ 234324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1169"/>
                  </a:lnTo>
                  <a:lnTo>
                    <a:pt x="338471"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56" name="Freeform: Shape 155">
              <a:extLst>
                <a:ext uri="{FF2B5EF4-FFF2-40B4-BE49-F238E27FC236}">
                  <a16:creationId xmlns:a16="http://schemas.microsoft.com/office/drawing/2014/main" id="{A939BB36-07EC-4783-A4E8-AE8255F5B50D}"/>
                </a:ext>
              </a:extLst>
            </p:cNvPr>
            <p:cNvSpPr/>
            <p:nvPr/>
          </p:nvSpPr>
          <p:spPr>
            <a:xfrm>
              <a:off x="6565493" y="3427232"/>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157" name="Freeform: Shape 156">
              <a:extLst>
                <a:ext uri="{FF2B5EF4-FFF2-40B4-BE49-F238E27FC236}">
                  <a16:creationId xmlns:a16="http://schemas.microsoft.com/office/drawing/2014/main" id="{D62041A5-7F3C-4724-8B71-ADC54CF542C9}"/>
                </a:ext>
              </a:extLst>
            </p:cNvPr>
            <p:cNvSpPr/>
            <p:nvPr/>
          </p:nvSpPr>
          <p:spPr>
            <a:xfrm>
              <a:off x="6566763" y="3662191"/>
              <a:ext cx="674401" cy="351168"/>
            </a:xfrm>
            <a:custGeom>
              <a:avLst/>
              <a:gdLst>
                <a:gd name="connsiteX0" fmla="*/ 337201 w 674401"/>
                <a:gd name="connsiteY0" fmla="*/ 0 h 351168"/>
                <a:gd name="connsiteX1" fmla="*/ 674402 w 674401"/>
                <a:gd name="connsiteY1" fmla="*/ 234324 h 351168"/>
                <a:gd name="connsiteX2" fmla="*/ 506754 w 674401"/>
                <a:gd name="connsiteY2" fmla="*/ 351169 h 351168"/>
                <a:gd name="connsiteX3" fmla="*/ 338471 w 674401"/>
                <a:gd name="connsiteY3" fmla="*/ 234959 h 351168"/>
                <a:gd name="connsiteX4" fmla="*/ 337201 w 674401"/>
                <a:gd name="connsiteY4" fmla="*/ 234324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1169"/>
                  </a:lnTo>
                  <a:lnTo>
                    <a:pt x="338471"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58" name="Freeform: Shape 157">
              <a:extLst>
                <a:ext uri="{FF2B5EF4-FFF2-40B4-BE49-F238E27FC236}">
                  <a16:creationId xmlns:a16="http://schemas.microsoft.com/office/drawing/2014/main" id="{22174C58-9A55-4DFF-A8DD-EF28CD3172A7}"/>
                </a:ext>
              </a:extLst>
            </p:cNvPr>
            <p:cNvSpPr/>
            <p:nvPr/>
          </p:nvSpPr>
          <p:spPr>
            <a:xfrm>
              <a:off x="7246245" y="3427232"/>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159" name="Freeform: Shape 158">
              <a:extLst>
                <a:ext uri="{FF2B5EF4-FFF2-40B4-BE49-F238E27FC236}">
                  <a16:creationId xmlns:a16="http://schemas.microsoft.com/office/drawing/2014/main" id="{CF433F85-2DC9-40D4-BC50-64D8C503C675}"/>
                </a:ext>
              </a:extLst>
            </p:cNvPr>
            <p:cNvSpPr/>
            <p:nvPr/>
          </p:nvSpPr>
          <p:spPr>
            <a:xfrm>
              <a:off x="7247515" y="3662191"/>
              <a:ext cx="674401" cy="351168"/>
            </a:xfrm>
            <a:custGeom>
              <a:avLst/>
              <a:gdLst>
                <a:gd name="connsiteX0" fmla="*/ 337201 w 674401"/>
                <a:gd name="connsiteY0" fmla="*/ 0 h 351168"/>
                <a:gd name="connsiteX1" fmla="*/ 674402 w 674401"/>
                <a:gd name="connsiteY1" fmla="*/ 234324 h 351168"/>
                <a:gd name="connsiteX2" fmla="*/ 506754 w 674401"/>
                <a:gd name="connsiteY2" fmla="*/ 351169 h 351168"/>
                <a:gd name="connsiteX3" fmla="*/ 337836 w 674401"/>
                <a:gd name="connsiteY3" fmla="*/ 234959 h 351168"/>
                <a:gd name="connsiteX4" fmla="*/ 337201 w 674401"/>
                <a:gd name="connsiteY4" fmla="*/ 234324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2" y="234324"/>
                  </a:lnTo>
                  <a:lnTo>
                    <a:pt x="506754" y="351169"/>
                  </a:lnTo>
                  <a:lnTo>
                    <a:pt x="337836"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60" name="Freeform: Shape 159">
              <a:extLst>
                <a:ext uri="{FF2B5EF4-FFF2-40B4-BE49-F238E27FC236}">
                  <a16:creationId xmlns:a16="http://schemas.microsoft.com/office/drawing/2014/main" id="{A6F42F1D-BE28-4EF4-A16B-D397405FB47D}"/>
                </a:ext>
              </a:extLst>
            </p:cNvPr>
            <p:cNvSpPr/>
            <p:nvPr/>
          </p:nvSpPr>
          <p:spPr>
            <a:xfrm>
              <a:off x="7926997" y="3427232"/>
              <a:ext cx="163837" cy="227339"/>
            </a:xfrm>
            <a:custGeom>
              <a:avLst/>
              <a:gdLst>
                <a:gd name="connsiteX0" fmla="*/ 163838 w 163837"/>
                <a:gd name="connsiteY0" fmla="*/ 114305 h 227339"/>
                <a:gd name="connsiteX1" fmla="*/ 0 w 163837"/>
                <a:gd name="connsiteY1" fmla="*/ 227339 h 227339"/>
                <a:gd name="connsiteX2" fmla="*/ 0 w 163837"/>
                <a:gd name="connsiteY2" fmla="*/ 0 h 227339"/>
              </a:gdLst>
              <a:ahLst/>
              <a:cxnLst>
                <a:cxn ang="0">
                  <a:pos x="connsiteX0" y="connsiteY0"/>
                </a:cxn>
                <a:cxn ang="0">
                  <a:pos x="connsiteX1" y="connsiteY1"/>
                </a:cxn>
                <a:cxn ang="0">
                  <a:pos x="connsiteX2" y="connsiteY2"/>
                </a:cxn>
              </a:cxnLst>
              <a:rect l="l" t="t" r="r" b="b"/>
              <a:pathLst>
                <a:path w="163837" h="227339">
                  <a:moveTo>
                    <a:pt x="163838" y="114305"/>
                  </a:moveTo>
                  <a:lnTo>
                    <a:pt x="0" y="22733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61" name="Freeform: Shape 160">
              <a:extLst>
                <a:ext uri="{FF2B5EF4-FFF2-40B4-BE49-F238E27FC236}">
                  <a16:creationId xmlns:a16="http://schemas.microsoft.com/office/drawing/2014/main" id="{B9BC24A7-2176-443A-9319-C3011B41334B}"/>
                </a:ext>
              </a:extLst>
            </p:cNvPr>
            <p:cNvSpPr/>
            <p:nvPr/>
          </p:nvSpPr>
          <p:spPr>
            <a:xfrm>
              <a:off x="7928267" y="3662191"/>
              <a:ext cx="674401" cy="351168"/>
            </a:xfrm>
            <a:custGeom>
              <a:avLst/>
              <a:gdLst>
                <a:gd name="connsiteX0" fmla="*/ 337201 w 674401"/>
                <a:gd name="connsiteY0" fmla="*/ 0 h 351168"/>
                <a:gd name="connsiteX1" fmla="*/ 674401 w 674401"/>
                <a:gd name="connsiteY1" fmla="*/ 234324 h 351168"/>
                <a:gd name="connsiteX2" fmla="*/ 506754 w 674401"/>
                <a:gd name="connsiteY2" fmla="*/ 351169 h 351168"/>
                <a:gd name="connsiteX3" fmla="*/ 337836 w 674401"/>
                <a:gd name="connsiteY3" fmla="*/ 234959 h 351168"/>
                <a:gd name="connsiteX4" fmla="*/ 337201 w 674401"/>
                <a:gd name="connsiteY4" fmla="*/ 234324 h 351168"/>
                <a:gd name="connsiteX5" fmla="*/ 168283 w 674401"/>
                <a:gd name="connsiteY5" fmla="*/ 351169 h 351168"/>
                <a:gd name="connsiteX6" fmla="*/ 0 w 674401"/>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7201" y="0"/>
                  </a:moveTo>
                  <a:lnTo>
                    <a:pt x="674401" y="234324"/>
                  </a:lnTo>
                  <a:lnTo>
                    <a:pt x="506754" y="351169"/>
                  </a:lnTo>
                  <a:lnTo>
                    <a:pt x="337836"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62" name="Freeform: Shape 161">
              <a:extLst>
                <a:ext uri="{FF2B5EF4-FFF2-40B4-BE49-F238E27FC236}">
                  <a16:creationId xmlns:a16="http://schemas.microsoft.com/office/drawing/2014/main" id="{1105A2E3-EEB4-4481-A906-DF128DBB8556}"/>
                </a:ext>
              </a:extLst>
            </p:cNvPr>
            <p:cNvSpPr/>
            <p:nvPr/>
          </p:nvSpPr>
          <p:spPr>
            <a:xfrm>
              <a:off x="8607749" y="3427232"/>
              <a:ext cx="163837" cy="227339"/>
            </a:xfrm>
            <a:custGeom>
              <a:avLst/>
              <a:gdLst>
                <a:gd name="connsiteX0" fmla="*/ 163838 w 163837"/>
                <a:gd name="connsiteY0" fmla="*/ 114305 h 227339"/>
                <a:gd name="connsiteX1" fmla="*/ 0 w 163837"/>
                <a:gd name="connsiteY1" fmla="*/ 227339 h 227339"/>
                <a:gd name="connsiteX2" fmla="*/ 0 w 163837"/>
                <a:gd name="connsiteY2" fmla="*/ 0 h 227339"/>
              </a:gdLst>
              <a:ahLst/>
              <a:cxnLst>
                <a:cxn ang="0">
                  <a:pos x="connsiteX0" y="connsiteY0"/>
                </a:cxn>
                <a:cxn ang="0">
                  <a:pos x="connsiteX1" y="connsiteY1"/>
                </a:cxn>
                <a:cxn ang="0">
                  <a:pos x="connsiteX2" y="connsiteY2"/>
                </a:cxn>
              </a:cxnLst>
              <a:rect l="l" t="t" r="r" b="b"/>
              <a:pathLst>
                <a:path w="163837" h="227339">
                  <a:moveTo>
                    <a:pt x="163838" y="114305"/>
                  </a:moveTo>
                  <a:lnTo>
                    <a:pt x="0" y="227339"/>
                  </a:lnTo>
                  <a:lnTo>
                    <a:pt x="0" y="0"/>
                  </a:lnTo>
                  <a:close/>
                </a:path>
              </a:pathLst>
            </a:custGeom>
            <a:noFill/>
            <a:ln w="3175" cap="flat">
              <a:solidFill>
                <a:schemeClr val="bg1">
                  <a:alpha val="30000"/>
                </a:schemeClr>
              </a:solidFill>
              <a:prstDash val="solid"/>
              <a:miter/>
            </a:ln>
          </p:spPr>
          <p:txBody>
            <a:bodyPr rtlCol="0" anchor="ctr"/>
            <a:lstStyle/>
            <a:p>
              <a:endParaRPr lang="en-GB"/>
            </a:p>
          </p:txBody>
        </p:sp>
        <p:sp>
          <p:nvSpPr>
            <p:cNvPr id="163" name="Freeform: Shape 162">
              <a:extLst>
                <a:ext uri="{FF2B5EF4-FFF2-40B4-BE49-F238E27FC236}">
                  <a16:creationId xmlns:a16="http://schemas.microsoft.com/office/drawing/2014/main" id="{F3CC5313-F00E-46ED-9935-39DE41DD1D05}"/>
                </a:ext>
              </a:extLst>
            </p:cNvPr>
            <p:cNvSpPr/>
            <p:nvPr/>
          </p:nvSpPr>
          <p:spPr>
            <a:xfrm>
              <a:off x="8609018" y="3662191"/>
              <a:ext cx="673766" cy="351168"/>
            </a:xfrm>
            <a:custGeom>
              <a:avLst/>
              <a:gdLst>
                <a:gd name="connsiteX0" fmla="*/ 337201 w 673766"/>
                <a:gd name="connsiteY0" fmla="*/ 0 h 351168"/>
                <a:gd name="connsiteX1" fmla="*/ 673767 w 673766"/>
                <a:gd name="connsiteY1" fmla="*/ 234324 h 351168"/>
                <a:gd name="connsiteX2" fmla="*/ 506119 w 673766"/>
                <a:gd name="connsiteY2" fmla="*/ 351169 h 351168"/>
                <a:gd name="connsiteX3" fmla="*/ 337836 w 673766"/>
                <a:gd name="connsiteY3" fmla="*/ 234959 h 351168"/>
                <a:gd name="connsiteX4" fmla="*/ 337201 w 673766"/>
                <a:gd name="connsiteY4" fmla="*/ 234324 h 351168"/>
                <a:gd name="connsiteX5" fmla="*/ 168283 w 673766"/>
                <a:gd name="connsiteY5" fmla="*/ 351169 h 351168"/>
                <a:gd name="connsiteX6" fmla="*/ 0 w 673766"/>
                <a:gd name="connsiteY6" fmla="*/ 23432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201" y="0"/>
                  </a:moveTo>
                  <a:lnTo>
                    <a:pt x="673767" y="234324"/>
                  </a:lnTo>
                  <a:lnTo>
                    <a:pt x="506119" y="351169"/>
                  </a:lnTo>
                  <a:lnTo>
                    <a:pt x="337836" y="234959"/>
                  </a:lnTo>
                  <a:lnTo>
                    <a:pt x="337201" y="234324"/>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164" name="Freeform: Shape 163">
              <a:extLst>
                <a:ext uri="{FF2B5EF4-FFF2-40B4-BE49-F238E27FC236}">
                  <a16:creationId xmlns:a16="http://schemas.microsoft.com/office/drawing/2014/main" id="{2A70D793-87DE-4F81-8F0A-B87F7AD5AF59}"/>
                </a:ext>
              </a:extLst>
            </p:cNvPr>
            <p:cNvSpPr/>
            <p:nvPr/>
          </p:nvSpPr>
          <p:spPr>
            <a:xfrm>
              <a:off x="9288500" y="3427232"/>
              <a:ext cx="163837" cy="227339"/>
            </a:xfrm>
            <a:custGeom>
              <a:avLst/>
              <a:gdLst>
                <a:gd name="connsiteX0" fmla="*/ 0 w 163837"/>
                <a:gd name="connsiteY0" fmla="*/ 0 h 227339"/>
                <a:gd name="connsiteX1" fmla="*/ 163838 w 163837"/>
                <a:gd name="connsiteY1" fmla="*/ 114305 h 227339"/>
                <a:gd name="connsiteX2" fmla="*/ 0 w 163837"/>
                <a:gd name="connsiteY2" fmla="*/ 227339 h 227339"/>
              </a:gdLst>
              <a:ahLst/>
              <a:cxnLst>
                <a:cxn ang="0">
                  <a:pos x="connsiteX0" y="connsiteY0"/>
                </a:cxn>
                <a:cxn ang="0">
                  <a:pos x="connsiteX1" y="connsiteY1"/>
                </a:cxn>
                <a:cxn ang="0">
                  <a:pos x="connsiteX2" y="connsiteY2"/>
                </a:cxn>
              </a:cxnLst>
              <a:rect l="l" t="t" r="r" b="b"/>
              <a:pathLst>
                <a:path w="163837" h="227339">
                  <a:moveTo>
                    <a:pt x="0" y="0"/>
                  </a:moveTo>
                  <a:lnTo>
                    <a:pt x="163838"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165" name="Freeform: Shape 164">
              <a:extLst>
                <a:ext uri="{FF2B5EF4-FFF2-40B4-BE49-F238E27FC236}">
                  <a16:creationId xmlns:a16="http://schemas.microsoft.com/office/drawing/2014/main" id="{0F1D6452-3A21-4400-9D41-9F01D2775F61}"/>
                </a:ext>
              </a:extLst>
            </p:cNvPr>
            <p:cNvSpPr/>
            <p:nvPr/>
          </p:nvSpPr>
          <p:spPr>
            <a:xfrm>
              <a:off x="9289770" y="3662191"/>
              <a:ext cx="673766" cy="351168"/>
            </a:xfrm>
            <a:custGeom>
              <a:avLst/>
              <a:gdLst>
                <a:gd name="connsiteX0" fmla="*/ 337836 w 673766"/>
                <a:gd name="connsiteY0" fmla="*/ 234959 h 351168"/>
                <a:gd name="connsiteX1" fmla="*/ 337201 w 673766"/>
                <a:gd name="connsiteY1" fmla="*/ 234324 h 351168"/>
                <a:gd name="connsiteX2" fmla="*/ 168283 w 673766"/>
                <a:gd name="connsiteY2" fmla="*/ 351169 h 351168"/>
                <a:gd name="connsiteX3" fmla="*/ 0 w 673766"/>
                <a:gd name="connsiteY3" fmla="*/ 234324 h 351168"/>
                <a:gd name="connsiteX4" fmla="*/ 337201 w 673766"/>
                <a:gd name="connsiteY4" fmla="*/ 0 h 351168"/>
                <a:gd name="connsiteX5" fmla="*/ 673767 w 673766"/>
                <a:gd name="connsiteY5" fmla="*/ 234324 h 351168"/>
                <a:gd name="connsiteX6" fmla="*/ 506119 w 673766"/>
                <a:gd name="connsiteY6" fmla="*/ 351169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959"/>
                  </a:moveTo>
                  <a:lnTo>
                    <a:pt x="337201" y="234324"/>
                  </a:lnTo>
                  <a:lnTo>
                    <a:pt x="168283" y="351169"/>
                  </a:lnTo>
                  <a:lnTo>
                    <a:pt x="0" y="234324"/>
                  </a:lnTo>
                  <a:lnTo>
                    <a:pt x="337201" y="0"/>
                  </a:lnTo>
                  <a:lnTo>
                    <a:pt x="673767" y="234324"/>
                  </a:lnTo>
                  <a:lnTo>
                    <a:pt x="506119"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166" name="Freeform: Shape 165">
              <a:extLst>
                <a:ext uri="{FF2B5EF4-FFF2-40B4-BE49-F238E27FC236}">
                  <a16:creationId xmlns:a16="http://schemas.microsoft.com/office/drawing/2014/main" id="{774C12C6-603B-4637-83A0-D155265A823C}"/>
                </a:ext>
              </a:extLst>
            </p:cNvPr>
            <p:cNvSpPr/>
            <p:nvPr/>
          </p:nvSpPr>
          <p:spPr>
            <a:xfrm>
              <a:off x="9288500"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167" name="Freeform: Shape 166">
              <a:extLst>
                <a:ext uri="{FF2B5EF4-FFF2-40B4-BE49-F238E27FC236}">
                  <a16:creationId xmlns:a16="http://schemas.microsoft.com/office/drawing/2014/main" id="{2F1D8781-0394-4F3C-B730-5BEC4575B2A2}"/>
                </a:ext>
              </a:extLst>
            </p:cNvPr>
            <p:cNvSpPr/>
            <p:nvPr/>
          </p:nvSpPr>
          <p:spPr>
            <a:xfrm>
              <a:off x="9289770" y="3307847"/>
              <a:ext cx="333390" cy="231149"/>
            </a:xfrm>
            <a:custGeom>
              <a:avLst/>
              <a:gdLst>
                <a:gd name="connsiteX0" fmla="*/ 165743 w 333390"/>
                <a:gd name="connsiteY0" fmla="*/ 231149 h 231149"/>
                <a:gd name="connsiteX1" fmla="*/ 0 w 333390"/>
                <a:gd name="connsiteY1" fmla="*/ 115574 h 231149"/>
                <a:gd name="connsiteX2" fmla="*/ 165743 w 333390"/>
                <a:gd name="connsiteY2" fmla="*/ 0 h 231149"/>
                <a:gd name="connsiteX3" fmla="*/ 333391 w 333390"/>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4"/>
                  </a:lnTo>
                  <a:lnTo>
                    <a:pt x="165743" y="0"/>
                  </a:lnTo>
                  <a:lnTo>
                    <a:pt x="333391"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168" name="Freeform: Shape 167">
              <a:extLst>
                <a:ext uri="{FF2B5EF4-FFF2-40B4-BE49-F238E27FC236}">
                  <a16:creationId xmlns:a16="http://schemas.microsoft.com/office/drawing/2014/main" id="{AAAC85FC-F0B0-4EBE-8393-DB8FB46BCABA}"/>
                </a:ext>
              </a:extLst>
            </p:cNvPr>
            <p:cNvSpPr/>
            <p:nvPr/>
          </p:nvSpPr>
          <p:spPr>
            <a:xfrm>
              <a:off x="9119582" y="3191002"/>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169" name="Freeform: Shape 168">
              <a:extLst>
                <a:ext uri="{FF2B5EF4-FFF2-40B4-BE49-F238E27FC236}">
                  <a16:creationId xmlns:a16="http://schemas.microsoft.com/office/drawing/2014/main" id="{9C99AAD3-E85A-4053-AFB8-4CAF981BAD2C}"/>
                </a:ext>
              </a:extLst>
            </p:cNvPr>
            <p:cNvSpPr/>
            <p:nvPr/>
          </p:nvSpPr>
          <p:spPr>
            <a:xfrm>
              <a:off x="8607749"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170" name="Freeform: Shape 169">
              <a:extLst>
                <a:ext uri="{FF2B5EF4-FFF2-40B4-BE49-F238E27FC236}">
                  <a16:creationId xmlns:a16="http://schemas.microsoft.com/office/drawing/2014/main" id="{A02A5EF0-D6FD-47C1-8EE2-249D61B33AA3}"/>
                </a:ext>
              </a:extLst>
            </p:cNvPr>
            <p:cNvSpPr/>
            <p:nvPr/>
          </p:nvSpPr>
          <p:spPr>
            <a:xfrm>
              <a:off x="8609018" y="3307847"/>
              <a:ext cx="334025" cy="231149"/>
            </a:xfrm>
            <a:custGeom>
              <a:avLst/>
              <a:gdLst>
                <a:gd name="connsiteX0" fmla="*/ 166378 w 334025"/>
                <a:gd name="connsiteY0" fmla="*/ 231149 h 231149"/>
                <a:gd name="connsiteX1" fmla="*/ 0 w 334025"/>
                <a:gd name="connsiteY1" fmla="*/ 115574 h 231149"/>
                <a:gd name="connsiteX2" fmla="*/ 166378 w 334025"/>
                <a:gd name="connsiteY2" fmla="*/ 0 h 231149"/>
                <a:gd name="connsiteX3" fmla="*/ 334026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4"/>
                  </a:lnTo>
                  <a:lnTo>
                    <a:pt x="166378" y="0"/>
                  </a:lnTo>
                  <a:lnTo>
                    <a:pt x="334026"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171" name="Freeform: Shape 170">
              <a:extLst>
                <a:ext uri="{FF2B5EF4-FFF2-40B4-BE49-F238E27FC236}">
                  <a16:creationId xmlns:a16="http://schemas.microsoft.com/office/drawing/2014/main" id="{0E674B08-9323-44DD-8010-D2A6EC32F530}"/>
                </a:ext>
              </a:extLst>
            </p:cNvPr>
            <p:cNvSpPr/>
            <p:nvPr/>
          </p:nvSpPr>
          <p:spPr>
            <a:xfrm>
              <a:off x="8438830" y="3191002"/>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172" name="Freeform: Shape 171">
              <a:extLst>
                <a:ext uri="{FF2B5EF4-FFF2-40B4-BE49-F238E27FC236}">
                  <a16:creationId xmlns:a16="http://schemas.microsoft.com/office/drawing/2014/main" id="{946BBEF1-267C-4AD1-B85E-A4FBE21362EB}"/>
                </a:ext>
              </a:extLst>
            </p:cNvPr>
            <p:cNvSpPr/>
            <p:nvPr/>
          </p:nvSpPr>
          <p:spPr>
            <a:xfrm>
              <a:off x="7926997"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173" name="Freeform: Shape 172">
              <a:extLst>
                <a:ext uri="{FF2B5EF4-FFF2-40B4-BE49-F238E27FC236}">
                  <a16:creationId xmlns:a16="http://schemas.microsoft.com/office/drawing/2014/main" id="{13A23F61-F056-4D12-8B05-D563E7048BA1}"/>
                </a:ext>
              </a:extLst>
            </p:cNvPr>
            <p:cNvSpPr/>
            <p:nvPr/>
          </p:nvSpPr>
          <p:spPr>
            <a:xfrm>
              <a:off x="7928267" y="3307847"/>
              <a:ext cx="334025" cy="231149"/>
            </a:xfrm>
            <a:custGeom>
              <a:avLst/>
              <a:gdLst>
                <a:gd name="connsiteX0" fmla="*/ 166377 w 334025"/>
                <a:gd name="connsiteY0" fmla="*/ 231149 h 231149"/>
                <a:gd name="connsiteX1" fmla="*/ 0 w 334025"/>
                <a:gd name="connsiteY1" fmla="*/ 115574 h 231149"/>
                <a:gd name="connsiteX2" fmla="*/ 166377 w 334025"/>
                <a:gd name="connsiteY2" fmla="*/ 0 h 231149"/>
                <a:gd name="connsiteX3" fmla="*/ 334025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7" y="231149"/>
                  </a:moveTo>
                  <a:lnTo>
                    <a:pt x="0" y="115574"/>
                  </a:lnTo>
                  <a:lnTo>
                    <a:pt x="166377" y="0"/>
                  </a:lnTo>
                  <a:lnTo>
                    <a:pt x="334025"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174" name="Freeform: Shape 173">
              <a:extLst>
                <a:ext uri="{FF2B5EF4-FFF2-40B4-BE49-F238E27FC236}">
                  <a16:creationId xmlns:a16="http://schemas.microsoft.com/office/drawing/2014/main" id="{6FE04AAF-6A69-46B2-9D71-250F4020D579}"/>
                </a:ext>
              </a:extLst>
            </p:cNvPr>
            <p:cNvSpPr/>
            <p:nvPr/>
          </p:nvSpPr>
          <p:spPr>
            <a:xfrm>
              <a:off x="7758079" y="3191002"/>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175" name="Freeform: Shape 174">
              <a:extLst>
                <a:ext uri="{FF2B5EF4-FFF2-40B4-BE49-F238E27FC236}">
                  <a16:creationId xmlns:a16="http://schemas.microsoft.com/office/drawing/2014/main" id="{5BA43401-1218-45DB-83FD-7702F0E63617}"/>
                </a:ext>
              </a:extLst>
            </p:cNvPr>
            <p:cNvSpPr/>
            <p:nvPr/>
          </p:nvSpPr>
          <p:spPr>
            <a:xfrm>
              <a:off x="7246245"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176" name="Freeform: Shape 175">
              <a:extLst>
                <a:ext uri="{FF2B5EF4-FFF2-40B4-BE49-F238E27FC236}">
                  <a16:creationId xmlns:a16="http://schemas.microsoft.com/office/drawing/2014/main" id="{DE2034FB-C0FD-4E6F-91B7-1A9E6B330395}"/>
                </a:ext>
              </a:extLst>
            </p:cNvPr>
            <p:cNvSpPr/>
            <p:nvPr/>
          </p:nvSpPr>
          <p:spPr>
            <a:xfrm>
              <a:off x="7247515" y="3307847"/>
              <a:ext cx="334025" cy="231149"/>
            </a:xfrm>
            <a:custGeom>
              <a:avLst/>
              <a:gdLst>
                <a:gd name="connsiteX0" fmla="*/ 166378 w 334025"/>
                <a:gd name="connsiteY0" fmla="*/ 231149 h 231149"/>
                <a:gd name="connsiteX1" fmla="*/ 0 w 334025"/>
                <a:gd name="connsiteY1" fmla="*/ 115574 h 231149"/>
                <a:gd name="connsiteX2" fmla="*/ 166378 w 334025"/>
                <a:gd name="connsiteY2" fmla="*/ 0 h 231149"/>
                <a:gd name="connsiteX3" fmla="*/ 334025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4"/>
                  </a:lnTo>
                  <a:lnTo>
                    <a:pt x="166378" y="0"/>
                  </a:lnTo>
                  <a:lnTo>
                    <a:pt x="334025"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177" name="Freeform: Shape 176">
              <a:extLst>
                <a:ext uri="{FF2B5EF4-FFF2-40B4-BE49-F238E27FC236}">
                  <a16:creationId xmlns:a16="http://schemas.microsoft.com/office/drawing/2014/main" id="{4C2B280D-E981-4DD3-8C95-D6E8B75C6BCD}"/>
                </a:ext>
              </a:extLst>
            </p:cNvPr>
            <p:cNvSpPr/>
            <p:nvPr/>
          </p:nvSpPr>
          <p:spPr>
            <a:xfrm>
              <a:off x="7077327" y="3191002"/>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178" name="Freeform: Shape 177">
              <a:extLst>
                <a:ext uri="{FF2B5EF4-FFF2-40B4-BE49-F238E27FC236}">
                  <a16:creationId xmlns:a16="http://schemas.microsoft.com/office/drawing/2014/main" id="{33867644-AA12-4EC2-ADED-D3AF2C07226E}"/>
                </a:ext>
              </a:extLst>
            </p:cNvPr>
            <p:cNvSpPr/>
            <p:nvPr/>
          </p:nvSpPr>
          <p:spPr>
            <a:xfrm>
              <a:off x="6565493"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179" name="Freeform: Shape 178">
              <a:extLst>
                <a:ext uri="{FF2B5EF4-FFF2-40B4-BE49-F238E27FC236}">
                  <a16:creationId xmlns:a16="http://schemas.microsoft.com/office/drawing/2014/main" id="{C5F93F10-F0D6-4A82-A903-5CCB76D11F1C}"/>
                </a:ext>
              </a:extLst>
            </p:cNvPr>
            <p:cNvSpPr/>
            <p:nvPr/>
          </p:nvSpPr>
          <p:spPr>
            <a:xfrm>
              <a:off x="6566763" y="3307847"/>
              <a:ext cx="334025" cy="231149"/>
            </a:xfrm>
            <a:custGeom>
              <a:avLst/>
              <a:gdLst>
                <a:gd name="connsiteX0" fmla="*/ 166378 w 334025"/>
                <a:gd name="connsiteY0" fmla="*/ 231149 h 231149"/>
                <a:gd name="connsiteX1" fmla="*/ 0 w 334025"/>
                <a:gd name="connsiteY1" fmla="*/ 115574 h 231149"/>
                <a:gd name="connsiteX2" fmla="*/ 166378 w 334025"/>
                <a:gd name="connsiteY2" fmla="*/ 0 h 231149"/>
                <a:gd name="connsiteX3" fmla="*/ 334026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4"/>
                  </a:lnTo>
                  <a:lnTo>
                    <a:pt x="166378" y="0"/>
                  </a:lnTo>
                  <a:lnTo>
                    <a:pt x="334026"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180" name="Freeform: Shape 179">
              <a:extLst>
                <a:ext uri="{FF2B5EF4-FFF2-40B4-BE49-F238E27FC236}">
                  <a16:creationId xmlns:a16="http://schemas.microsoft.com/office/drawing/2014/main" id="{229F99F4-0E43-4E0E-910F-CCDCDE892330}"/>
                </a:ext>
              </a:extLst>
            </p:cNvPr>
            <p:cNvSpPr/>
            <p:nvPr/>
          </p:nvSpPr>
          <p:spPr>
            <a:xfrm>
              <a:off x="6396575" y="3191002"/>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181" name="Freeform: Shape 180">
              <a:extLst>
                <a:ext uri="{FF2B5EF4-FFF2-40B4-BE49-F238E27FC236}">
                  <a16:creationId xmlns:a16="http://schemas.microsoft.com/office/drawing/2014/main" id="{EE0CE674-AA74-495B-8852-79990673FDD2}"/>
                </a:ext>
              </a:extLst>
            </p:cNvPr>
            <p:cNvSpPr/>
            <p:nvPr/>
          </p:nvSpPr>
          <p:spPr>
            <a:xfrm>
              <a:off x="5884741" y="3427232"/>
              <a:ext cx="336565" cy="466108"/>
            </a:xfrm>
            <a:custGeom>
              <a:avLst/>
              <a:gdLst>
                <a:gd name="connsiteX0" fmla="*/ 336566 w 336565"/>
                <a:gd name="connsiteY0" fmla="*/ 231784 h 466108"/>
                <a:gd name="connsiteX1" fmla="*/ 0 w 336565"/>
                <a:gd name="connsiteY1" fmla="*/ 466108 h 466108"/>
                <a:gd name="connsiteX2" fmla="*/ 0 w 336565"/>
                <a:gd name="connsiteY2" fmla="*/ 231784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8"/>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182" name="Freeform: Shape 181">
              <a:extLst>
                <a:ext uri="{FF2B5EF4-FFF2-40B4-BE49-F238E27FC236}">
                  <a16:creationId xmlns:a16="http://schemas.microsoft.com/office/drawing/2014/main" id="{7F84C14D-69E9-44A9-91A0-58D35CC129CF}"/>
                </a:ext>
              </a:extLst>
            </p:cNvPr>
            <p:cNvSpPr/>
            <p:nvPr/>
          </p:nvSpPr>
          <p:spPr>
            <a:xfrm>
              <a:off x="5886011" y="3307847"/>
              <a:ext cx="334025" cy="231149"/>
            </a:xfrm>
            <a:custGeom>
              <a:avLst/>
              <a:gdLst>
                <a:gd name="connsiteX0" fmla="*/ 166378 w 334025"/>
                <a:gd name="connsiteY0" fmla="*/ 231149 h 231149"/>
                <a:gd name="connsiteX1" fmla="*/ 0 w 334025"/>
                <a:gd name="connsiteY1" fmla="*/ 115574 h 231149"/>
                <a:gd name="connsiteX2" fmla="*/ 166378 w 334025"/>
                <a:gd name="connsiteY2" fmla="*/ 0 h 231149"/>
                <a:gd name="connsiteX3" fmla="*/ 334026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4"/>
                  </a:lnTo>
                  <a:lnTo>
                    <a:pt x="166378" y="0"/>
                  </a:lnTo>
                  <a:lnTo>
                    <a:pt x="334026"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183" name="Freeform: Shape 182">
              <a:extLst>
                <a:ext uri="{FF2B5EF4-FFF2-40B4-BE49-F238E27FC236}">
                  <a16:creationId xmlns:a16="http://schemas.microsoft.com/office/drawing/2014/main" id="{07563523-AA85-4FC4-A4F4-03EE190DBCCD}"/>
                </a:ext>
              </a:extLst>
            </p:cNvPr>
            <p:cNvSpPr/>
            <p:nvPr/>
          </p:nvSpPr>
          <p:spPr>
            <a:xfrm>
              <a:off x="5715823" y="3191002"/>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184" name="Freeform: Shape 183">
              <a:extLst>
                <a:ext uri="{FF2B5EF4-FFF2-40B4-BE49-F238E27FC236}">
                  <a16:creationId xmlns:a16="http://schemas.microsoft.com/office/drawing/2014/main" id="{BCAD2BC0-B6ED-48BF-AE2E-0FB290D004E5}"/>
                </a:ext>
              </a:extLst>
            </p:cNvPr>
            <p:cNvSpPr/>
            <p:nvPr/>
          </p:nvSpPr>
          <p:spPr>
            <a:xfrm>
              <a:off x="9628876" y="3190367"/>
              <a:ext cx="336565" cy="702973"/>
            </a:xfrm>
            <a:custGeom>
              <a:avLst/>
              <a:gdLst>
                <a:gd name="connsiteX0" fmla="*/ 0 w 336565"/>
                <a:gd name="connsiteY0" fmla="*/ 468649 h 702973"/>
                <a:gd name="connsiteX1" fmla="*/ 0 w 336565"/>
                <a:gd name="connsiteY1" fmla="*/ 0 h 702973"/>
                <a:gd name="connsiteX2" fmla="*/ 167648 w 336565"/>
                <a:gd name="connsiteY2" fmla="*/ 116845 h 702973"/>
                <a:gd name="connsiteX3" fmla="*/ 167648 w 336565"/>
                <a:gd name="connsiteY3" fmla="*/ 351804 h 702973"/>
                <a:gd name="connsiteX4" fmla="*/ 336566 w 336565"/>
                <a:gd name="connsiteY4" fmla="*/ 468649 h 702973"/>
                <a:gd name="connsiteX5" fmla="*/ 336566 w 336565"/>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0" y="468649"/>
                  </a:moveTo>
                  <a:lnTo>
                    <a:pt x="0" y="0"/>
                  </a:lnTo>
                  <a:lnTo>
                    <a:pt x="167648" y="116845"/>
                  </a:lnTo>
                  <a:lnTo>
                    <a:pt x="167648" y="351804"/>
                  </a:lnTo>
                  <a:lnTo>
                    <a:pt x="336566" y="468649"/>
                  </a:lnTo>
                  <a:lnTo>
                    <a:pt x="336566" y="702973"/>
                  </a:lnTo>
                  <a:close/>
                </a:path>
              </a:pathLst>
            </a:custGeom>
            <a:noFill/>
            <a:ln w="3175" cap="flat">
              <a:solidFill>
                <a:schemeClr val="bg1">
                  <a:alpha val="30000"/>
                </a:schemeClr>
              </a:solidFill>
              <a:prstDash val="solid"/>
              <a:miter/>
            </a:ln>
          </p:spPr>
          <p:txBody>
            <a:bodyPr rtlCol="0" anchor="ctr"/>
            <a:lstStyle/>
            <a:p>
              <a:endParaRPr lang="en-GB"/>
            </a:p>
          </p:txBody>
        </p:sp>
        <p:sp>
          <p:nvSpPr>
            <p:cNvPr id="185" name="Freeform: Shape 184">
              <a:extLst>
                <a:ext uri="{FF2B5EF4-FFF2-40B4-BE49-F238E27FC236}">
                  <a16:creationId xmlns:a16="http://schemas.microsoft.com/office/drawing/2014/main" id="{4DF85614-C557-4B3B-A368-FA432ECBF4F4}"/>
                </a:ext>
              </a:extLst>
            </p:cNvPr>
            <p:cNvSpPr/>
            <p:nvPr/>
          </p:nvSpPr>
          <p:spPr>
            <a:xfrm>
              <a:off x="9968617" y="3427232"/>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186" name="Freeform: Shape 185">
              <a:extLst>
                <a:ext uri="{FF2B5EF4-FFF2-40B4-BE49-F238E27FC236}">
                  <a16:creationId xmlns:a16="http://schemas.microsoft.com/office/drawing/2014/main" id="{5D81394A-586B-4F10-A588-2149F3C03127}"/>
                </a:ext>
              </a:extLst>
            </p:cNvPr>
            <p:cNvSpPr/>
            <p:nvPr/>
          </p:nvSpPr>
          <p:spPr>
            <a:xfrm>
              <a:off x="9970522" y="3307847"/>
              <a:ext cx="333390" cy="231149"/>
            </a:xfrm>
            <a:custGeom>
              <a:avLst/>
              <a:gdLst>
                <a:gd name="connsiteX0" fmla="*/ 165743 w 333390"/>
                <a:gd name="connsiteY0" fmla="*/ 231149 h 231149"/>
                <a:gd name="connsiteX1" fmla="*/ 0 w 333390"/>
                <a:gd name="connsiteY1" fmla="*/ 115574 h 231149"/>
                <a:gd name="connsiteX2" fmla="*/ 165743 w 333390"/>
                <a:gd name="connsiteY2" fmla="*/ 0 h 231149"/>
                <a:gd name="connsiteX3" fmla="*/ 333391 w 333390"/>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4"/>
                  </a:lnTo>
                  <a:lnTo>
                    <a:pt x="165743" y="0"/>
                  </a:lnTo>
                  <a:lnTo>
                    <a:pt x="333391"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187" name="Freeform: Shape 186">
              <a:extLst>
                <a:ext uri="{FF2B5EF4-FFF2-40B4-BE49-F238E27FC236}">
                  <a16:creationId xmlns:a16="http://schemas.microsoft.com/office/drawing/2014/main" id="{E0FA01CE-7307-4106-B27F-DCCA23FAA253}"/>
                </a:ext>
              </a:extLst>
            </p:cNvPr>
            <p:cNvSpPr/>
            <p:nvPr/>
          </p:nvSpPr>
          <p:spPr>
            <a:xfrm>
              <a:off x="9800334" y="3191002"/>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5 w 332755"/>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5"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188" name="Freeform: Shape 187">
              <a:extLst>
                <a:ext uri="{FF2B5EF4-FFF2-40B4-BE49-F238E27FC236}">
                  <a16:creationId xmlns:a16="http://schemas.microsoft.com/office/drawing/2014/main" id="{FBEAD109-E3CE-4F5E-B1E6-F850AB51CEF9}"/>
                </a:ext>
              </a:extLst>
            </p:cNvPr>
            <p:cNvSpPr/>
            <p:nvPr/>
          </p:nvSpPr>
          <p:spPr>
            <a:xfrm>
              <a:off x="9459323"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189" name="Freeform: Shape 188">
              <a:extLst>
                <a:ext uri="{FF2B5EF4-FFF2-40B4-BE49-F238E27FC236}">
                  <a16:creationId xmlns:a16="http://schemas.microsoft.com/office/drawing/2014/main" id="{F9991A34-08C6-4F3B-8827-DF28C23D5F41}"/>
                </a:ext>
              </a:extLst>
            </p:cNvPr>
            <p:cNvSpPr/>
            <p:nvPr/>
          </p:nvSpPr>
          <p:spPr>
            <a:xfrm>
              <a:off x="8778571"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190" name="Freeform: Shape 189">
              <a:extLst>
                <a:ext uri="{FF2B5EF4-FFF2-40B4-BE49-F238E27FC236}">
                  <a16:creationId xmlns:a16="http://schemas.microsoft.com/office/drawing/2014/main" id="{96A6F7FB-8246-4F98-88D7-40836ECECC83}"/>
                </a:ext>
              </a:extLst>
            </p:cNvPr>
            <p:cNvSpPr/>
            <p:nvPr/>
          </p:nvSpPr>
          <p:spPr>
            <a:xfrm>
              <a:off x="8097819"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191" name="Freeform: Shape 190">
              <a:extLst>
                <a:ext uri="{FF2B5EF4-FFF2-40B4-BE49-F238E27FC236}">
                  <a16:creationId xmlns:a16="http://schemas.microsoft.com/office/drawing/2014/main" id="{36370102-4813-4D57-B4DB-53E6B01F152F}"/>
                </a:ext>
              </a:extLst>
            </p:cNvPr>
            <p:cNvSpPr/>
            <p:nvPr/>
          </p:nvSpPr>
          <p:spPr>
            <a:xfrm>
              <a:off x="7417068"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192" name="Freeform: Shape 191">
              <a:extLst>
                <a:ext uri="{FF2B5EF4-FFF2-40B4-BE49-F238E27FC236}">
                  <a16:creationId xmlns:a16="http://schemas.microsoft.com/office/drawing/2014/main" id="{BBA6BBAC-8562-4F72-83F6-01D58ACEA14D}"/>
                </a:ext>
              </a:extLst>
            </p:cNvPr>
            <p:cNvSpPr/>
            <p:nvPr/>
          </p:nvSpPr>
          <p:spPr>
            <a:xfrm>
              <a:off x="6736316"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193" name="Freeform: Shape 192">
              <a:extLst>
                <a:ext uri="{FF2B5EF4-FFF2-40B4-BE49-F238E27FC236}">
                  <a16:creationId xmlns:a16="http://schemas.microsoft.com/office/drawing/2014/main" id="{59C81D27-5AC8-4761-B96B-D61530DF2731}"/>
                </a:ext>
              </a:extLst>
            </p:cNvPr>
            <p:cNvSpPr/>
            <p:nvPr/>
          </p:nvSpPr>
          <p:spPr>
            <a:xfrm>
              <a:off x="6055564" y="3190367"/>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194" name="Freeform: Shape 193">
              <a:extLst>
                <a:ext uri="{FF2B5EF4-FFF2-40B4-BE49-F238E27FC236}">
                  <a16:creationId xmlns:a16="http://schemas.microsoft.com/office/drawing/2014/main" id="{3ECE58F1-342F-4449-A8B2-EAF7572C00F7}"/>
                </a:ext>
              </a:extLst>
            </p:cNvPr>
            <p:cNvSpPr/>
            <p:nvPr/>
          </p:nvSpPr>
          <p:spPr>
            <a:xfrm>
              <a:off x="10139440" y="3190367"/>
              <a:ext cx="166377" cy="229879"/>
            </a:xfrm>
            <a:custGeom>
              <a:avLst/>
              <a:gdLst>
                <a:gd name="connsiteX0" fmla="*/ 0 w 166377"/>
                <a:gd name="connsiteY0" fmla="*/ 115575 h 229879"/>
                <a:gd name="connsiteX1" fmla="*/ 166378 w 166377"/>
                <a:gd name="connsiteY1" fmla="*/ 0 h 229879"/>
                <a:gd name="connsiteX2" fmla="*/ 166378 w 166377"/>
                <a:gd name="connsiteY2" fmla="*/ 229879 h 229879"/>
              </a:gdLst>
              <a:ahLst/>
              <a:cxnLst>
                <a:cxn ang="0">
                  <a:pos x="connsiteX0" y="connsiteY0"/>
                </a:cxn>
                <a:cxn ang="0">
                  <a:pos x="connsiteX1" y="connsiteY1"/>
                </a:cxn>
                <a:cxn ang="0">
                  <a:pos x="connsiteX2" y="connsiteY2"/>
                </a:cxn>
              </a:cxnLst>
              <a:rect l="l" t="t" r="r" b="b"/>
              <a:pathLst>
                <a:path w="166377" h="229879">
                  <a:moveTo>
                    <a:pt x="0" y="115575"/>
                  </a:moveTo>
                  <a:lnTo>
                    <a:pt x="166378" y="0"/>
                  </a:lnTo>
                  <a:lnTo>
                    <a:pt x="166378" y="229879"/>
                  </a:lnTo>
                  <a:close/>
                </a:path>
              </a:pathLst>
            </a:custGeom>
            <a:noFill/>
            <a:ln w="3175" cap="flat">
              <a:solidFill>
                <a:schemeClr val="bg1">
                  <a:alpha val="30000"/>
                </a:schemeClr>
              </a:solidFill>
              <a:prstDash val="solid"/>
              <a:miter/>
            </a:ln>
          </p:spPr>
          <p:txBody>
            <a:bodyPr rtlCol="0" anchor="ctr"/>
            <a:lstStyle/>
            <a:p>
              <a:endParaRPr lang="en-GB"/>
            </a:p>
          </p:txBody>
        </p:sp>
        <p:sp>
          <p:nvSpPr>
            <p:cNvPr id="195" name="Freeform: Shape 194">
              <a:extLst>
                <a:ext uri="{FF2B5EF4-FFF2-40B4-BE49-F238E27FC236}">
                  <a16:creationId xmlns:a16="http://schemas.microsoft.com/office/drawing/2014/main" id="{9685CDF7-98A0-41F9-82BF-A0E2920AC938}"/>
                </a:ext>
              </a:extLst>
            </p:cNvPr>
            <p:cNvSpPr/>
            <p:nvPr/>
          </p:nvSpPr>
          <p:spPr>
            <a:xfrm>
              <a:off x="9628876"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196" name="Freeform: Shape 195">
              <a:extLst>
                <a:ext uri="{FF2B5EF4-FFF2-40B4-BE49-F238E27FC236}">
                  <a16:creationId xmlns:a16="http://schemas.microsoft.com/office/drawing/2014/main" id="{2B114F73-3027-48D2-8CE1-B0F88AB3AB13}"/>
                </a:ext>
              </a:extLst>
            </p:cNvPr>
            <p:cNvSpPr/>
            <p:nvPr/>
          </p:nvSpPr>
          <p:spPr>
            <a:xfrm>
              <a:off x="9630146" y="2598524"/>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197" name="Freeform: Shape 196">
              <a:extLst>
                <a:ext uri="{FF2B5EF4-FFF2-40B4-BE49-F238E27FC236}">
                  <a16:creationId xmlns:a16="http://schemas.microsoft.com/office/drawing/2014/main" id="{2C58577A-4B1A-4C40-8FD3-A8082B407BCC}"/>
                </a:ext>
              </a:extLst>
            </p:cNvPr>
            <p:cNvSpPr/>
            <p:nvPr/>
          </p:nvSpPr>
          <p:spPr>
            <a:xfrm>
              <a:off x="9459958" y="2481679"/>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6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6"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198" name="Freeform: Shape 197">
              <a:extLst>
                <a:ext uri="{FF2B5EF4-FFF2-40B4-BE49-F238E27FC236}">
                  <a16:creationId xmlns:a16="http://schemas.microsoft.com/office/drawing/2014/main" id="{001B54A0-6DD8-4FF2-A586-1F54722672EB}"/>
                </a:ext>
              </a:extLst>
            </p:cNvPr>
            <p:cNvSpPr/>
            <p:nvPr/>
          </p:nvSpPr>
          <p:spPr>
            <a:xfrm>
              <a:off x="8948124"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199" name="Freeform: Shape 198">
              <a:extLst>
                <a:ext uri="{FF2B5EF4-FFF2-40B4-BE49-F238E27FC236}">
                  <a16:creationId xmlns:a16="http://schemas.microsoft.com/office/drawing/2014/main" id="{134E9526-3882-4149-94FB-61CCEDFF58A1}"/>
                </a:ext>
              </a:extLst>
            </p:cNvPr>
            <p:cNvSpPr/>
            <p:nvPr/>
          </p:nvSpPr>
          <p:spPr>
            <a:xfrm>
              <a:off x="8949395" y="2598524"/>
              <a:ext cx="334025" cy="231149"/>
            </a:xfrm>
            <a:custGeom>
              <a:avLst/>
              <a:gdLst>
                <a:gd name="connsiteX0" fmla="*/ 165743 w 334025"/>
                <a:gd name="connsiteY0" fmla="*/ 231149 h 231149"/>
                <a:gd name="connsiteX1" fmla="*/ 0 w 334025"/>
                <a:gd name="connsiteY1" fmla="*/ 115575 h 231149"/>
                <a:gd name="connsiteX2" fmla="*/ 165743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5743" y="231149"/>
                  </a:moveTo>
                  <a:lnTo>
                    <a:pt x="0" y="115575"/>
                  </a:lnTo>
                  <a:lnTo>
                    <a:pt x="165743"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00" name="Freeform: Shape 199">
              <a:extLst>
                <a:ext uri="{FF2B5EF4-FFF2-40B4-BE49-F238E27FC236}">
                  <a16:creationId xmlns:a16="http://schemas.microsoft.com/office/drawing/2014/main" id="{AE16586D-39DC-43B8-BFB7-737A8A8B9860}"/>
                </a:ext>
              </a:extLst>
            </p:cNvPr>
            <p:cNvSpPr/>
            <p:nvPr/>
          </p:nvSpPr>
          <p:spPr>
            <a:xfrm>
              <a:off x="8779207" y="2481679"/>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5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5"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01" name="Freeform: Shape 200">
              <a:extLst>
                <a:ext uri="{FF2B5EF4-FFF2-40B4-BE49-F238E27FC236}">
                  <a16:creationId xmlns:a16="http://schemas.microsoft.com/office/drawing/2014/main" id="{205F0529-BA29-4466-89E0-3E0FFECBCDEC}"/>
                </a:ext>
              </a:extLst>
            </p:cNvPr>
            <p:cNvSpPr/>
            <p:nvPr/>
          </p:nvSpPr>
          <p:spPr>
            <a:xfrm>
              <a:off x="8267372"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02" name="Freeform: Shape 201">
              <a:extLst>
                <a:ext uri="{FF2B5EF4-FFF2-40B4-BE49-F238E27FC236}">
                  <a16:creationId xmlns:a16="http://schemas.microsoft.com/office/drawing/2014/main" id="{D6ED1F7A-F39E-417F-BA23-DACEB4ED6ACF}"/>
                </a:ext>
              </a:extLst>
            </p:cNvPr>
            <p:cNvSpPr/>
            <p:nvPr/>
          </p:nvSpPr>
          <p:spPr>
            <a:xfrm>
              <a:off x="8268643" y="2598524"/>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03" name="Freeform: Shape 202">
              <a:extLst>
                <a:ext uri="{FF2B5EF4-FFF2-40B4-BE49-F238E27FC236}">
                  <a16:creationId xmlns:a16="http://schemas.microsoft.com/office/drawing/2014/main" id="{4BA212FF-B362-4351-B7F7-7973F5AE818E}"/>
                </a:ext>
              </a:extLst>
            </p:cNvPr>
            <p:cNvSpPr/>
            <p:nvPr/>
          </p:nvSpPr>
          <p:spPr>
            <a:xfrm>
              <a:off x="8098455" y="2481679"/>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5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5"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04" name="Freeform: Shape 203">
              <a:extLst>
                <a:ext uri="{FF2B5EF4-FFF2-40B4-BE49-F238E27FC236}">
                  <a16:creationId xmlns:a16="http://schemas.microsoft.com/office/drawing/2014/main" id="{40D28068-E3C3-485A-AC55-7220A97B727E}"/>
                </a:ext>
              </a:extLst>
            </p:cNvPr>
            <p:cNvSpPr/>
            <p:nvPr/>
          </p:nvSpPr>
          <p:spPr>
            <a:xfrm>
              <a:off x="7586621"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05" name="Freeform: Shape 204">
              <a:extLst>
                <a:ext uri="{FF2B5EF4-FFF2-40B4-BE49-F238E27FC236}">
                  <a16:creationId xmlns:a16="http://schemas.microsoft.com/office/drawing/2014/main" id="{21FDE1AC-A140-4914-825D-590E24CCB82C}"/>
                </a:ext>
              </a:extLst>
            </p:cNvPr>
            <p:cNvSpPr/>
            <p:nvPr/>
          </p:nvSpPr>
          <p:spPr>
            <a:xfrm>
              <a:off x="7587891" y="2598524"/>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06" name="Freeform: Shape 205">
              <a:extLst>
                <a:ext uri="{FF2B5EF4-FFF2-40B4-BE49-F238E27FC236}">
                  <a16:creationId xmlns:a16="http://schemas.microsoft.com/office/drawing/2014/main" id="{28E97E00-427C-4819-86AA-B171939DC277}"/>
                </a:ext>
              </a:extLst>
            </p:cNvPr>
            <p:cNvSpPr/>
            <p:nvPr/>
          </p:nvSpPr>
          <p:spPr>
            <a:xfrm>
              <a:off x="7417703" y="2481679"/>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07" name="Freeform: Shape 206">
              <a:extLst>
                <a:ext uri="{FF2B5EF4-FFF2-40B4-BE49-F238E27FC236}">
                  <a16:creationId xmlns:a16="http://schemas.microsoft.com/office/drawing/2014/main" id="{3ADC755C-F9F0-4452-9B92-85800B560E21}"/>
                </a:ext>
              </a:extLst>
            </p:cNvPr>
            <p:cNvSpPr/>
            <p:nvPr/>
          </p:nvSpPr>
          <p:spPr>
            <a:xfrm>
              <a:off x="6905869"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08" name="Freeform: Shape 207">
              <a:extLst>
                <a:ext uri="{FF2B5EF4-FFF2-40B4-BE49-F238E27FC236}">
                  <a16:creationId xmlns:a16="http://schemas.microsoft.com/office/drawing/2014/main" id="{AD118F9A-85D5-4B12-952B-190584895EC0}"/>
                </a:ext>
              </a:extLst>
            </p:cNvPr>
            <p:cNvSpPr/>
            <p:nvPr/>
          </p:nvSpPr>
          <p:spPr>
            <a:xfrm>
              <a:off x="6907139" y="2598524"/>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09" name="Freeform: Shape 208">
              <a:extLst>
                <a:ext uri="{FF2B5EF4-FFF2-40B4-BE49-F238E27FC236}">
                  <a16:creationId xmlns:a16="http://schemas.microsoft.com/office/drawing/2014/main" id="{8DF3ACF1-84C6-48F6-B683-6FB121110E41}"/>
                </a:ext>
              </a:extLst>
            </p:cNvPr>
            <p:cNvSpPr/>
            <p:nvPr/>
          </p:nvSpPr>
          <p:spPr>
            <a:xfrm>
              <a:off x="6736951" y="2481679"/>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10" name="Freeform: Shape 209">
              <a:extLst>
                <a:ext uri="{FF2B5EF4-FFF2-40B4-BE49-F238E27FC236}">
                  <a16:creationId xmlns:a16="http://schemas.microsoft.com/office/drawing/2014/main" id="{3FB540CF-F034-41E6-8A16-463327EF60D9}"/>
                </a:ext>
              </a:extLst>
            </p:cNvPr>
            <p:cNvSpPr/>
            <p:nvPr/>
          </p:nvSpPr>
          <p:spPr>
            <a:xfrm>
              <a:off x="6225117" y="2717273"/>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11" name="Freeform: Shape 210">
              <a:extLst>
                <a:ext uri="{FF2B5EF4-FFF2-40B4-BE49-F238E27FC236}">
                  <a16:creationId xmlns:a16="http://schemas.microsoft.com/office/drawing/2014/main" id="{BBEDB76A-5014-431B-AD21-144DD9F9A97B}"/>
                </a:ext>
              </a:extLst>
            </p:cNvPr>
            <p:cNvSpPr/>
            <p:nvPr/>
          </p:nvSpPr>
          <p:spPr>
            <a:xfrm>
              <a:off x="6226387" y="2598524"/>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12" name="Freeform: Shape 211">
              <a:extLst>
                <a:ext uri="{FF2B5EF4-FFF2-40B4-BE49-F238E27FC236}">
                  <a16:creationId xmlns:a16="http://schemas.microsoft.com/office/drawing/2014/main" id="{684F3FC6-D392-432F-9B6C-9D843538863B}"/>
                </a:ext>
              </a:extLst>
            </p:cNvPr>
            <p:cNvSpPr/>
            <p:nvPr/>
          </p:nvSpPr>
          <p:spPr>
            <a:xfrm>
              <a:off x="6056199" y="2481679"/>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13" name="Freeform: Shape 212">
              <a:extLst>
                <a:ext uri="{FF2B5EF4-FFF2-40B4-BE49-F238E27FC236}">
                  <a16:creationId xmlns:a16="http://schemas.microsoft.com/office/drawing/2014/main" id="{604EB1E1-3F66-4AEE-A52E-4AA863677FC7}"/>
                </a:ext>
              </a:extLst>
            </p:cNvPr>
            <p:cNvSpPr/>
            <p:nvPr/>
          </p:nvSpPr>
          <p:spPr>
            <a:xfrm>
              <a:off x="9970522" y="3662191"/>
              <a:ext cx="673766" cy="351168"/>
            </a:xfrm>
            <a:custGeom>
              <a:avLst/>
              <a:gdLst>
                <a:gd name="connsiteX0" fmla="*/ 337836 w 673766"/>
                <a:gd name="connsiteY0" fmla="*/ 234959 h 351168"/>
                <a:gd name="connsiteX1" fmla="*/ 336566 w 673766"/>
                <a:gd name="connsiteY1" fmla="*/ 234324 h 351168"/>
                <a:gd name="connsiteX2" fmla="*/ 168283 w 673766"/>
                <a:gd name="connsiteY2" fmla="*/ 351169 h 351168"/>
                <a:gd name="connsiteX3" fmla="*/ 0 w 673766"/>
                <a:gd name="connsiteY3" fmla="*/ 234324 h 351168"/>
                <a:gd name="connsiteX4" fmla="*/ 336566 w 673766"/>
                <a:gd name="connsiteY4" fmla="*/ 0 h 351168"/>
                <a:gd name="connsiteX5" fmla="*/ 673766 w 673766"/>
                <a:gd name="connsiteY5" fmla="*/ 234324 h 351168"/>
                <a:gd name="connsiteX6" fmla="*/ 506119 w 673766"/>
                <a:gd name="connsiteY6" fmla="*/ 351169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959"/>
                  </a:moveTo>
                  <a:lnTo>
                    <a:pt x="336566" y="234324"/>
                  </a:lnTo>
                  <a:lnTo>
                    <a:pt x="168283" y="351169"/>
                  </a:lnTo>
                  <a:lnTo>
                    <a:pt x="0" y="234324"/>
                  </a:lnTo>
                  <a:lnTo>
                    <a:pt x="336566" y="0"/>
                  </a:lnTo>
                  <a:lnTo>
                    <a:pt x="673766" y="234324"/>
                  </a:lnTo>
                  <a:lnTo>
                    <a:pt x="506119"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214" name="Freeform: Shape 213">
              <a:extLst>
                <a:ext uri="{FF2B5EF4-FFF2-40B4-BE49-F238E27FC236}">
                  <a16:creationId xmlns:a16="http://schemas.microsoft.com/office/drawing/2014/main" id="{8C90006C-884A-44DE-B7B0-BBF542823B83}"/>
                </a:ext>
              </a:extLst>
            </p:cNvPr>
            <p:cNvSpPr/>
            <p:nvPr/>
          </p:nvSpPr>
          <p:spPr>
            <a:xfrm>
              <a:off x="10310898" y="2598524"/>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15" name="Freeform: Shape 214">
              <a:extLst>
                <a:ext uri="{FF2B5EF4-FFF2-40B4-BE49-F238E27FC236}">
                  <a16:creationId xmlns:a16="http://schemas.microsoft.com/office/drawing/2014/main" id="{412182C1-AB3B-411B-8F55-17F69748A566}"/>
                </a:ext>
              </a:extLst>
            </p:cNvPr>
            <p:cNvSpPr/>
            <p:nvPr/>
          </p:nvSpPr>
          <p:spPr>
            <a:xfrm>
              <a:off x="10140075" y="2481679"/>
              <a:ext cx="333390" cy="463568"/>
            </a:xfrm>
            <a:custGeom>
              <a:avLst/>
              <a:gdLst>
                <a:gd name="connsiteX0" fmla="*/ 166378 w 333390"/>
                <a:gd name="connsiteY0" fmla="*/ 230514 h 463568"/>
                <a:gd name="connsiteX1" fmla="*/ 165743 w 333390"/>
                <a:gd name="connsiteY1" fmla="*/ 231149 h 463568"/>
                <a:gd name="connsiteX2" fmla="*/ 165743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0514"/>
                  </a:moveTo>
                  <a:lnTo>
                    <a:pt x="165743" y="231149"/>
                  </a:lnTo>
                  <a:lnTo>
                    <a:pt x="165743"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16" name="Freeform: Shape 215">
              <a:extLst>
                <a:ext uri="{FF2B5EF4-FFF2-40B4-BE49-F238E27FC236}">
                  <a16:creationId xmlns:a16="http://schemas.microsoft.com/office/drawing/2014/main" id="{C6E85275-B88D-482F-8B8E-673038966349}"/>
                </a:ext>
              </a:extLst>
            </p:cNvPr>
            <p:cNvSpPr/>
            <p:nvPr/>
          </p:nvSpPr>
          <p:spPr>
            <a:xfrm>
              <a:off x="9799699"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17" name="Freeform: Shape 216">
              <a:extLst>
                <a:ext uri="{FF2B5EF4-FFF2-40B4-BE49-F238E27FC236}">
                  <a16:creationId xmlns:a16="http://schemas.microsoft.com/office/drawing/2014/main" id="{2B3B90BF-1B00-4C9D-8E27-E7FA2B091580}"/>
                </a:ext>
              </a:extLst>
            </p:cNvPr>
            <p:cNvSpPr/>
            <p:nvPr/>
          </p:nvSpPr>
          <p:spPr>
            <a:xfrm>
              <a:off x="9118948"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18" name="Freeform: Shape 217">
              <a:extLst>
                <a:ext uri="{FF2B5EF4-FFF2-40B4-BE49-F238E27FC236}">
                  <a16:creationId xmlns:a16="http://schemas.microsoft.com/office/drawing/2014/main" id="{FBEDBB7E-C026-498D-9AAA-4DC2E26825F9}"/>
                </a:ext>
              </a:extLst>
            </p:cNvPr>
            <p:cNvSpPr/>
            <p:nvPr/>
          </p:nvSpPr>
          <p:spPr>
            <a:xfrm>
              <a:off x="8438196"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19" name="Freeform: Shape 218">
              <a:extLst>
                <a:ext uri="{FF2B5EF4-FFF2-40B4-BE49-F238E27FC236}">
                  <a16:creationId xmlns:a16="http://schemas.microsoft.com/office/drawing/2014/main" id="{04E6CA75-6563-4B35-A322-104587CFE903}"/>
                </a:ext>
              </a:extLst>
            </p:cNvPr>
            <p:cNvSpPr/>
            <p:nvPr/>
          </p:nvSpPr>
          <p:spPr>
            <a:xfrm>
              <a:off x="7757444"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20" name="Freeform: Shape 219">
              <a:extLst>
                <a:ext uri="{FF2B5EF4-FFF2-40B4-BE49-F238E27FC236}">
                  <a16:creationId xmlns:a16="http://schemas.microsoft.com/office/drawing/2014/main" id="{9C0BC556-CC8E-48D9-8790-5A6BF0EFD156}"/>
                </a:ext>
              </a:extLst>
            </p:cNvPr>
            <p:cNvSpPr/>
            <p:nvPr/>
          </p:nvSpPr>
          <p:spPr>
            <a:xfrm>
              <a:off x="7076692"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21" name="Freeform: Shape 220">
              <a:extLst>
                <a:ext uri="{FF2B5EF4-FFF2-40B4-BE49-F238E27FC236}">
                  <a16:creationId xmlns:a16="http://schemas.microsoft.com/office/drawing/2014/main" id="{A6720D8A-7287-49F4-A6A6-8036480253F8}"/>
                </a:ext>
              </a:extLst>
            </p:cNvPr>
            <p:cNvSpPr/>
            <p:nvPr/>
          </p:nvSpPr>
          <p:spPr>
            <a:xfrm>
              <a:off x="6395940"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22" name="Freeform: Shape 221">
              <a:extLst>
                <a:ext uri="{FF2B5EF4-FFF2-40B4-BE49-F238E27FC236}">
                  <a16:creationId xmlns:a16="http://schemas.microsoft.com/office/drawing/2014/main" id="{EBEF756D-C8F2-4A09-8566-D02AF549B1A2}"/>
                </a:ext>
              </a:extLst>
            </p:cNvPr>
            <p:cNvSpPr/>
            <p:nvPr/>
          </p:nvSpPr>
          <p:spPr>
            <a:xfrm>
              <a:off x="5715188" y="2481044"/>
              <a:ext cx="165742" cy="229244"/>
            </a:xfrm>
            <a:custGeom>
              <a:avLst/>
              <a:gdLst>
                <a:gd name="connsiteX0" fmla="*/ 165743 w 165742"/>
                <a:gd name="connsiteY0" fmla="*/ 229244 h 229244"/>
                <a:gd name="connsiteX1" fmla="*/ 0 w 165742"/>
                <a:gd name="connsiteY1" fmla="*/ 114939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39"/>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23" name="Freeform: Shape 222">
              <a:extLst>
                <a:ext uri="{FF2B5EF4-FFF2-40B4-BE49-F238E27FC236}">
                  <a16:creationId xmlns:a16="http://schemas.microsoft.com/office/drawing/2014/main" id="{0CF7F111-8BAE-477A-8AA8-DFBE0817EC8E}"/>
                </a:ext>
              </a:extLst>
            </p:cNvPr>
            <p:cNvSpPr/>
            <p:nvPr/>
          </p:nvSpPr>
          <p:spPr>
            <a:xfrm>
              <a:off x="10308993" y="3190367"/>
              <a:ext cx="337201" cy="702973"/>
            </a:xfrm>
            <a:custGeom>
              <a:avLst/>
              <a:gdLst>
                <a:gd name="connsiteX0" fmla="*/ 0 w 337201"/>
                <a:gd name="connsiteY0" fmla="*/ 468649 h 702973"/>
                <a:gd name="connsiteX1" fmla="*/ 0 w 337201"/>
                <a:gd name="connsiteY1" fmla="*/ 0 h 702973"/>
                <a:gd name="connsiteX2" fmla="*/ 168283 w 337201"/>
                <a:gd name="connsiteY2" fmla="*/ 116845 h 702973"/>
                <a:gd name="connsiteX3" fmla="*/ 168283 w 337201"/>
                <a:gd name="connsiteY3" fmla="*/ 351804 h 702973"/>
                <a:gd name="connsiteX4" fmla="*/ 337201 w 337201"/>
                <a:gd name="connsiteY4" fmla="*/ 468649 h 702973"/>
                <a:gd name="connsiteX5" fmla="*/ 337201 w 337201"/>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1" h="702973">
                  <a:moveTo>
                    <a:pt x="0" y="468649"/>
                  </a:moveTo>
                  <a:lnTo>
                    <a:pt x="0" y="0"/>
                  </a:lnTo>
                  <a:lnTo>
                    <a:pt x="168283" y="116845"/>
                  </a:lnTo>
                  <a:lnTo>
                    <a:pt x="168283" y="351804"/>
                  </a:lnTo>
                  <a:lnTo>
                    <a:pt x="337201" y="468649"/>
                  </a:lnTo>
                  <a:lnTo>
                    <a:pt x="337201" y="702973"/>
                  </a:lnTo>
                  <a:close/>
                </a:path>
              </a:pathLst>
            </a:custGeom>
            <a:noFill/>
            <a:ln w="3175" cap="flat">
              <a:solidFill>
                <a:schemeClr val="bg1">
                  <a:alpha val="30000"/>
                </a:schemeClr>
              </a:solidFill>
              <a:prstDash val="solid"/>
              <a:miter/>
            </a:ln>
          </p:spPr>
          <p:txBody>
            <a:bodyPr rtlCol="0" anchor="ctr"/>
            <a:lstStyle/>
            <a:p>
              <a:endParaRPr lang="en-GB"/>
            </a:p>
          </p:txBody>
        </p:sp>
        <p:sp>
          <p:nvSpPr>
            <p:cNvPr id="224" name="Freeform: Shape 223">
              <a:extLst>
                <a:ext uri="{FF2B5EF4-FFF2-40B4-BE49-F238E27FC236}">
                  <a16:creationId xmlns:a16="http://schemas.microsoft.com/office/drawing/2014/main" id="{5658C18C-2F05-421A-B49A-D685CBBC0D0D}"/>
                </a:ext>
              </a:extLst>
            </p:cNvPr>
            <p:cNvSpPr/>
            <p:nvPr/>
          </p:nvSpPr>
          <p:spPr>
            <a:xfrm>
              <a:off x="10649369" y="3427232"/>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225" name="Freeform: Shape 224">
              <a:extLst>
                <a:ext uri="{FF2B5EF4-FFF2-40B4-BE49-F238E27FC236}">
                  <a16:creationId xmlns:a16="http://schemas.microsoft.com/office/drawing/2014/main" id="{14C04ACE-AA35-420A-B14E-4A9290E5C1ED}"/>
                </a:ext>
              </a:extLst>
            </p:cNvPr>
            <p:cNvSpPr/>
            <p:nvPr/>
          </p:nvSpPr>
          <p:spPr>
            <a:xfrm>
              <a:off x="10651274" y="3307847"/>
              <a:ext cx="333390" cy="231149"/>
            </a:xfrm>
            <a:custGeom>
              <a:avLst/>
              <a:gdLst>
                <a:gd name="connsiteX0" fmla="*/ 165743 w 333390"/>
                <a:gd name="connsiteY0" fmla="*/ 231149 h 231149"/>
                <a:gd name="connsiteX1" fmla="*/ 0 w 333390"/>
                <a:gd name="connsiteY1" fmla="*/ 115574 h 231149"/>
                <a:gd name="connsiteX2" fmla="*/ 165743 w 333390"/>
                <a:gd name="connsiteY2" fmla="*/ 0 h 231149"/>
                <a:gd name="connsiteX3" fmla="*/ 333390 w 333390"/>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4"/>
                  </a:lnTo>
                  <a:lnTo>
                    <a:pt x="165743" y="0"/>
                  </a:lnTo>
                  <a:lnTo>
                    <a:pt x="333390"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226" name="Freeform: Shape 225">
              <a:extLst>
                <a:ext uri="{FF2B5EF4-FFF2-40B4-BE49-F238E27FC236}">
                  <a16:creationId xmlns:a16="http://schemas.microsoft.com/office/drawing/2014/main" id="{40FAFD15-3F82-4DC8-9636-0E3300160E51}"/>
                </a:ext>
              </a:extLst>
            </p:cNvPr>
            <p:cNvSpPr/>
            <p:nvPr/>
          </p:nvSpPr>
          <p:spPr>
            <a:xfrm>
              <a:off x="10480451" y="3191002"/>
              <a:ext cx="333390" cy="463568"/>
            </a:xfrm>
            <a:custGeom>
              <a:avLst/>
              <a:gdLst>
                <a:gd name="connsiteX0" fmla="*/ 166378 w 333390"/>
                <a:gd name="connsiteY0" fmla="*/ 231149 h 463568"/>
                <a:gd name="connsiteX1" fmla="*/ 165743 w 333390"/>
                <a:gd name="connsiteY1" fmla="*/ 231784 h 463568"/>
                <a:gd name="connsiteX2" fmla="*/ 165743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1149"/>
                  </a:moveTo>
                  <a:lnTo>
                    <a:pt x="165743" y="231784"/>
                  </a:lnTo>
                  <a:lnTo>
                    <a:pt x="165743"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227" name="Freeform: Shape 226">
              <a:extLst>
                <a:ext uri="{FF2B5EF4-FFF2-40B4-BE49-F238E27FC236}">
                  <a16:creationId xmlns:a16="http://schemas.microsoft.com/office/drawing/2014/main" id="{859A618E-14D7-464D-82D6-2FEDD6C8CF8E}"/>
                </a:ext>
              </a:extLst>
            </p:cNvPr>
            <p:cNvSpPr/>
            <p:nvPr/>
          </p:nvSpPr>
          <p:spPr>
            <a:xfrm>
              <a:off x="10310898" y="2952868"/>
              <a:ext cx="673766" cy="351168"/>
            </a:xfrm>
            <a:custGeom>
              <a:avLst/>
              <a:gdLst>
                <a:gd name="connsiteX0" fmla="*/ 337836 w 673766"/>
                <a:gd name="connsiteY0" fmla="*/ 234324 h 351168"/>
                <a:gd name="connsiteX1" fmla="*/ 336566 w 673766"/>
                <a:gd name="connsiteY1" fmla="*/ 233689 h 351168"/>
                <a:gd name="connsiteX2" fmla="*/ 168283 w 673766"/>
                <a:gd name="connsiteY2" fmla="*/ 351169 h 351168"/>
                <a:gd name="connsiteX3" fmla="*/ 0 w 673766"/>
                <a:gd name="connsiteY3" fmla="*/ 234324 h 351168"/>
                <a:gd name="connsiteX4" fmla="*/ 336566 w 673766"/>
                <a:gd name="connsiteY4" fmla="*/ 0 h 351168"/>
                <a:gd name="connsiteX5" fmla="*/ 673766 w 673766"/>
                <a:gd name="connsiteY5" fmla="*/ 234324 h 351168"/>
                <a:gd name="connsiteX6" fmla="*/ 506119 w 673766"/>
                <a:gd name="connsiteY6" fmla="*/ 35053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324"/>
                  </a:moveTo>
                  <a:lnTo>
                    <a:pt x="336566" y="233689"/>
                  </a:lnTo>
                  <a:lnTo>
                    <a:pt x="168283" y="351169"/>
                  </a:lnTo>
                  <a:lnTo>
                    <a:pt x="0" y="234324"/>
                  </a:lnTo>
                  <a:lnTo>
                    <a:pt x="336566" y="0"/>
                  </a:lnTo>
                  <a:lnTo>
                    <a:pt x="673766" y="234324"/>
                  </a:lnTo>
                  <a:lnTo>
                    <a:pt x="506119" y="350534"/>
                  </a:lnTo>
                  <a:close/>
                </a:path>
              </a:pathLst>
            </a:custGeom>
            <a:noFill/>
            <a:ln w="3175" cap="flat">
              <a:solidFill>
                <a:schemeClr val="bg1">
                  <a:alpha val="30000"/>
                </a:schemeClr>
              </a:solidFill>
              <a:prstDash val="solid"/>
              <a:miter/>
            </a:ln>
          </p:spPr>
          <p:txBody>
            <a:bodyPr rtlCol="0" anchor="ctr"/>
            <a:lstStyle/>
            <a:p>
              <a:endParaRPr lang="en-GB"/>
            </a:p>
          </p:txBody>
        </p:sp>
        <p:sp>
          <p:nvSpPr>
            <p:cNvPr id="228" name="Freeform: Shape 227">
              <a:extLst>
                <a:ext uri="{FF2B5EF4-FFF2-40B4-BE49-F238E27FC236}">
                  <a16:creationId xmlns:a16="http://schemas.microsoft.com/office/drawing/2014/main" id="{D34519AE-F698-4D70-A61E-89409218FBF5}"/>
                </a:ext>
              </a:extLst>
            </p:cNvPr>
            <p:cNvSpPr/>
            <p:nvPr/>
          </p:nvSpPr>
          <p:spPr>
            <a:xfrm>
              <a:off x="10479816" y="2481044"/>
              <a:ext cx="166377" cy="229244"/>
            </a:xfrm>
            <a:custGeom>
              <a:avLst/>
              <a:gdLst>
                <a:gd name="connsiteX0" fmla="*/ 0 w 166377"/>
                <a:gd name="connsiteY0" fmla="*/ 114939 h 229244"/>
                <a:gd name="connsiteX1" fmla="*/ 166378 w 166377"/>
                <a:gd name="connsiteY1" fmla="*/ 0 h 229244"/>
                <a:gd name="connsiteX2" fmla="*/ 166378 w 166377"/>
                <a:gd name="connsiteY2" fmla="*/ 229244 h 229244"/>
              </a:gdLst>
              <a:ahLst/>
              <a:cxnLst>
                <a:cxn ang="0">
                  <a:pos x="connsiteX0" y="connsiteY0"/>
                </a:cxn>
                <a:cxn ang="0">
                  <a:pos x="connsiteX1" y="connsiteY1"/>
                </a:cxn>
                <a:cxn ang="0">
                  <a:pos x="connsiteX2" y="connsiteY2"/>
                </a:cxn>
              </a:cxnLst>
              <a:rect l="l" t="t" r="r" b="b"/>
              <a:pathLst>
                <a:path w="166377" h="229244">
                  <a:moveTo>
                    <a:pt x="0" y="114939"/>
                  </a:moveTo>
                  <a:lnTo>
                    <a:pt x="166378" y="0"/>
                  </a:lnTo>
                  <a:lnTo>
                    <a:pt x="166378" y="229244"/>
                  </a:lnTo>
                  <a:close/>
                </a:path>
              </a:pathLst>
            </a:custGeom>
            <a:noFill/>
            <a:ln w="3175" cap="flat">
              <a:solidFill>
                <a:schemeClr val="bg1">
                  <a:alpha val="30000"/>
                </a:schemeClr>
              </a:solidFill>
              <a:prstDash val="solid"/>
              <a:miter/>
            </a:ln>
          </p:spPr>
          <p:txBody>
            <a:bodyPr rtlCol="0" anchor="ctr"/>
            <a:lstStyle/>
            <a:p>
              <a:endParaRPr lang="en-GB"/>
            </a:p>
          </p:txBody>
        </p:sp>
        <p:sp>
          <p:nvSpPr>
            <p:cNvPr id="229" name="Freeform: Shape 228">
              <a:extLst>
                <a:ext uri="{FF2B5EF4-FFF2-40B4-BE49-F238E27FC236}">
                  <a16:creationId xmlns:a16="http://schemas.microsoft.com/office/drawing/2014/main" id="{B7BF7F4B-8AA0-4A00-9937-617DA37B40E5}"/>
                </a:ext>
              </a:extLst>
            </p:cNvPr>
            <p:cNvSpPr/>
            <p:nvPr/>
          </p:nvSpPr>
          <p:spPr>
            <a:xfrm>
              <a:off x="10649369" y="2007950"/>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230" name="Freeform: Shape 229">
              <a:extLst>
                <a:ext uri="{FF2B5EF4-FFF2-40B4-BE49-F238E27FC236}">
                  <a16:creationId xmlns:a16="http://schemas.microsoft.com/office/drawing/2014/main" id="{A9D6433D-B79B-4FCD-BE3A-AEAF1FBACF68}"/>
                </a:ext>
              </a:extLst>
            </p:cNvPr>
            <p:cNvSpPr/>
            <p:nvPr/>
          </p:nvSpPr>
          <p:spPr>
            <a:xfrm>
              <a:off x="10651274" y="1888565"/>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0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0"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31" name="Freeform: Shape 230">
              <a:extLst>
                <a:ext uri="{FF2B5EF4-FFF2-40B4-BE49-F238E27FC236}">
                  <a16:creationId xmlns:a16="http://schemas.microsoft.com/office/drawing/2014/main" id="{415A1B2E-B04A-48AA-BAAE-3B3351F0A82A}"/>
                </a:ext>
              </a:extLst>
            </p:cNvPr>
            <p:cNvSpPr/>
            <p:nvPr/>
          </p:nvSpPr>
          <p:spPr>
            <a:xfrm>
              <a:off x="10480451" y="1771720"/>
              <a:ext cx="333390" cy="463568"/>
            </a:xfrm>
            <a:custGeom>
              <a:avLst/>
              <a:gdLst>
                <a:gd name="connsiteX0" fmla="*/ 166378 w 333390"/>
                <a:gd name="connsiteY0" fmla="*/ 231149 h 463568"/>
                <a:gd name="connsiteX1" fmla="*/ 165743 w 333390"/>
                <a:gd name="connsiteY1" fmla="*/ 231784 h 463568"/>
                <a:gd name="connsiteX2" fmla="*/ 165743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1149"/>
                  </a:moveTo>
                  <a:lnTo>
                    <a:pt x="165743" y="231784"/>
                  </a:lnTo>
                  <a:lnTo>
                    <a:pt x="165743"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32" name="Freeform: Shape 231">
              <a:extLst>
                <a:ext uri="{FF2B5EF4-FFF2-40B4-BE49-F238E27FC236}">
                  <a16:creationId xmlns:a16="http://schemas.microsoft.com/office/drawing/2014/main" id="{B0BAE090-F6AD-4E9C-90E1-1D722EB7FB0D}"/>
                </a:ext>
              </a:extLst>
            </p:cNvPr>
            <p:cNvSpPr/>
            <p:nvPr/>
          </p:nvSpPr>
          <p:spPr>
            <a:xfrm>
              <a:off x="9968617" y="2007950"/>
              <a:ext cx="337200" cy="466108"/>
            </a:xfrm>
            <a:custGeom>
              <a:avLst/>
              <a:gdLst>
                <a:gd name="connsiteX0" fmla="*/ 337201 w 337200"/>
                <a:gd name="connsiteY0" fmla="*/ 231784 h 466108"/>
                <a:gd name="connsiteX1" fmla="*/ 635 w 337200"/>
                <a:gd name="connsiteY1" fmla="*/ 466109 h 466108"/>
                <a:gd name="connsiteX2" fmla="*/ 0 w 337200"/>
                <a:gd name="connsiteY2" fmla="*/ 232419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635"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a:p>
          </p:txBody>
        </p:sp>
        <p:sp>
          <p:nvSpPr>
            <p:cNvPr id="233" name="Freeform: Shape 232">
              <a:extLst>
                <a:ext uri="{FF2B5EF4-FFF2-40B4-BE49-F238E27FC236}">
                  <a16:creationId xmlns:a16="http://schemas.microsoft.com/office/drawing/2014/main" id="{7700CD84-67F2-4A1C-BBF7-9B61332445FE}"/>
                </a:ext>
              </a:extLst>
            </p:cNvPr>
            <p:cNvSpPr/>
            <p:nvPr/>
          </p:nvSpPr>
          <p:spPr>
            <a:xfrm>
              <a:off x="9970522" y="1888565"/>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34" name="Freeform: Shape 233">
              <a:extLst>
                <a:ext uri="{FF2B5EF4-FFF2-40B4-BE49-F238E27FC236}">
                  <a16:creationId xmlns:a16="http://schemas.microsoft.com/office/drawing/2014/main" id="{7C3D6DA5-6646-427C-BBCC-B6D6CC4A2459}"/>
                </a:ext>
              </a:extLst>
            </p:cNvPr>
            <p:cNvSpPr/>
            <p:nvPr/>
          </p:nvSpPr>
          <p:spPr>
            <a:xfrm>
              <a:off x="9800334" y="1771720"/>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5 w 332755"/>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5"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35" name="Freeform: Shape 234">
              <a:extLst>
                <a:ext uri="{FF2B5EF4-FFF2-40B4-BE49-F238E27FC236}">
                  <a16:creationId xmlns:a16="http://schemas.microsoft.com/office/drawing/2014/main" id="{947F097E-5035-4E3B-AE70-EE0B1439B9D9}"/>
                </a:ext>
              </a:extLst>
            </p:cNvPr>
            <p:cNvSpPr/>
            <p:nvPr/>
          </p:nvSpPr>
          <p:spPr>
            <a:xfrm>
              <a:off x="9288500"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36" name="Freeform: Shape 235">
              <a:extLst>
                <a:ext uri="{FF2B5EF4-FFF2-40B4-BE49-F238E27FC236}">
                  <a16:creationId xmlns:a16="http://schemas.microsoft.com/office/drawing/2014/main" id="{090DF782-79E2-45E2-9B01-858C50E5A428}"/>
                </a:ext>
              </a:extLst>
            </p:cNvPr>
            <p:cNvSpPr/>
            <p:nvPr/>
          </p:nvSpPr>
          <p:spPr>
            <a:xfrm>
              <a:off x="9289770" y="1888565"/>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37" name="Freeform: Shape 236">
              <a:extLst>
                <a:ext uri="{FF2B5EF4-FFF2-40B4-BE49-F238E27FC236}">
                  <a16:creationId xmlns:a16="http://schemas.microsoft.com/office/drawing/2014/main" id="{C0D2BA6E-3D63-4AB6-8788-D7921B4F81A0}"/>
                </a:ext>
              </a:extLst>
            </p:cNvPr>
            <p:cNvSpPr/>
            <p:nvPr/>
          </p:nvSpPr>
          <p:spPr>
            <a:xfrm>
              <a:off x="9119582" y="1771720"/>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38" name="Freeform: Shape 237">
              <a:extLst>
                <a:ext uri="{FF2B5EF4-FFF2-40B4-BE49-F238E27FC236}">
                  <a16:creationId xmlns:a16="http://schemas.microsoft.com/office/drawing/2014/main" id="{4408B3B7-2C21-4298-87CB-FA9098B2B410}"/>
                </a:ext>
              </a:extLst>
            </p:cNvPr>
            <p:cNvSpPr/>
            <p:nvPr/>
          </p:nvSpPr>
          <p:spPr>
            <a:xfrm>
              <a:off x="8607749"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39" name="Freeform: Shape 238">
              <a:extLst>
                <a:ext uri="{FF2B5EF4-FFF2-40B4-BE49-F238E27FC236}">
                  <a16:creationId xmlns:a16="http://schemas.microsoft.com/office/drawing/2014/main" id="{219839A4-95CD-4552-A7B0-55E8374B1232}"/>
                </a:ext>
              </a:extLst>
            </p:cNvPr>
            <p:cNvSpPr/>
            <p:nvPr/>
          </p:nvSpPr>
          <p:spPr>
            <a:xfrm>
              <a:off x="8609018" y="1888565"/>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40" name="Freeform: Shape 239">
              <a:extLst>
                <a:ext uri="{FF2B5EF4-FFF2-40B4-BE49-F238E27FC236}">
                  <a16:creationId xmlns:a16="http://schemas.microsoft.com/office/drawing/2014/main" id="{D418929C-34D4-4B95-A6D4-80BC0B831CC4}"/>
                </a:ext>
              </a:extLst>
            </p:cNvPr>
            <p:cNvSpPr/>
            <p:nvPr/>
          </p:nvSpPr>
          <p:spPr>
            <a:xfrm>
              <a:off x="8438830" y="1771720"/>
              <a:ext cx="332755" cy="463568"/>
            </a:xfrm>
            <a:custGeom>
              <a:avLst/>
              <a:gdLst>
                <a:gd name="connsiteX0" fmla="*/ 165743 w 332755"/>
                <a:gd name="connsiteY0" fmla="*/ 231149 h 463568"/>
                <a:gd name="connsiteX1" fmla="*/ 165108 w 332755"/>
                <a:gd name="connsiteY1" fmla="*/ 231784 h 463568"/>
                <a:gd name="connsiteX2" fmla="*/ 165108 w 332755"/>
                <a:gd name="connsiteY2" fmla="*/ 463569 h 463568"/>
                <a:gd name="connsiteX3" fmla="*/ 0 w 332755"/>
                <a:gd name="connsiteY3" fmla="*/ 349264 h 463568"/>
                <a:gd name="connsiteX4" fmla="*/ 0 w 332755"/>
                <a:gd name="connsiteY4" fmla="*/ 116210 h 463568"/>
                <a:gd name="connsiteX5" fmla="*/ 167013 w 332755"/>
                <a:gd name="connsiteY5" fmla="*/ 0 h 463568"/>
                <a:gd name="connsiteX6" fmla="*/ 332756 w 332755"/>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1149"/>
                  </a:moveTo>
                  <a:lnTo>
                    <a:pt x="165108" y="231784"/>
                  </a:lnTo>
                  <a:lnTo>
                    <a:pt x="165108" y="463569"/>
                  </a:lnTo>
                  <a:lnTo>
                    <a:pt x="0" y="349264"/>
                  </a:lnTo>
                  <a:lnTo>
                    <a:pt x="0" y="116210"/>
                  </a:lnTo>
                  <a:lnTo>
                    <a:pt x="167013" y="0"/>
                  </a:lnTo>
                  <a:lnTo>
                    <a:pt x="332756"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41" name="Freeform: Shape 240">
              <a:extLst>
                <a:ext uri="{FF2B5EF4-FFF2-40B4-BE49-F238E27FC236}">
                  <a16:creationId xmlns:a16="http://schemas.microsoft.com/office/drawing/2014/main" id="{1336C3F2-3788-4ED5-8F0B-459432342994}"/>
                </a:ext>
              </a:extLst>
            </p:cNvPr>
            <p:cNvSpPr/>
            <p:nvPr/>
          </p:nvSpPr>
          <p:spPr>
            <a:xfrm>
              <a:off x="7926997"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42" name="Freeform: Shape 241">
              <a:extLst>
                <a:ext uri="{FF2B5EF4-FFF2-40B4-BE49-F238E27FC236}">
                  <a16:creationId xmlns:a16="http://schemas.microsoft.com/office/drawing/2014/main" id="{6C381483-6210-4302-A8A8-F491FF4BE6D9}"/>
                </a:ext>
              </a:extLst>
            </p:cNvPr>
            <p:cNvSpPr/>
            <p:nvPr/>
          </p:nvSpPr>
          <p:spPr>
            <a:xfrm>
              <a:off x="7928267" y="1888565"/>
              <a:ext cx="334025" cy="231784"/>
            </a:xfrm>
            <a:custGeom>
              <a:avLst/>
              <a:gdLst>
                <a:gd name="connsiteX0" fmla="*/ 166377 w 334025"/>
                <a:gd name="connsiteY0" fmla="*/ 231784 h 231784"/>
                <a:gd name="connsiteX1" fmla="*/ 0 w 334025"/>
                <a:gd name="connsiteY1" fmla="*/ 115575 h 231784"/>
                <a:gd name="connsiteX2" fmla="*/ 166377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7" y="231784"/>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43" name="Freeform: Shape 242">
              <a:extLst>
                <a:ext uri="{FF2B5EF4-FFF2-40B4-BE49-F238E27FC236}">
                  <a16:creationId xmlns:a16="http://schemas.microsoft.com/office/drawing/2014/main" id="{4313E68E-E8CB-4FD5-879C-34E2BEA55701}"/>
                </a:ext>
              </a:extLst>
            </p:cNvPr>
            <p:cNvSpPr/>
            <p:nvPr/>
          </p:nvSpPr>
          <p:spPr>
            <a:xfrm>
              <a:off x="7758079" y="1771720"/>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44" name="Freeform: Shape 243">
              <a:extLst>
                <a:ext uri="{FF2B5EF4-FFF2-40B4-BE49-F238E27FC236}">
                  <a16:creationId xmlns:a16="http://schemas.microsoft.com/office/drawing/2014/main" id="{CEE71169-B49C-4DF0-BD2D-35742295D3AE}"/>
                </a:ext>
              </a:extLst>
            </p:cNvPr>
            <p:cNvSpPr/>
            <p:nvPr/>
          </p:nvSpPr>
          <p:spPr>
            <a:xfrm>
              <a:off x="7246245"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45" name="Freeform: Shape 244">
              <a:extLst>
                <a:ext uri="{FF2B5EF4-FFF2-40B4-BE49-F238E27FC236}">
                  <a16:creationId xmlns:a16="http://schemas.microsoft.com/office/drawing/2014/main" id="{3B4411D5-237C-4D18-A7A1-326672BA05CD}"/>
                </a:ext>
              </a:extLst>
            </p:cNvPr>
            <p:cNvSpPr/>
            <p:nvPr/>
          </p:nvSpPr>
          <p:spPr>
            <a:xfrm>
              <a:off x="7247515" y="1888565"/>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46" name="Freeform: Shape 245">
              <a:extLst>
                <a:ext uri="{FF2B5EF4-FFF2-40B4-BE49-F238E27FC236}">
                  <a16:creationId xmlns:a16="http://schemas.microsoft.com/office/drawing/2014/main" id="{921E176D-AC97-499E-8222-13466B445949}"/>
                </a:ext>
              </a:extLst>
            </p:cNvPr>
            <p:cNvSpPr/>
            <p:nvPr/>
          </p:nvSpPr>
          <p:spPr>
            <a:xfrm>
              <a:off x="7077327" y="1771720"/>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47" name="Freeform: Shape 246">
              <a:extLst>
                <a:ext uri="{FF2B5EF4-FFF2-40B4-BE49-F238E27FC236}">
                  <a16:creationId xmlns:a16="http://schemas.microsoft.com/office/drawing/2014/main" id="{4DE4495B-A63C-44F6-B00B-648F7D3D39EC}"/>
                </a:ext>
              </a:extLst>
            </p:cNvPr>
            <p:cNvSpPr/>
            <p:nvPr/>
          </p:nvSpPr>
          <p:spPr>
            <a:xfrm>
              <a:off x="6565493"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48" name="Freeform: Shape 247">
              <a:extLst>
                <a:ext uri="{FF2B5EF4-FFF2-40B4-BE49-F238E27FC236}">
                  <a16:creationId xmlns:a16="http://schemas.microsoft.com/office/drawing/2014/main" id="{81FFEF8B-32D5-441E-9096-E84DC45C47B8}"/>
                </a:ext>
              </a:extLst>
            </p:cNvPr>
            <p:cNvSpPr/>
            <p:nvPr/>
          </p:nvSpPr>
          <p:spPr>
            <a:xfrm>
              <a:off x="6566763" y="1888565"/>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49" name="Freeform: Shape 248">
              <a:extLst>
                <a:ext uri="{FF2B5EF4-FFF2-40B4-BE49-F238E27FC236}">
                  <a16:creationId xmlns:a16="http://schemas.microsoft.com/office/drawing/2014/main" id="{CC2AC9E3-847C-470C-BF9A-1710815186F6}"/>
                </a:ext>
              </a:extLst>
            </p:cNvPr>
            <p:cNvSpPr/>
            <p:nvPr/>
          </p:nvSpPr>
          <p:spPr>
            <a:xfrm>
              <a:off x="6396575" y="1771720"/>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50" name="Freeform: Shape 249">
              <a:extLst>
                <a:ext uri="{FF2B5EF4-FFF2-40B4-BE49-F238E27FC236}">
                  <a16:creationId xmlns:a16="http://schemas.microsoft.com/office/drawing/2014/main" id="{87989E59-BF15-41FA-A1AA-2ACD42F0D8D0}"/>
                </a:ext>
              </a:extLst>
            </p:cNvPr>
            <p:cNvSpPr/>
            <p:nvPr/>
          </p:nvSpPr>
          <p:spPr>
            <a:xfrm>
              <a:off x="5884741" y="2007950"/>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51" name="Freeform: Shape 250">
              <a:extLst>
                <a:ext uri="{FF2B5EF4-FFF2-40B4-BE49-F238E27FC236}">
                  <a16:creationId xmlns:a16="http://schemas.microsoft.com/office/drawing/2014/main" id="{FCE73372-C137-4EEB-BE02-689E65EADDD2}"/>
                </a:ext>
              </a:extLst>
            </p:cNvPr>
            <p:cNvSpPr/>
            <p:nvPr/>
          </p:nvSpPr>
          <p:spPr>
            <a:xfrm>
              <a:off x="5886011" y="1888565"/>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52" name="Freeform: Shape 251">
              <a:extLst>
                <a:ext uri="{FF2B5EF4-FFF2-40B4-BE49-F238E27FC236}">
                  <a16:creationId xmlns:a16="http://schemas.microsoft.com/office/drawing/2014/main" id="{0DA39390-856C-4EBA-857B-29E88802B8E2}"/>
                </a:ext>
              </a:extLst>
            </p:cNvPr>
            <p:cNvSpPr/>
            <p:nvPr/>
          </p:nvSpPr>
          <p:spPr>
            <a:xfrm>
              <a:off x="5715823" y="1771720"/>
              <a:ext cx="333390" cy="463568"/>
            </a:xfrm>
            <a:custGeom>
              <a:avLst/>
              <a:gdLst>
                <a:gd name="connsiteX0" fmla="*/ 165743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1149"/>
                  </a:moveTo>
                  <a:lnTo>
                    <a:pt x="165108" y="231784"/>
                  </a:lnTo>
                  <a:lnTo>
                    <a:pt x="165108"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53" name="Freeform: Shape 252">
              <a:extLst>
                <a:ext uri="{FF2B5EF4-FFF2-40B4-BE49-F238E27FC236}">
                  <a16:creationId xmlns:a16="http://schemas.microsoft.com/office/drawing/2014/main" id="{AEA0E781-D6C0-49FD-9A78-6B92499F47F1}"/>
                </a:ext>
              </a:extLst>
            </p:cNvPr>
            <p:cNvSpPr/>
            <p:nvPr/>
          </p:nvSpPr>
          <p:spPr>
            <a:xfrm>
              <a:off x="10820192" y="3190367"/>
              <a:ext cx="166377" cy="229879"/>
            </a:xfrm>
            <a:custGeom>
              <a:avLst/>
              <a:gdLst>
                <a:gd name="connsiteX0" fmla="*/ 0 w 166377"/>
                <a:gd name="connsiteY0" fmla="*/ 115575 h 229879"/>
                <a:gd name="connsiteX1" fmla="*/ 166378 w 166377"/>
                <a:gd name="connsiteY1" fmla="*/ 0 h 229879"/>
                <a:gd name="connsiteX2" fmla="*/ 166378 w 166377"/>
                <a:gd name="connsiteY2" fmla="*/ 229879 h 229879"/>
              </a:gdLst>
              <a:ahLst/>
              <a:cxnLst>
                <a:cxn ang="0">
                  <a:pos x="connsiteX0" y="connsiteY0"/>
                </a:cxn>
                <a:cxn ang="0">
                  <a:pos x="connsiteX1" y="connsiteY1"/>
                </a:cxn>
                <a:cxn ang="0">
                  <a:pos x="connsiteX2" y="connsiteY2"/>
                </a:cxn>
              </a:cxnLst>
              <a:rect l="l" t="t" r="r" b="b"/>
              <a:pathLst>
                <a:path w="166377" h="229879">
                  <a:moveTo>
                    <a:pt x="0" y="115575"/>
                  </a:moveTo>
                  <a:lnTo>
                    <a:pt x="166378" y="0"/>
                  </a:lnTo>
                  <a:lnTo>
                    <a:pt x="166378" y="229879"/>
                  </a:lnTo>
                  <a:close/>
                </a:path>
              </a:pathLst>
            </a:custGeom>
            <a:noFill/>
            <a:ln w="3175" cap="flat">
              <a:solidFill>
                <a:schemeClr val="bg1">
                  <a:alpha val="30000"/>
                </a:schemeClr>
              </a:solidFill>
              <a:prstDash val="solid"/>
              <a:miter/>
            </a:ln>
          </p:spPr>
          <p:txBody>
            <a:bodyPr rtlCol="0" anchor="ctr"/>
            <a:lstStyle/>
            <a:p>
              <a:endParaRPr lang="en-GB"/>
            </a:p>
          </p:txBody>
        </p:sp>
        <p:sp>
          <p:nvSpPr>
            <p:cNvPr id="254" name="Freeform: Shape 253">
              <a:extLst>
                <a:ext uri="{FF2B5EF4-FFF2-40B4-BE49-F238E27FC236}">
                  <a16:creationId xmlns:a16="http://schemas.microsoft.com/office/drawing/2014/main" id="{9290B643-9950-461D-9380-4F69D7177E69}"/>
                </a:ext>
              </a:extLst>
            </p:cNvPr>
            <p:cNvSpPr/>
            <p:nvPr/>
          </p:nvSpPr>
          <p:spPr>
            <a:xfrm>
              <a:off x="10820192" y="1771085"/>
              <a:ext cx="166377" cy="229879"/>
            </a:xfrm>
            <a:custGeom>
              <a:avLst/>
              <a:gdLst>
                <a:gd name="connsiteX0" fmla="*/ 0 w 166377"/>
                <a:gd name="connsiteY0" fmla="*/ 115575 h 229879"/>
                <a:gd name="connsiteX1" fmla="*/ 166378 w 166377"/>
                <a:gd name="connsiteY1" fmla="*/ 0 h 229879"/>
                <a:gd name="connsiteX2" fmla="*/ 166378 w 166377"/>
                <a:gd name="connsiteY2" fmla="*/ 229879 h 229879"/>
              </a:gdLst>
              <a:ahLst/>
              <a:cxnLst>
                <a:cxn ang="0">
                  <a:pos x="connsiteX0" y="connsiteY0"/>
                </a:cxn>
                <a:cxn ang="0">
                  <a:pos x="connsiteX1" y="connsiteY1"/>
                </a:cxn>
                <a:cxn ang="0">
                  <a:pos x="connsiteX2" y="connsiteY2"/>
                </a:cxn>
              </a:cxnLst>
              <a:rect l="l" t="t" r="r" b="b"/>
              <a:pathLst>
                <a:path w="166377" h="229879">
                  <a:moveTo>
                    <a:pt x="0" y="115575"/>
                  </a:moveTo>
                  <a:lnTo>
                    <a:pt x="166378" y="0"/>
                  </a:lnTo>
                  <a:lnTo>
                    <a:pt x="166378" y="229879"/>
                  </a:lnTo>
                  <a:close/>
                </a:path>
              </a:pathLst>
            </a:custGeom>
            <a:noFill/>
            <a:ln w="3175" cap="flat">
              <a:solidFill>
                <a:schemeClr val="bg1">
                  <a:alpha val="30000"/>
                </a:schemeClr>
              </a:solidFill>
              <a:prstDash val="solid"/>
              <a:miter/>
            </a:ln>
          </p:spPr>
          <p:txBody>
            <a:bodyPr rtlCol="0" anchor="ctr"/>
            <a:lstStyle/>
            <a:p>
              <a:endParaRPr lang="en-GB"/>
            </a:p>
          </p:txBody>
        </p:sp>
        <p:sp>
          <p:nvSpPr>
            <p:cNvPr id="255" name="Freeform: Shape 254">
              <a:extLst>
                <a:ext uri="{FF2B5EF4-FFF2-40B4-BE49-F238E27FC236}">
                  <a16:creationId xmlns:a16="http://schemas.microsoft.com/office/drawing/2014/main" id="{DA490AAC-BEB9-499E-9AEE-67664785080C}"/>
                </a:ext>
              </a:extLst>
            </p:cNvPr>
            <p:cNvSpPr/>
            <p:nvPr/>
          </p:nvSpPr>
          <p:spPr>
            <a:xfrm>
              <a:off x="10139440" y="1771085"/>
              <a:ext cx="166377" cy="229879"/>
            </a:xfrm>
            <a:custGeom>
              <a:avLst/>
              <a:gdLst>
                <a:gd name="connsiteX0" fmla="*/ 166378 w 166377"/>
                <a:gd name="connsiteY0" fmla="*/ 229879 h 229879"/>
                <a:gd name="connsiteX1" fmla="*/ 0 w 166377"/>
                <a:gd name="connsiteY1" fmla="*/ 115575 h 229879"/>
                <a:gd name="connsiteX2" fmla="*/ 166378 w 166377"/>
                <a:gd name="connsiteY2" fmla="*/ 0 h 229879"/>
              </a:gdLst>
              <a:ahLst/>
              <a:cxnLst>
                <a:cxn ang="0">
                  <a:pos x="connsiteX0" y="connsiteY0"/>
                </a:cxn>
                <a:cxn ang="0">
                  <a:pos x="connsiteX1" y="connsiteY1"/>
                </a:cxn>
                <a:cxn ang="0">
                  <a:pos x="connsiteX2" y="connsiteY2"/>
                </a:cxn>
              </a:cxnLst>
              <a:rect l="l" t="t" r="r" b="b"/>
              <a:pathLst>
                <a:path w="166377" h="229879">
                  <a:moveTo>
                    <a:pt x="166378" y="229879"/>
                  </a:moveTo>
                  <a:lnTo>
                    <a:pt x="0" y="115575"/>
                  </a:lnTo>
                  <a:lnTo>
                    <a:pt x="166378" y="0"/>
                  </a:lnTo>
                  <a:close/>
                </a:path>
              </a:pathLst>
            </a:custGeom>
            <a:noFill/>
            <a:ln w="3175" cap="flat">
              <a:solidFill>
                <a:schemeClr val="bg1">
                  <a:alpha val="30000"/>
                </a:schemeClr>
              </a:solidFill>
              <a:prstDash val="solid"/>
              <a:miter/>
            </a:ln>
          </p:spPr>
          <p:txBody>
            <a:bodyPr rtlCol="0" anchor="ctr"/>
            <a:lstStyle/>
            <a:p>
              <a:endParaRPr lang="en-GB"/>
            </a:p>
          </p:txBody>
        </p:sp>
        <p:sp>
          <p:nvSpPr>
            <p:cNvPr id="256" name="Freeform: Shape 255">
              <a:extLst>
                <a:ext uri="{FF2B5EF4-FFF2-40B4-BE49-F238E27FC236}">
                  <a16:creationId xmlns:a16="http://schemas.microsoft.com/office/drawing/2014/main" id="{220652E1-B7E6-4504-9612-BEEC1FACCED1}"/>
                </a:ext>
              </a:extLst>
            </p:cNvPr>
            <p:cNvSpPr/>
            <p:nvPr/>
          </p:nvSpPr>
          <p:spPr>
            <a:xfrm>
              <a:off x="9459323"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57" name="Freeform: Shape 256">
              <a:extLst>
                <a:ext uri="{FF2B5EF4-FFF2-40B4-BE49-F238E27FC236}">
                  <a16:creationId xmlns:a16="http://schemas.microsoft.com/office/drawing/2014/main" id="{D225F6D3-36FA-4C22-B82B-F6CE4A928651}"/>
                </a:ext>
              </a:extLst>
            </p:cNvPr>
            <p:cNvSpPr/>
            <p:nvPr/>
          </p:nvSpPr>
          <p:spPr>
            <a:xfrm>
              <a:off x="8778571"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58" name="Freeform: Shape 257">
              <a:extLst>
                <a:ext uri="{FF2B5EF4-FFF2-40B4-BE49-F238E27FC236}">
                  <a16:creationId xmlns:a16="http://schemas.microsoft.com/office/drawing/2014/main" id="{15E443DA-BF7B-4ABC-BAF6-79733290503A}"/>
                </a:ext>
              </a:extLst>
            </p:cNvPr>
            <p:cNvSpPr/>
            <p:nvPr/>
          </p:nvSpPr>
          <p:spPr>
            <a:xfrm>
              <a:off x="8097819"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59" name="Freeform: Shape 258">
              <a:extLst>
                <a:ext uri="{FF2B5EF4-FFF2-40B4-BE49-F238E27FC236}">
                  <a16:creationId xmlns:a16="http://schemas.microsoft.com/office/drawing/2014/main" id="{B6CBC8DD-2784-46D7-AE99-6AE7952F289D}"/>
                </a:ext>
              </a:extLst>
            </p:cNvPr>
            <p:cNvSpPr/>
            <p:nvPr/>
          </p:nvSpPr>
          <p:spPr>
            <a:xfrm>
              <a:off x="7417068"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60" name="Freeform: Shape 259">
              <a:extLst>
                <a:ext uri="{FF2B5EF4-FFF2-40B4-BE49-F238E27FC236}">
                  <a16:creationId xmlns:a16="http://schemas.microsoft.com/office/drawing/2014/main" id="{3C3E7E2C-FB24-41FA-A72E-43E3E516C424}"/>
                </a:ext>
              </a:extLst>
            </p:cNvPr>
            <p:cNvSpPr/>
            <p:nvPr/>
          </p:nvSpPr>
          <p:spPr>
            <a:xfrm>
              <a:off x="6736316"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61" name="Freeform: Shape 260">
              <a:extLst>
                <a:ext uri="{FF2B5EF4-FFF2-40B4-BE49-F238E27FC236}">
                  <a16:creationId xmlns:a16="http://schemas.microsoft.com/office/drawing/2014/main" id="{B9EB99CF-0F22-44C6-B263-2CDDBC1C1FB1}"/>
                </a:ext>
              </a:extLst>
            </p:cNvPr>
            <p:cNvSpPr/>
            <p:nvPr/>
          </p:nvSpPr>
          <p:spPr>
            <a:xfrm>
              <a:off x="6055564" y="1771085"/>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262" name="Freeform: Shape 261">
              <a:extLst>
                <a:ext uri="{FF2B5EF4-FFF2-40B4-BE49-F238E27FC236}">
                  <a16:creationId xmlns:a16="http://schemas.microsoft.com/office/drawing/2014/main" id="{FB2483BC-80A4-4233-9B1E-919CA86D71F3}"/>
                </a:ext>
              </a:extLst>
            </p:cNvPr>
            <p:cNvSpPr/>
            <p:nvPr/>
          </p:nvSpPr>
          <p:spPr>
            <a:xfrm>
              <a:off x="10651274" y="3662191"/>
              <a:ext cx="673766" cy="351168"/>
            </a:xfrm>
            <a:custGeom>
              <a:avLst/>
              <a:gdLst>
                <a:gd name="connsiteX0" fmla="*/ 337836 w 673766"/>
                <a:gd name="connsiteY0" fmla="*/ 234959 h 351168"/>
                <a:gd name="connsiteX1" fmla="*/ 336565 w 673766"/>
                <a:gd name="connsiteY1" fmla="*/ 234324 h 351168"/>
                <a:gd name="connsiteX2" fmla="*/ 168283 w 673766"/>
                <a:gd name="connsiteY2" fmla="*/ 351169 h 351168"/>
                <a:gd name="connsiteX3" fmla="*/ 0 w 673766"/>
                <a:gd name="connsiteY3" fmla="*/ 234324 h 351168"/>
                <a:gd name="connsiteX4" fmla="*/ 336565 w 673766"/>
                <a:gd name="connsiteY4" fmla="*/ 0 h 351168"/>
                <a:gd name="connsiteX5" fmla="*/ 673767 w 673766"/>
                <a:gd name="connsiteY5" fmla="*/ 234324 h 351168"/>
                <a:gd name="connsiteX6" fmla="*/ 506119 w 673766"/>
                <a:gd name="connsiteY6" fmla="*/ 351169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959"/>
                  </a:moveTo>
                  <a:lnTo>
                    <a:pt x="336565" y="234324"/>
                  </a:lnTo>
                  <a:lnTo>
                    <a:pt x="168283" y="351169"/>
                  </a:lnTo>
                  <a:lnTo>
                    <a:pt x="0" y="234324"/>
                  </a:lnTo>
                  <a:lnTo>
                    <a:pt x="336565" y="0"/>
                  </a:lnTo>
                  <a:lnTo>
                    <a:pt x="673767" y="234324"/>
                  </a:lnTo>
                  <a:lnTo>
                    <a:pt x="506119"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263" name="Freeform: Shape 262">
              <a:extLst>
                <a:ext uri="{FF2B5EF4-FFF2-40B4-BE49-F238E27FC236}">
                  <a16:creationId xmlns:a16="http://schemas.microsoft.com/office/drawing/2014/main" id="{78F5CEB4-1AD8-499E-A38B-43F0A704EA12}"/>
                </a:ext>
              </a:extLst>
            </p:cNvPr>
            <p:cNvSpPr/>
            <p:nvPr/>
          </p:nvSpPr>
          <p:spPr>
            <a:xfrm>
              <a:off x="10991650" y="2598524"/>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64" name="Freeform: Shape 263">
              <a:extLst>
                <a:ext uri="{FF2B5EF4-FFF2-40B4-BE49-F238E27FC236}">
                  <a16:creationId xmlns:a16="http://schemas.microsoft.com/office/drawing/2014/main" id="{5088C5F7-92F4-4DC1-87BD-BEF5C87A3675}"/>
                </a:ext>
              </a:extLst>
            </p:cNvPr>
            <p:cNvSpPr/>
            <p:nvPr/>
          </p:nvSpPr>
          <p:spPr>
            <a:xfrm>
              <a:off x="10820827" y="2481679"/>
              <a:ext cx="333390" cy="463568"/>
            </a:xfrm>
            <a:custGeom>
              <a:avLst/>
              <a:gdLst>
                <a:gd name="connsiteX0" fmla="*/ 166377 w 333390"/>
                <a:gd name="connsiteY0" fmla="*/ 230514 h 463568"/>
                <a:gd name="connsiteX1" fmla="*/ 165743 w 333390"/>
                <a:gd name="connsiteY1" fmla="*/ 231149 h 463568"/>
                <a:gd name="connsiteX2" fmla="*/ 165743 w 333390"/>
                <a:gd name="connsiteY2" fmla="*/ 463569 h 463568"/>
                <a:gd name="connsiteX3" fmla="*/ 0 w 333390"/>
                <a:gd name="connsiteY3" fmla="*/ 348629 h 463568"/>
                <a:gd name="connsiteX4" fmla="*/ 0 w 333390"/>
                <a:gd name="connsiteY4" fmla="*/ 116210 h 463568"/>
                <a:gd name="connsiteX5" fmla="*/ 167012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7" y="230514"/>
                  </a:moveTo>
                  <a:lnTo>
                    <a:pt x="165743" y="231149"/>
                  </a:lnTo>
                  <a:lnTo>
                    <a:pt x="165743" y="463569"/>
                  </a:lnTo>
                  <a:lnTo>
                    <a:pt x="0" y="348629"/>
                  </a:lnTo>
                  <a:lnTo>
                    <a:pt x="0" y="116210"/>
                  </a:lnTo>
                  <a:lnTo>
                    <a:pt x="167012"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65" name="Freeform: Shape 264">
              <a:extLst>
                <a:ext uri="{FF2B5EF4-FFF2-40B4-BE49-F238E27FC236}">
                  <a16:creationId xmlns:a16="http://schemas.microsoft.com/office/drawing/2014/main" id="{3F2885F5-C46D-4388-BA77-9E6DC869D443}"/>
                </a:ext>
              </a:extLst>
            </p:cNvPr>
            <p:cNvSpPr/>
            <p:nvPr/>
          </p:nvSpPr>
          <p:spPr>
            <a:xfrm>
              <a:off x="10651274" y="2242909"/>
              <a:ext cx="673766" cy="351804"/>
            </a:xfrm>
            <a:custGeom>
              <a:avLst/>
              <a:gdLst>
                <a:gd name="connsiteX0" fmla="*/ 337836 w 673766"/>
                <a:gd name="connsiteY0" fmla="*/ 234959 h 351804"/>
                <a:gd name="connsiteX1" fmla="*/ 336565 w 673766"/>
                <a:gd name="connsiteY1" fmla="*/ 234324 h 351804"/>
                <a:gd name="connsiteX2" fmla="*/ 168283 w 673766"/>
                <a:gd name="connsiteY2" fmla="*/ 351804 h 351804"/>
                <a:gd name="connsiteX3" fmla="*/ 0 w 673766"/>
                <a:gd name="connsiteY3" fmla="*/ 234324 h 351804"/>
                <a:gd name="connsiteX4" fmla="*/ 336565 w 673766"/>
                <a:gd name="connsiteY4" fmla="*/ 0 h 351804"/>
                <a:gd name="connsiteX5" fmla="*/ 673767 w 673766"/>
                <a:gd name="connsiteY5" fmla="*/ 234324 h 351804"/>
                <a:gd name="connsiteX6" fmla="*/ 506119 w 673766"/>
                <a:gd name="connsiteY6" fmla="*/ 351169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804">
                  <a:moveTo>
                    <a:pt x="337836" y="234959"/>
                  </a:moveTo>
                  <a:lnTo>
                    <a:pt x="336565" y="234324"/>
                  </a:lnTo>
                  <a:lnTo>
                    <a:pt x="168283" y="351804"/>
                  </a:lnTo>
                  <a:lnTo>
                    <a:pt x="0" y="234324"/>
                  </a:lnTo>
                  <a:lnTo>
                    <a:pt x="336565" y="0"/>
                  </a:lnTo>
                  <a:lnTo>
                    <a:pt x="673767" y="234324"/>
                  </a:lnTo>
                  <a:lnTo>
                    <a:pt x="506119"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266" name="Freeform: Shape 265">
              <a:extLst>
                <a:ext uri="{FF2B5EF4-FFF2-40B4-BE49-F238E27FC236}">
                  <a16:creationId xmlns:a16="http://schemas.microsoft.com/office/drawing/2014/main" id="{5394838C-726B-4536-AB33-8679196F9964}"/>
                </a:ext>
              </a:extLst>
            </p:cNvPr>
            <p:cNvSpPr/>
            <p:nvPr/>
          </p:nvSpPr>
          <p:spPr>
            <a:xfrm>
              <a:off x="10991650" y="1179242"/>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67" name="Freeform: Shape 266">
              <a:extLst>
                <a:ext uri="{FF2B5EF4-FFF2-40B4-BE49-F238E27FC236}">
                  <a16:creationId xmlns:a16="http://schemas.microsoft.com/office/drawing/2014/main" id="{BDA7FED4-F82B-44FF-802B-8EF65B1F7331}"/>
                </a:ext>
              </a:extLst>
            </p:cNvPr>
            <p:cNvSpPr/>
            <p:nvPr/>
          </p:nvSpPr>
          <p:spPr>
            <a:xfrm>
              <a:off x="10820827" y="1062397"/>
              <a:ext cx="333390" cy="463568"/>
            </a:xfrm>
            <a:custGeom>
              <a:avLst/>
              <a:gdLst>
                <a:gd name="connsiteX0" fmla="*/ 166377 w 333390"/>
                <a:gd name="connsiteY0" fmla="*/ 230514 h 463568"/>
                <a:gd name="connsiteX1" fmla="*/ 165743 w 333390"/>
                <a:gd name="connsiteY1" fmla="*/ 231149 h 463568"/>
                <a:gd name="connsiteX2" fmla="*/ 165743 w 333390"/>
                <a:gd name="connsiteY2" fmla="*/ 463569 h 463568"/>
                <a:gd name="connsiteX3" fmla="*/ 0 w 333390"/>
                <a:gd name="connsiteY3" fmla="*/ 348629 h 463568"/>
                <a:gd name="connsiteX4" fmla="*/ 0 w 333390"/>
                <a:gd name="connsiteY4" fmla="*/ 116210 h 463568"/>
                <a:gd name="connsiteX5" fmla="*/ 167012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7" y="230514"/>
                  </a:moveTo>
                  <a:lnTo>
                    <a:pt x="165743" y="231149"/>
                  </a:lnTo>
                  <a:lnTo>
                    <a:pt x="165743" y="463569"/>
                  </a:lnTo>
                  <a:lnTo>
                    <a:pt x="0" y="348629"/>
                  </a:lnTo>
                  <a:lnTo>
                    <a:pt x="0" y="116210"/>
                  </a:lnTo>
                  <a:lnTo>
                    <a:pt x="167012"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68" name="Freeform: Shape 267">
              <a:extLst>
                <a:ext uri="{FF2B5EF4-FFF2-40B4-BE49-F238E27FC236}">
                  <a16:creationId xmlns:a16="http://schemas.microsoft.com/office/drawing/2014/main" id="{726A0C84-2204-49BA-93D7-3B3248D345FC}"/>
                </a:ext>
              </a:extLst>
            </p:cNvPr>
            <p:cNvSpPr/>
            <p:nvPr/>
          </p:nvSpPr>
          <p:spPr>
            <a:xfrm>
              <a:off x="10308993" y="1297991"/>
              <a:ext cx="337201" cy="466108"/>
            </a:xfrm>
            <a:custGeom>
              <a:avLst/>
              <a:gdLst>
                <a:gd name="connsiteX0" fmla="*/ 337201 w 337201"/>
                <a:gd name="connsiteY0" fmla="*/ 232419 h 466108"/>
                <a:gd name="connsiteX1" fmla="*/ 0 w 337201"/>
                <a:gd name="connsiteY1" fmla="*/ 466109 h 466108"/>
                <a:gd name="connsiteX2" fmla="*/ 0 w 337201"/>
                <a:gd name="connsiteY2" fmla="*/ 232419 h 466108"/>
                <a:gd name="connsiteX3" fmla="*/ 337201 w 337201"/>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1" h="466108">
                  <a:moveTo>
                    <a:pt x="337201" y="232419"/>
                  </a:moveTo>
                  <a:lnTo>
                    <a:pt x="0"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a:p>
          </p:txBody>
        </p:sp>
        <p:sp>
          <p:nvSpPr>
            <p:cNvPr id="269" name="Freeform: Shape 268">
              <a:extLst>
                <a:ext uri="{FF2B5EF4-FFF2-40B4-BE49-F238E27FC236}">
                  <a16:creationId xmlns:a16="http://schemas.microsoft.com/office/drawing/2014/main" id="{3E635761-188E-4625-90AE-2D5178BA45DC}"/>
                </a:ext>
              </a:extLst>
            </p:cNvPr>
            <p:cNvSpPr/>
            <p:nvPr/>
          </p:nvSpPr>
          <p:spPr>
            <a:xfrm>
              <a:off x="10310898" y="1179242"/>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70" name="Freeform: Shape 269">
              <a:extLst>
                <a:ext uri="{FF2B5EF4-FFF2-40B4-BE49-F238E27FC236}">
                  <a16:creationId xmlns:a16="http://schemas.microsoft.com/office/drawing/2014/main" id="{A013CB7C-B780-4CE5-9AF9-DDEB0A3F5C34}"/>
                </a:ext>
              </a:extLst>
            </p:cNvPr>
            <p:cNvSpPr/>
            <p:nvPr/>
          </p:nvSpPr>
          <p:spPr>
            <a:xfrm>
              <a:off x="10140075" y="1062397"/>
              <a:ext cx="333390" cy="463568"/>
            </a:xfrm>
            <a:custGeom>
              <a:avLst/>
              <a:gdLst>
                <a:gd name="connsiteX0" fmla="*/ 166378 w 333390"/>
                <a:gd name="connsiteY0" fmla="*/ 230514 h 463568"/>
                <a:gd name="connsiteX1" fmla="*/ 165743 w 333390"/>
                <a:gd name="connsiteY1" fmla="*/ 231149 h 463568"/>
                <a:gd name="connsiteX2" fmla="*/ 165743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0514"/>
                  </a:moveTo>
                  <a:lnTo>
                    <a:pt x="165743" y="231149"/>
                  </a:lnTo>
                  <a:lnTo>
                    <a:pt x="165743"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71" name="Freeform: Shape 270">
              <a:extLst>
                <a:ext uri="{FF2B5EF4-FFF2-40B4-BE49-F238E27FC236}">
                  <a16:creationId xmlns:a16="http://schemas.microsoft.com/office/drawing/2014/main" id="{EC46F22E-EDE5-406E-AAA7-6233187D2EC7}"/>
                </a:ext>
              </a:extLst>
            </p:cNvPr>
            <p:cNvSpPr/>
            <p:nvPr/>
          </p:nvSpPr>
          <p:spPr>
            <a:xfrm>
              <a:off x="9628876" y="1298626"/>
              <a:ext cx="336565" cy="465473"/>
            </a:xfrm>
            <a:custGeom>
              <a:avLst/>
              <a:gdLst>
                <a:gd name="connsiteX0" fmla="*/ 336566 w 336565"/>
                <a:gd name="connsiteY0" fmla="*/ 231784 h 465473"/>
                <a:gd name="connsiteX1" fmla="*/ 0 w 336565"/>
                <a:gd name="connsiteY1" fmla="*/ 465474 h 465473"/>
                <a:gd name="connsiteX2" fmla="*/ 0 w 336565"/>
                <a:gd name="connsiteY2" fmla="*/ 231784 h 465473"/>
                <a:gd name="connsiteX3" fmla="*/ 336566 w 336565"/>
                <a:gd name="connsiteY3" fmla="*/ 0 h 465473"/>
              </a:gdLst>
              <a:ahLst/>
              <a:cxnLst>
                <a:cxn ang="0">
                  <a:pos x="connsiteX0" y="connsiteY0"/>
                </a:cxn>
                <a:cxn ang="0">
                  <a:pos x="connsiteX1" y="connsiteY1"/>
                </a:cxn>
                <a:cxn ang="0">
                  <a:pos x="connsiteX2" y="connsiteY2"/>
                </a:cxn>
                <a:cxn ang="0">
                  <a:pos x="connsiteX3" y="connsiteY3"/>
                </a:cxn>
              </a:cxnLst>
              <a:rect l="l" t="t" r="r" b="b"/>
              <a:pathLst>
                <a:path w="336565" h="465473">
                  <a:moveTo>
                    <a:pt x="336566" y="231784"/>
                  </a:moveTo>
                  <a:lnTo>
                    <a:pt x="0" y="465474"/>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72" name="Freeform: Shape 271">
              <a:extLst>
                <a:ext uri="{FF2B5EF4-FFF2-40B4-BE49-F238E27FC236}">
                  <a16:creationId xmlns:a16="http://schemas.microsoft.com/office/drawing/2014/main" id="{0D4704EB-2CC1-462A-921E-CD5419C9E24B}"/>
                </a:ext>
              </a:extLst>
            </p:cNvPr>
            <p:cNvSpPr/>
            <p:nvPr/>
          </p:nvSpPr>
          <p:spPr>
            <a:xfrm>
              <a:off x="9630146" y="1179242"/>
              <a:ext cx="333390" cy="231149"/>
            </a:xfrm>
            <a:custGeom>
              <a:avLst/>
              <a:gdLst>
                <a:gd name="connsiteX0" fmla="*/ 165743 w 333390"/>
                <a:gd name="connsiteY0" fmla="*/ 231149 h 231149"/>
                <a:gd name="connsiteX1" fmla="*/ 0 w 333390"/>
                <a:gd name="connsiteY1" fmla="*/ 115575 h 231149"/>
                <a:gd name="connsiteX2" fmla="*/ 165743 w 333390"/>
                <a:gd name="connsiteY2" fmla="*/ 0 h 231149"/>
                <a:gd name="connsiteX3" fmla="*/ 333391 w 333390"/>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3390" h="231149">
                  <a:moveTo>
                    <a:pt x="165743" y="231149"/>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73" name="Freeform: Shape 272">
              <a:extLst>
                <a:ext uri="{FF2B5EF4-FFF2-40B4-BE49-F238E27FC236}">
                  <a16:creationId xmlns:a16="http://schemas.microsoft.com/office/drawing/2014/main" id="{92241306-BF89-4574-B30E-A1A971C89A53}"/>
                </a:ext>
              </a:extLst>
            </p:cNvPr>
            <p:cNvSpPr/>
            <p:nvPr/>
          </p:nvSpPr>
          <p:spPr>
            <a:xfrm>
              <a:off x="9459958" y="1062397"/>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6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6"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74" name="Freeform: Shape 273">
              <a:extLst>
                <a:ext uri="{FF2B5EF4-FFF2-40B4-BE49-F238E27FC236}">
                  <a16:creationId xmlns:a16="http://schemas.microsoft.com/office/drawing/2014/main" id="{1CD47B2E-C8D0-4134-9147-ECB9963C8C44}"/>
                </a:ext>
              </a:extLst>
            </p:cNvPr>
            <p:cNvSpPr/>
            <p:nvPr/>
          </p:nvSpPr>
          <p:spPr>
            <a:xfrm>
              <a:off x="8948124"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75" name="Freeform: Shape 274">
              <a:extLst>
                <a:ext uri="{FF2B5EF4-FFF2-40B4-BE49-F238E27FC236}">
                  <a16:creationId xmlns:a16="http://schemas.microsoft.com/office/drawing/2014/main" id="{092E866A-9225-4A8A-BEB7-F5E6E8C1869A}"/>
                </a:ext>
              </a:extLst>
            </p:cNvPr>
            <p:cNvSpPr/>
            <p:nvPr/>
          </p:nvSpPr>
          <p:spPr>
            <a:xfrm>
              <a:off x="8949395" y="1179242"/>
              <a:ext cx="334025" cy="231149"/>
            </a:xfrm>
            <a:custGeom>
              <a:avLst/>
              <a:gdLst>
                <a:gd name="connsiteX0" fmla="*/ 165743 w 334025"/>
                <a:gd name="connsiteY0" fmla="*/ 231149 h 231149"/>
                <a:gd name="connsiteX1" fmla="*/ 0 w 334025"/>
                <a:gd name="connsiteY1" fmla="*/ 115575 h 231149"/>
                <a:gd name="connsiteX2" fmla="*/ 165743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5743" y="231149"/>
                  </a:moveTo>
                  <a:lnTo>
                    <a:pt x="0" y="115575"/>
                  </a:lnTo>
                  <a:lnTo>
                    <a:pt x="165743"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76" name="Freeform: Shape 275">
              <a:extLst>
                <a:ext uri="{FF2B5EF4-FFF2-40B4-BE49-F238E27FC236}">
                  <a16:creationId xmlns:a16="http://schemas.microsoft.com/office/drawing/2014/main" id="{09B61E4C-45CC-43BA-90D7-AB847D38D22F}"/>
                </a:ext>
              </a:extLst>
            </p:cNvPr>
            <p:cNvSpPr/>
            <p:nvPr/>
          </p:nvSpPr>
          <p:spPr>
            <a:xfrm>
              <a:off x="8779207" y="1062397"/>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5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5"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77" name="Freeform: Shape 276">
              <a:extLst>
                <a:ext uri="{FF2B5EF4-FFF2-40B4-BE49-F238E27FC236}">
                  <a16:creationId xmlns:a16="http://schemas.microsoft.com/office/drawing/2014/main" id="{9EE45501-7DCF-46F9-BA13-A83F9FB43407}"/>
                </a:ext>
              </a:extLst>
            </p:cNvPr>
            <p:cNvSpPr/>
            <p:nvPr/>
          </p:nvSpPr>
          <p:spPr>
            <a:xfrm>
              <a:off x="8267372" y="1298626"/>
              <a:ext cx="336565" cy="465473"/>
            </a:xfrm>
            <a:custGeom>
              <a:avLst/>
              <a:gdLst>
                <a:gd name="connsiteX0" fmla="*/ 336566 w 336565"/>
                <a:gd name="connsiteY0" fmla="*/ 231784 h 465473"/>
                <a:gd name="connsiteX1" fmla="*/ 0 w 336565"/>
                <a:gd name="connsiteY1" fmla="*/ 465474 h 465473"/>
                <a:gd name="connsiteX2" fmla="*/ 0 w 336565"/>
                <a:gd name="connsiteY2" fmla="*/ 231784 h 465473"/>
                <a:gd name="connsiteX3" fmla="*/ 336566 w 336565"/>
                <a:gd name="connsiteY3" fmla="*/ 0 h 465473"/>
              </a:gdLst>
              <a:ahLst/>
              <a:cxnLst>
                <a:cxn ang="0">
                  <a:pos x="connsiteX0" y="connsiteY0"/>
                </a:cxn>
                <a:cxn ang="0">
                  <a:pos x="connsiteX1" y="connsiteY1"/>
                </a:cxn>
                <a:cxn ang="0">
                  <a:pos x="connsiteX2" y="connsiteY2"/>
                </a:cxn>
                <a:cxn ang="0">
                  <a:pos x="connsiteX3" y="connsiteY3"/>
                </a:cxn>
              </a:cxnLst>
              <a:rect l="l" t="t" r="r" b="b"/>
              <a:pathLst>
                <a:path w="336565" h="465473">
                  <a:moveTo>
                    <a:pt x="336566" y="231784"/>
                  </a:moveTo>
                  <a:lnTo>
                    <a:pt x="0" y="465474"/>
                  </a:lnTo>
                  <a:lnTo>
                    <a:pt x="0" y="231784"/>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78" name="Freeform: Shape 277">
              <a:extLst>
                <a:ext uri="{FF2B5EF4-FFF2-40B4-BE49-F238E27FC236}">
                  <a16:creationId xmlns:a16="http://schemas.microsoft.com/office/drawing/2014/main" id="{C2974C81-C3B4-4067-885A-EC5F81D45CD4}"/>
                </a:ext>
              </a:extLst>
            </p:cNvPr>
            <p:cNvSpPr/>
            <p:nvPr/>
          </p:nvSpPr>
          <p:spPr>
            <a:xfrm>
              <a:off x="8268643" y="1179242"/>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79" name="Freeform: Shape 278">
              <a:extLst>
                <a:ext uri="{FF2B5EF4-FFF2-40B4-BE49-F238E27FC236}">
                  <a16:creationId xmlns:a16="http://schemas.microsoft.com/office/drawing/2014/main" id="{680B1282-20E7-4731-B2CD-7C7DF50BDA07}"/>
                </a:ext>
              </a:extLst>
            </p:cNvPr>
            <p:cNvSpPr/>
            <p:nvPr/>
          </p:nvSpPr>
          <p:spPr>
            <a:xfrm>
              <a:off x="8098455" y="1062397"/>
              <a:ext cx="332755" cy="463568"/>
            </a:xfrm>
            <a:custGeom>
              <a:avLst/>
              <a:gdLst>
                <a:gd name="connsiteX0" fmla="*/ 165743 w 332755"/>
                <a:gd name="connsiteY0" fmla="*/ 230514 h 463568"/>
                <a:gd name="connsiteX1" fmla="*/ 165108 w 332755"/>
                <a:gd name="connsiteY1" fmla="*/ 231149 h 463568"/>
                <a:gd name="connsiteX2" fmla="*/ 165108 w 332755"/>
                <a:gd name="connsiteY2" fmla="*/ 463569 h 463568"/>
                <a:gd name="connsiteX3" fmla="*/ 0 w 332755"/>
                <a:gd name="connsiteY3" fmla="*/ 348629 h 463568"/>
                <a:gd name="connsiteX4" fmla="*/ 0 w 332755"/>
                <a:gd name="connsiteY4" fmla="*/ 116210 h 463568"/>
                <a:gd name="connsiteX5" fmla="*/ 167013 w 332755"/>
                <a:gd name="connsiteY5" fmla="*/ 0 h 463568"/>
                <a:gd name="connsiteX6" fmla="*/ 332755 w 332755"/>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3568">
                  <a:moveTo>
                    <a:pt x="165743" y="230514"/>
                  </a:moveTo>
                  <a:lnTo>
                    <a:pt x="165108" y="231149"/>
                  </a:lnTo>
                  <a:lnTo>
                    <a:pt x="165108" y="463569"/>
                  </a:lnTo>
                  <a:lnTo>
                    <a:pt x="0" y="348629"/>
                  </a:lnTo>
                  <a:lnTo>
                    <a:pt x="0" y="116210"/>
                  </a:lnTo>
                  <a:lnTo>
                    <a:pt x="167013" y="0"/>
                  </a:lnTo>
                  <a:lnTo>
                    <a:pt x="332755"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80" name="Freeform: Shape 279">
              <a:extLst>
                <a:ext uri="{FF2B5EF4-FFF2-40B4-BE49-F238E27FC236}">
                  <a16:creationId xmlns:a16="http://schemas.microsoft.com/office/drawing/2014/main" id="{78C85A5E-7E0D-47FB-A598-6F70F9891DB7}"/>
                </a:ext>
              </a:extLst>
            </p:cNvPr>
            <p:cNvSpPr/>
            <p:nvPr/>
          </p:nvSpPr>
          <p:spPr>
            <a:xfrm>
              <a:off x="7586621"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81" name="Freeform: Shape 280">
              <a:extLst>
                <a:ext uri="{FF2B5EF4-FFF2-40B4-BE49-F238E27FC236}">
                  <a16:creationId xmlns:a16="http://schemas.microsoft.com/office/drawing/2014/main" id="{6CABB3E5-402A-4B25-9D9A-FD54CA7A36F2}"/>
                </a:ext>
              </a:extLst>
            </p:cNvPr>
            <p:cNvSpPr/>
            <p:nvPr/>
          </p:nvSpPr>
          <p:spPr>
            <a:xfrm>
              <a:off x="7587891" y="1179242"/>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82" name="Freeform: Shape 281">
              <a:extLst>
                <a:ext uri="{FF2B5EF4-FFF2-40B4-BE49-F238E27FC236}">
                  <a16:creationId xmlns:a16="http://schemas.microsoft.com/office/drawing/2014/main" id="{0C542B77-63FE-418B-A1A0-9978155FBDCE}"/>
                </a:ext>
              </a:extLst>
            </p:cNvPr>
            <p:cNvSpPr/>
            <p:nvPr/>
          </p:nvSpPr>
          <p:spPr>
            <a:xfrm>
              <a:off x="7417703" y="1062397"/>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83" name="Freeform: Shape 282">
              <a:extLst>
                <a:ext uri="{FF2B5EF4-FFF2-40B4-BE49-F238E27FC236}">
                  <a16:creationId xmlns:a16="http://schemas.microsoft.com/office/drawing/2014/main" id="{32DF6234-64A4-4B88-8EF7-9A539C72ABD2}"/>
                </a:ext>
              </a:extLst>
            </p:cNvPr>
            <p:cNvSpPr/>
            <p:nvPr/>
          </p:nvSpPr>
          <p:spPr>
            <a:xfrm>
              <a:off x="6905869"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84" name="Freeform: Shape 283">
              <a:extLst>
                <a:ext uri="{FF2B5EF4-FFF2-40B4-BE49-F238E27FC236}">
                  <a16:creationId xmlns:a16="http://schemas.microsoft.com/office/drawing/2014/main" id="{C54CCAC2-A35C-4AB0-8A64-4968297D3AD6}"/>
                </a:ext>
              </a:extLst>
            </p:cNvPr>
            <p:cNvSpPr/>
            <p:nvPr/>
          </p:nvSpPr>
          <p:spPr>
            <a:xfrm>
              <a:off x="6907139" y="1179242"/>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85" name="Freeform: Shape 284">
              <a:extLst>
                <a:ext uri="{FF2B5EF4-FFF2-40B4-BE49-F238E27FC236}">
                  <a16:creationId xmlns:a16="http://schemas.microsoft.com/office/drawing/2014/main" id="{1D96D526-5571-48C4-A259-68DB0A45051D}"/>
                </a:ext>
              </a:extLst>
            </p:cNvPr>
            <p:cNvSpPr/>
            <p:nvPr/>
          </p:nvSpPr>
          <p:spPr>
            <a:xfrm>
              <a:off x="6736951" y="1062397"/>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86" name="Freeform: Shape 285">
              <a:extLst>
                <a:ext uri="{FF2B5EF4-FFF2-40B4-BE49-F238E27FC236}">
                  <a16:creationId xmlns:a16="http://schemas.microsoft.com/office/drawing/2014/main" id="{240058E2-1BD2-4B3C-B2E7-D838D04B2CA2}"/>
                </a:ext>
              </a:extLst>
            </p:cNvPr>
            <p:cNvSpPr/>
            <p:nvPr/>
          </p:nvSpPr>
          <p:spPr>
            <a:xfrm>
              <a:off x="6225117" y="1297991"/>
              <a:ext cx="336565" cy="466108"/>
            </a:xfrm>
            <a:custGeom>
              <a:avLst/>
              <a:gdLst>
                <a:gd name="connsiteX0" fmla="*/ 336566 w 336565"/>
                <a:gd name="connsiteY0" fmla="*/ 232419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2419"/>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287" name="Freeform: Shape 286">
              <a:extLst>
                <a:ext uri="{FF2B5EF4-FFF2-40B4-BE49-F238E27FC236}">
                  <a16:creationId xmlns:a16="http://schemas.microsoft.com/office/drawing/2014/main" id="{959E3BF7-64ED-4426-AC4E-6731927E7617}"/>
                </a:ext>
              </a:extLst>
            </p:cNvPr>
            <p:cNvSpPr/>
            <p:nvPr/>
          </p:nvSpPr>
          <p:spPr>
            <a:xfrm>
              <a:off x="6226387" y="1179242"/>
              <a:ext cx="334025" cy="231149"/>
            </a:xfrm>
            <a:custGeom>
              <a:avLst/>
              <a:gdLst>
                <a:gd name="connsiteX0" fmla="*/ 166378 w 334025"/>
                <a:gd name="connsiteY0" fmla="*/ 231149 h 231149"/>
                <a:gd name="connsiteX1" fmla="*/ 0 w 334025"/>
                <a:gd name="connsiteY1" fmla="*/ 115575 h 231149"/>
                <a:gd name="connsiteX2" fmla="*/ 166378 w 334025"/>
                <a:gd name="connsiteY2" fmla="*/ 0 h 231149"/>
                <a:gd name="connsiteX3" fmla="*/ 334026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8" y="231149"/>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88" name="Freeform: Shape 287">
              <a:extLst>
                <a:ext uri="{FF2B5EF4-FFF2-40B4-BE49-F238E27FC236}">
                  <a16:creationId xmlns:a16="http://schemas.microsoft.com/office/drawing/2014/main" id="{8F54D794-6812-4314-AD84-B2E78A4AA269}"/>
                </a:ext>
              </a:extLst>
            </p:cNvPr>
            <p:cNvSpPr/>
            <p:nvPr/>
          </p:nvSpPr>
          <p:spPr>
            <a:xfrm>
              <a:off x="6056199" y="1062397"/>
              <a:ext cx="333390" cy="463568"/>
            </a:xfrm>
            <a:custGeom>
              <a:avLst/>
              <a:gdLst>
                <a:gd name="connsiteX0" fmla="*/ 165743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5743"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289" name="Freeform: Shape 288">
              <a:extLst>
                <a:ext uri="{FF2B5EF4-FFF2-40B4-BE49-F238E27FC236}">
                  <a16:creationId xmlns:a16="http://schemas.microsoft.com/office/drawing/2014/main" id="{12D4095E-CC9A-43A8-B97D-B8AB56121FB3}"/>
                </a:ext>
              </a:extLst>
            </p:cNvPr>
            <p:cNvSpPr/>
            <p:nvPr userDrawn="1"/>
          </p:nvSpPr>
          <p:spPr>
            <a:xfrm>
              <a:off x="10989745" y="3190367"/>
              <a:ext cx="337200" cy="702973"/>
            </a:xfrm>
            <a:custGeom>
              <a:avLst/>
              <a:gdLst>
                <a:gd name="connsiteX0" fmla="*/ 0 w 337200"/>
                <a:gd name="connsiteY0" fmla="*/ 468649 h 702973"/>
                <a:gd name="connsiteX1" fmla="*/ 0 w 337200"/>
                <a:gd name="connsiteY1" fmla="*/ 0 h 702973"/>
                <a:gd name="connsiteX2" fmla="*/ 168283 w 337200"/>
                <a:gd name="connsiteY2" fmla="*/ 116845 h 702973"/>
                <a:gd name="connsiteX3" fmla="*/ 168283 w 337200"/>
                <a:gd name="connsiteY3" fmla="*/ 351804 h 702973"/>
                <a:gd name="connsiteX4" fmla="*/ 337201 w 337200"/>
                <a:gd name="connsiteY4" fmla="*/ 468649 h 702973"/>
                <a:gd name="connsiteX5" fmla="*/ 337201 w 337200"/>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973">
                  <a:moveTo>
                    <a:pt x="0" y="468649"/>
                  </a:moveTo>
                  <a:lnTo>
                    <a:pt x="0" y="0"/>
                  </a:lnTo>
                  <a:lnTo>
                    <a:pt x="168283" y="116845"/>
                  </a:lnTo>
                  <a:lnTo>
                    <a:pt x="168283" y="351804"/>
                  </a:lnTo>
                  <a:lnTo>
                    <a:pt x="337201" y="468649"/>
                  </a:lnTo>
                  <a:lnTo>
                    <a:pt x="337201" y="702973"/>
                  </a:lnTo>
                  <a:close/>
                </a:path>
              </a:pathLst>
            </a:custGeom>
            <a:noFill/>
            <a:ln w="3175" cap="flat">
              <a:solidFill>
                <a:schemeClr val="bg1">
                  <a:alpha val="30000"/>
                </a:schemeClr>
              </a:solidFill>
              <a:prstDash val="solid"/>
              <a:miter/>
            </a:ln>
          </p:spPr>
          <p:txBody>
            <a:bodyPr rtlCol="0" anchor="ctr"/>
            <a:lstStyle/>
            <a:p>
              <a:endParaRPr lang="en-GB"/>
            </a:p>
          </p:txBody>
        </p:sp>
        <p:sp>
          <p:nvSpPr>
            <p:cNvPr id="290" name="Freeform: Shape 289">
              <a:extLst>
                <a:ext uri="{FF2B5EF4-FFF2-40B4-BE49-F238E27FC236}">
                  <a16:creationId xmlns:a16="http://schemas.microsoft.com/office/drawing/2014/main" id="{B12A6A38-0654-478A-A931-1CF9A44B5FB1}"/>
                </a:ext>
              </a:extLst>
            </p:cNvPr>
            <p:cNvSpPr/>
            <p:nvPr/>
          </p:nvSpPr>
          <p:spPr>
            <a:xfrm>
              <a:off x="11330121" y="3427232"/>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291" name="Freeform: Shape 290">
              <a:extLst>
                <a:ext uri="{FF2B5EF4-FFF2-40B4-BE49-F238E27FC236}">
                  <a16:creationId xmlns:a16="http://schemas.microsoft.com/office/drawing/2014/main" id="{19A9F654-709E-42A1-BBBA-A54688DB4E39}"/>
                </a:ext>
              </a:extLst>
            </p:cNvPr>
            <p:cNvSpPr/>
            <p:nvPr/>
          </p:nvSpPr>
          <p:spPr>
            <a:xfrm>
              <a:off x="11331391" y="3307847"/>
              <a:ext cx="334025" cy="231149"/>
            </a:xfrm>
            <a:custGeom>
              <a:avLst/>
              <a:gdLst>
                <a:gd name="connsiteX0" fmla="*/ 166377 w 334025"/>
                <a:gd name="connsiteY0" fmla="*/ 231149 h 231149"/>
                <a:gd name="connsiteX1" fmla="*/ 0 w 334025"/>
                <a:gd name="connsiteY1" fmla="*/ 115574 h 231149"/>
                <a:gd name="connsiteX2" fmla="*/ 166377 w 334025"/>
                <a:gd name="connsiteY2" fmla="*/ 0 h 231149"/>
                <a:gd name="connsiteX3" fmla="*/ 334025 w 334025"/>
                <a:gd name="connsiteY3" fmla="*/ 115574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7" y="231149"/>
                  </a:moveTo>
                  <a:lnTo>
                    <a:pt x="0" y="115574"/>
                  </a:lnTo>
                  <a:lnTo>
                    <a:pt x="166377" y="0"/>
                  </a:lnTo>
                  <a:lnTo>
                    <a:pt x="334025"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292" name="Freeform: Shape 291">
              <a:extLst>
                <a:ext uri="{FF2B5EF4-FFF2-40B4-BE49-F238E27FC236}">
                  <a16:creationId xmlns:a16="http://schemas.microsoft.com/office/drawing/2014/main" id="{CFD0CCE2-EF48-427C-9F99-EBAAB8641F3B}"/>
                </a:ext>
              </a:extLst>
            </p:cNvPr>
            <p:cNvSpPr/>
            <p:nvPr/>
          </p:nvSpPr>
          <p:spPr>
            <a:xfrm>
              <a:off x="11161203" y="3191002"/>
              <a:ext cx="333390" cy="463568"/>
            </a:xfrm>
            <a:custGeom>
              <a:avLst/>
              <a:gdLst>
                <a:gd name="connsiteX0" fmla="*/ 166377 w 333390"/>
                <a:gd name="connsiteY0" fmla="*/ 231149 h 463568"/>
                <a:gd name="connsiteX1" fmla="*/ 165743 w 333390"/>
                <a:gd name="connsiteY1" fmla="*/ 231784 h 463568"/>
                <a:gd name="connsiteX2" fmla="*/ 165743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7" y="231149"/>
                  </a:moveTo>
                  <a:lnTo>
                    <a:pt x="165743" y="231784"/>
                  </a:lnTo>
                  <a:lnTo>
                    <a:pt x="165743"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293" name="Freeform: Shape 292">
              <a:extLst>
                <a:ext uri="{FF2B5EF4-FFF2-40B4-BE49-F238E27FC236}">
                  <a16:creationId xmlns:a16="http://schemas.microsoft.com/office/drawing/2014/main" id="{D6F113D6-755E-4281-9986-739A705A355C}"/>
                </a:ext>
              </a:extLst>
            </p:cNvPr>
            <p:cNvSpPr/>
            <p:nvPr userDrawn="1"/>
          </p:nvSpPr>
          <p:spPr>
            <a:xfrm>
              <a:off x="10991650" y="2952868"/>
              <a:ext cx="673766" cy="351168"/>
            </a:xfrm>
            <a:custGeom>
              <a:avLst/>
              <a:gdLst>
                <a:gd name="connsiteX0" fmla="*/ 337836 w 673766"/>
                <a:gd name="connsiteY0" fmla="*/ 234324 h 351168"/>
                <a:gd name="connsiteX1" fmla="*/ 336566 w 673766"/>
                <a:gd name="connsiteY1" fmla="*/ 233689 h 351168"/>
                <a:gd name="connsiteX2" fmla="*/ 167647 w 673766"/>
                <a:gd name="connsiteY2" fmla="*/ 351169 h 351168"/>
                <a:gd name="connsiteX3" fmla="*/ 0 w 673766"/>
                <a:gd name="connsiteY3" fmla="*/ 234324 h 351168"/>
                <a:gd name="connsiteX4" fmla="*/ 336566 w 673766"/>
                <a:gd name="connsiteY4" fmla="*/ 0 h 351168"/>
                <a:gd name="connsiteX5" fmla="*/ 673766 w 673766"/>
                <a:gd name="connsiteY5" fmla="*/ 234324 h 351168"/>
                <a:gd name="connsiteX6" fmla="*/ 506118 w 673766"/>
                <a:gd name="connsiteY6" fmla="*/ 35053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324"/>
                  </a:moveTo>
                  <a:lnTo>
                    <a:pt x="336566" y="233689"/>
                  </a:lnTo>
                  <a:lnTo>
                    <a:pt x="167647" y="351169"/>
                  </a:lnTo>
                  <a:lnTo>
                    <a:pt x="0" y="234324"/>
                  </a:lnTo>
                  <a:lnTo>
                    <a:pt x="336566" y="0"/>
                  </a:lnTo>
                  <a:lnTo>
                    <a:pt x="673766" y="234324"/>
                  </a:lnTo>
                  <a:lnTo>
                    <a:pt x="506118" y="350534"/>
                  </a:lnTo>
                  <a:close/>
                </a:path>
              </a:pathLst>
            </a:custGeom>
            <a:noFill/>
            <a:ln w="3175" cap="flat">
              <a:solidFill>
                <a:schemeClr val="bg1">
                  <a:alpha val="30000"/>
                </a:schemeClr>
              </a:solidFill>
              <a:prstDash val="solid"/>
              <a:miter/>
            </a:ln>
          </p:spPr>
          <p:txBody>
            <a:bodyPr rtlCol="0" anchor="ctr"/>
            <a:lstStyle/>
            <a:p>
              <a:endParaRPr lang="en-GB"/>
            </a:p>
          </p:txBody>
        </p:sp>
        <p:sp>
          <p:nvSpPr>
            <p:cNvPr id="294" name="Freeform: Shape 293">
              <a:extLst>
                <a:ext uri="{FF2B5EF4-FFF2-40B4-BE49-F238E27FC236}">
                  <a16:creationId xmlns:a16="http://schemas.microsoft.com/office/drawing/2014/main" id="{288D58B7-DB17-4A8B-94E1-CC68C3FB8024}"/>
                </a:ext>
              </a:extLst>
            </p:cNvPr>
            <p:cNvSpPr/>
            <p:nvPr/>
          </p:nvSpPr>
          <p:spPr>
            <a:xfrm>
              <a:off x="11160568" y="2481044"/>
              <a:ext cx="165742" cy="229244"/>
            </a:xfrm>
            <a:custGeom>
              <a:avLst/>
              <a:gdLst>
                <a:gd name="connsiteX0" fmla="*/ 0 w 165742"/>
                <a:gd name="connsiteY0" fmla="*/ 114939 h 229244"/>
                <a:gd name="connsiteX1" fmla="*/ 165743 w 165742"/>
                <a:gd name="connsiteY1" fmla="*/ 0 h 229244"/>
                <a:gd name="connsiteX2" fmla="*/ 165743 w 165742"/>
                <a:gd name="connsiteY2" fmla="*/ 229244 h 229244"/>
              </a:gdLst>
              <a:ahLst/>
              <a:cxnLst>
                <a:cxn ang="0">
                  <a:pos x="connsiteX0" y="connsiteY0"/>
                </a:cxn>
                <a:cxn ang="0">
                  <a:pos x="connsiteX1" y="connsiteY1"/>
                </a:cxn>
                <a:cxn ang="0">
                  <a:pos x="connsiteX2" y="connsiteY2"/>
                </a:cxn>
              </a:cxnLst>
              <a:rect l="l" t="t" r="r" b="b"/>
              <a:pathLst>
                <a:path w="165742" h="229244">
                  <a:moveTo>
                    <a:pt x="0" y="114939"/>
                  </a:moveTo>
                  <a:lnTo>
                    <a:pt x="165743" y="0"/>
                  </a:lnTo>
                  <a:lnTo>
                    <a:pt x="165743" y="229244"/>
                  </a:lnTo>
                  <a:close/>
                </a:path>
              </a:pathLst>
            </a:custGeom>
            <a:noFill/>
            <a:ln w="3175" cap="flat">
              <a:solidFill>
                <a:schemeClr val="bg1">
                  <a:alpha val="30000"/>
                </a:schemeClr>
              </a:solidFill>
              <a:prstDash val="solid"/>
              <a:miter/>
            </a:ln>
          </p:spPr>
          <p:txBody>
            <a:bodyPr rtlCol="0" anchor="ctr"/>
            <a:lstStyle/>
            <a:p>
              <a:endParaRPr lang="en-GB"/>
            </a:p>
          </p:txBody>
        </p:sp>
        <p:sp>
          <p:nvSpPr>
            <p:cNvPr id="295" name="Freeform: Shape 294">
              <a:extLst>
                <a:ext uri="{FF2B5EF4-FFF2-40B4-BE49-F238E27FC236}">
                  <a16:creationId xmlns:a16="http://schemas.microsoft.com/office/drawing/2014/main" id="{E8EB7E8E-9AC5-4207-B9FA-AA323C470FD7}"/>
                </a:ext>
              </a:extLst>
            </p:cNvPr>
            <p:cNvSpPr/>
            <p:nvPr/>
          </p:nvSpPr>
          <p:spPr>
            <a:xfrm>
              <a:off x="10989745" y="1771720"/>
              <a:ext cx="337200" cy="702338"/>
            </a:xfrm>
            <a:custGeom>
              <a:avLst/>
              <a:gdLst>
                <a:gd name="connsiteX0" fmla="*/ 0 w 337200"/>
                <a:gd name="connsiteY0" fmla="*/ 468014 h 702338"/>
                <a:gd name="connsiteX1" fmla="*/ 0 w 337200"/>
                <a:gd name="connsiteY1" fmla="*/ 0 h 702338"/>
                <a:gd name="connsiteX2" fmla="*/ 168283 w 337200"/>
                <a:gd name="connsiteY2" fmla="*/ 116210 h 702338"/>
                <a:gd name="connsiteX3" fmla="*/ 168283 w 337200"/>
                <a:gd name="connsiteY3" fmla="*/ 351169 h 702338"/>
                <a:gd name="connsiteX4" fmla="*/ 337201 w 337200"/>
                <a:gd name="connsiteY4" fmla="*/ 468649 h 702338"/>
                <a:gd name="connsiteX5" fmla="*/ 337201 w 337200"/>
                <a:gd name="connsiteY5" fmla="*/ 702338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00" h="702338">
                  <a:moveTo>
                    <a:pt x="0" y="468014"/>
                  </a:moveTo>
                  <a:lnTo>
                    <a:pt x="0" y="0"/>
                  </a:lnTo>
                  <a:lnTo>
                    <a:pt x="168283" y="116210"/>
                  </a:lnTo>
                  <a:lnTo>
                    <a:pt x="168283" y="351169"/>
                  </a:lnTo>
                  <a:lnTo>
                    <a:pt x="337201" y="468649"/>
                  </a:lnTo>
                  <a:lnTo>
                    <a:pt x="337201" y="702338"/>
                  </a:lnTo>
                  <a:close/>
                </a:path>
              </a:pathLst>
            </a:custGeom>
            <a:noFill/>
            <a:ln w="3175" cap="flat">
              <a:solidFill>
                <a:schemeClr val="bg1">
                  <a:alpha val="30000"/>
                </a:schemeClr>
              </a:solidFill>
              <a:prstDash val="solid"/>
              <a:miter/>
            </a:ln>
          </p:spPr>
          <p:txBody>
            <a:bodyPr rtlCol="0" anchor="ctr"/>
            <a:lstStyle/>
            <a:p>
              <a:endParaRPr lang="en-GB"/>
            </a:p>
          </p:txBody>
        </p:sp>
        <p:sp>
          <p:nvSpPr>
            <p:cNvPr id="296" name="Freeform: Shape 295">
              <a:extLst>
                <a:ext uri="{FF2B5EF4-FFF2-40B4-BE49-F238E27FC236}">
                  <a16:creationId xmlns:a16="http://schemas.microsoft.com/office/drawing/2014/main" id="{FA0DACF7-07A8-49A1-94EA-BB4318E13B87}"/>
                </a:ext>
              </a:extLst>
            </p:cNvPr>
            <p:cNvSpPr/>
            <p:nvPr/>
          </p:nvSpPr>
          <p:spPr>
            <a:xfrm>
              <a:off x="11330121" y="2007950"/>
              <a:ext cx="164472" cy="227339"/>
            </a:xfrm>
            <a:custGeom>
              <a:avLst/>
              <a:gdLst>
                <a:gd name="connsiteX0" fmla="*/ 0 w 164472"/>
                <a:gd name="connsiteY0" fmla="*/ 0 h 227339"/>
                <a:gd name="connsiteX1" fmla="*/ 164473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3"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297" name="Freeform: Shape 296">
              <a:extLst>
                <a:ext uri="{FF2B5EF4-FFF2-40B4-BE49-F238E27FC236}">
                  <a16:creationId xmlns:a16="http://schemas.microsoft.com/office/drawing/2014/main" id="{97B55E4B-5A47-4648-A4B4-F8B8100F7CF4}"/>
                </a:ext>
              </a:extLst>
            </p:cNvPr>
            <p:cNvSpPr/>
            <p:nvPr/>
          </p:nvSpPr>
          <p:spPr>
            <a:xfrm>
              <a:off x="11332026" y="1888565"/>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298" name="Freeform: Shape 297">
              <a:extLst>
                <a:ext uri="{FF2B5EF4-FFF2-40B4-BE49-F238E27FC236}">
                  <a16:creationId xmlns:a16="http://schemas.microsoft.com/office/drawing/2014/main" id="{2D35E042-5FDC-4D40-9460-DB46EF1984D9}"/>
                </a:ext>
              </a:extLst>
            </p:cNvPr>
            <p:cNvSpPr/>
            <p:nvPr/>
          </p:nvSpPr>
          <p:spPr>
            <a:xfrm>
              <a:off x="11161203" y="1771720"/>
              <a:ext cx="333390" cy="463568"/>
            </a:xfrm>
            <a:custGeom>
              <a:avLst/>
              <a:gdLst>
                <a:gd name="connsiteX0" fmla="*/ 166377 w 333390"/>
                <a:gd name="connsiteY0" fmla="*/ 231149 h 463568"/>
                <a:gd name="connsiteX1" fmla="*/ 165743 w 333390"/>
                <a:gd name="connsiteY1" fmla="*/ 231784 h 463568"/>
                <a:gd name="connsiteX2" fmla="*/ 165743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40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7" y="231149"/>
                  </a:moveTo>
                  <a:lnTo>
                    <a:pt x="165743" y="231784"/>
                  </a:lnTo>
                  <a:lnTo>
                    <a:pt x="165743" y="463569"/>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299" name="Freeform: Shape 298">
              <a:extLst>
                <a:ext uri="{FF2B5EF4-FFF2-40B4-BE49-F238E27FC236}">
                  <a16:creationId xmlns:a16="http://schemas.microsoft.com/office/drawing/2014/main" id="{353C1B0E-0D87-4024-A2D3-7B16F275421F}"/>
                </a:ext>
              </a:extLst>
            </p:cNvPr>
            <p:cNvSpPr/>
            <p:nvPr/>
          </p:nvSpPr>
          <p:spPr>
            <a:xfrm>
              <a:off x="10991650" y="1533586"/>
              <a:ext cx="673766" cy="351168"/>
            </a:xfrm>
            <a:custGeom>
              <a:avLst/>
              <a:gdLst>
                <a:gd name="connsiteX0" fmla="*/ 337836 w 673766"/>
                <a:gd name="connsiteY0" fmla="*/ 234324 h 351168"/>
                <a:gd name="connsiteX1" fmla="*/ 336566 w 673766"/>
                <a:gd name="connsiteY1" fmla="*/ 233689 h 351168"/>
                <a:gd name="connsiteX2" fmla="*/ 167647 w 673766"/>
                <a:gd name="connsiteY2" fmla="*/ 351169 h 351168"/>
                <a:gd name="connsiteX3" fmla="*/ 0 w 673766"/>
                <a:gd name="connsiteY3" fmla="*/ 234324 h 351168"/>
                <a:gd name="connsiteX4" fmla="*/ 336566 w 673766"/>
                <a:gd name="connsiteY4" fmla="*/ 0 h 351168"/>
                <a:gd name="connsiteX5" fmla="*/ 673766 w 673766"/>
                <a:gd name="connsiteY5" fmla="*/ 234324 h 351168"/>
                <a:gd name="connsiteX6" fmla="*/ 506118 w 673766"/>
                <a:gd name="connsiteY6" fmla="*/ 350534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8">
                  <a:moveTo>
                    <a:pt x="337836" y="234324"/>
                  </a:moveTo>
                  <a:lnTo>
                    <a:pt x="336566" y="233689"/>
                  </a:lnTo>
                  <a:lnTo>
                    <a:pt x="167647" y="351169"/>
                  </a:lnTo>
                  <a:lnTo>
                    <a:pt x="0" y="234324"/>
                  </a:lnTo>
                  <a:lnTo>
                    <a:pt x="336566" y="0"/>
                  </a:lnTo>
                  <a:lnTo>
                    <a:pt x="673766" y="234324"/>
                  </a:lnTo>
                  <a:lnTo>
                    <a:pt x="506118" y="350534"/>
                  </a:lnTo>
                  <a:close/>
                </a:path>
              </a:pathLst>
            </a:custGeom>
            <a:noFill/>
            <a:ln w="3175" cap="flat">
              <a:solidFill>
                <a:schemeClr val="bg1">
                  <a:alpha val="30000"/>
                </a:schemeClr>
              </a:solidFill>
              <a:prstDash val="solid"/>
              <a:miter/>
            </a:ln>
          </p:spPr>
          <p:txBody>
            <a:bodyPr rtlCol="0" anchor="ctr"/>
            <a:lstStyle/>
            <a:p>
              <a:endParaRPr lang="en-GB"/>
            </a:p>
          </p:txBody>
        </p:sp>
        <p:sp>
          <p:nvSpPr>
            <p:cNvPr id="300" name="Freeform: Shape 299">
              <a:extLst>
                <a:ext uri="{FF2B5EF4-FFF2-40B4-BE49-F238E27FC236}">
                  <a16:creationId xmlns:a16="http://schemas.microsoft.com/office/drawing/2014/main" id="{1208F0FD-CB69-4D4C-B21E-5748A3029F4D}"/>
                </a:ext>
              </a:extLst>
            </p:cNvPr>
            <p:cNvSpPr/>
            <p:nvPr/>
          </p:nvSpPr>
          <p:spPr>
            <a:xfrm>
              <a:off x="11160568"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01" name="Freeform: Shape 300">
              <a:extLst>
                <a:ext uri="{FF2B5EF4-FFF2-40B4-BE49-F238E27FC236}">
                  <a16:creationId xmlns:a16="http://schemas.microsoft.com/office/drawing/2014/main" id="{EA306DBC-4A6E-40F1-8A3C-F4BA4B73F445}"/>
                </a:ext>
              </a:extLst>
            </p:cNvPr>
            <p:cNvSpPr/>
            <p:nvPr/>
          </p:nvSpPr>
          <p:spPr>
            <a:xfrm>
              <a:off x="10479816" y="1061762"/>
              <a:ext cx="166377" cy="229244"/>
            </a:xfrm>
            <a:custGeom>
              <a:avLst/>
              <a:gdLst>
                <a:gd name="connsiteX0" fmla="*/ 166378 w 166377"/>
                <a:gd name="connsiteY0" fmla="*/ 229244 h 229244"/>
                <a:gd name="connsiteX1" fmla="*/ 0 w 166377"/>
                <a:gd name="connsiteY1" fmla="*/ 114940 h 229244"/>
                <a:gd name="connsiteX2" fmla="*/ 166378 w 166377"/>
                <a:gd name="connsiteY2" fmla="*/ 0 h 229244"/>
              </a:gdLst>
              <a:ahLst/>
              <a:cxnLst>
                <a:cxn ang="0">
                  <a:pos x="connsiteX0" y="connsiteY0"/>
                </a:cxn>
                <a:cxn ang="0">
                  <a:pos x="connsiteX1" y="connsiteY1"/>
                </a:cxn>
                <a:cxn ang="0">
                  <a:pos x="connsiteX2" y="connsiteY2"/>
                </a:cxn>
              </a:cxnLst>
              <a:rect l="l" t="t" r="r" b="b"/>
              <a:pathLst>
                <a:path w="166377" h="229244">
                  <a:moveTo>
                    <a:pt x="166378" y="229244"/>
                  </a:moveTo>
                  <a:lnTo>
                    <a:pt x="0" y="114940"/>
                  </a:lnTo>
                  <a:lnTo>
                    <a:pt x="166378" y="0"/>
                  </a:lnTo>
                  <a:close/>
                </a:path>
              </a:pathLst>
            </a:custGeom>
            <a:noFill/>
            <a:ln w="3175" cap="flat">
              <a:solidFill>
                <a:schemeClr val="bg1">
                  <a:alpha val="30000"/>
                </a:schemeClr>
              </a:solidFill>
              <a:prstDash val="solid"/>
              <a:miter/>
            </a:ln>
          </p:spPr>
          <p:txBody>
            <a:bodyPr rtlCol="0" anchor="ctr"/>
            <a:lstStyle/>
            <a:p>
              <a:endParaRPr lang="en-GB"/>
            </a:p>
          </p:txBody>
        </p:sp>
        <p:sp>
          <p:nvSpPr>
            <p:cNvPr id="302" name="Freeform: Shape 301">
              <a:extLst>
                <a:ext uri="{FF2B5EF4-FFF2-40B4-BE49-F238E27FC236}">
                  <a16:creationId xmlns:a16="http://schemas.microsoft.com/office/drawing/2014/main" id="{70C0CD80-1873-48B5-95AF-529A9754991F}"/>
                </a:ext>
              </a:extLst>
            </p:cNvPr>
            <p:cNvSpPr/>
            <p:nvPr/>
          </p:nvSpPr>
          <p:spPr>
            <a:xfrm>
              <a:off x="9799699"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03" name="Freeform: Shape 302">
              <a:extLst>
                <a:ext uri="{FF2B5EF4-FFF2-40B4-BE49-F238E27FC236}">
                  <a16:creationId xmlns:a16="http://schemas.microsoft.com/office/drawing/2014/main" id="{377B49AE-C42C-4EA0-930C-C00692BCED13}"/>
                </a:ext>
              </a:extLst>
            </p:cNvPr>
            <p:cNvSpPr/>
            <p:nvPr/>
          </p:nvSpPr>
          <p:spPr>
            <a:xfrm>
              <a:off x="9118948"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04" name="Freeform: Shape 303">
              <a:extLst>
                <a:ext uri="{FF2B5EF4-FFF2-40B4-BE49-F238E27FC236}">
                  <a16:creationId xmlns:a16="http://schemas.microsoft.com/office/drawing/2014/main" id="{76EDEDC9-4DA7-40D8-96D2-7CBA0CD5FDDE}"/>
                </a:ext>
              </a:extLst>
            </p:cNvPr>
            <p:cNvSpPr/>
            <p:nvPr/>
          </p:nvSpPr>
          <p:spPr>
            <a:xfrm>
              <a:off x="8438196"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05" name="Freeform: Shape 304">
              <a:extLst>
                <a:ext uri="{FF2B5EF4-FFF2-40B4-BE49-F238E27FC236}">
                  <a16:creationId xmlns:a16="http://schemas.microsoft.com/office/drawing/2014/main" id="{27E136DA-DD4E-496F-86CB-6E657B23CCB8}"/>
                </a:ext>
              </a:extLst>
            </p:cNvPr>
            <p:cNvSpPr/>
            <p:nvPr/>
          </p:nvSpPr>
          <p:spPr>
            <a:xfrm>
              <a:off x="7757444"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06" name="Freeform: Shape 305">
              <a:extLst>
                <a:ext uri="{FF2B5EF4-FFF2-40B4-BE49-F238E27FC236}">
                  <a16:creationId xmlns:a16="http://schemas.microsoft.com/office/drawing/2014/main" id="{D02B0CB8-D8F5-456C-BAF1-2CDECFC4C3AF}"/>
                </a:ext>
              </a:extLst>
            </p:cNvPr>
            <p:cNvSpPr/>
            <p:nvPr/>
          </p:nvSpPr>
          <p:spPr>
            <a:xfrm>
              <a:off x="7076692"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07" name="Freeform: Shape 306">
              <a:extLst>
                <a:ext uri="{FF2B5EF4-FFF2-40B4-BE49-F238E27FC236}">
                  <a16:creationId xmlns:a16="http://schemas.microsoft.com/office/drawing/2014/main" id="{213B9934-BED1-4524-A498-049661102B40}"/>
                </a:ext>
              </a:extLst>
            </p:cNvPr>
            <p:cNvSpPr/>
            <p:nvPr/>
          </p:nvSpPr>
          <p:spPr>
            <a:xfrm>
              <a:off x="6395940"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08" name="Freeform: Shape 307">
              <a:extLst>
                <a:ext uri="{FF2B5EF4-FFF2-40B4-BE49-F238E27FC236}">
                  <a16:creationId xmlns:a16="http://schemas.microsoft.com/office/drawing/2014/main" id="{7BEB4C63-1A68-4CF2-8C24-2C5065C42B07}"/>
                </a:ext>
              </a:extLst>
            </p:cNvPr>
            <p:cNvSpPr/>
            <p:nvPr/>
          </p:nvSpPr>
          <p:spPr>
            <a:xfrm>
              <a:off x="5715188" y="1061762"/>
              <a:ext cx="165742" cy="229244"/>
            </a:xfrm>
            <a:custGeom>
              <a:avLst/>
              <a:gdLst>
                <a:gd name="connsiteX0" fmla="*/ 165743 w 165742"/>
                <a:gd name="connsiteY0" fmla="*/ 229244 h 229244"/>
                <a:gd name="connsiteX1" fmla="*/ 0 w 165742"/>
                <a:gd name="connsiteY1" fmla="*/ 114940 h 229244"/>
                <a:gd name="connsiteX2" fmla="*/ 165743 w 165742"/>
                <a:gd name="connsiteY2" fmla="*/ 0 h 229244"/>
              </a:gdLst>
              <a:ahLst/>
              <a:cxnLst>
                <a:cxn ang="0">
                  <a:pos x="connsiteX0" y="connsiteY0"/>
                </a:cxn>
                <a:cxn ang="0">
                  <a:pos x="connsiteX1" y="connsiteY1"/>
                </a:cxn>
                <a:cxn ang="0">
                  <a:pos x="connsiteX2" y="connsiteY2"/>
                </a:cxn>
              </a:cxnLst>
              <a:rect l="l" t="t" r="r" b="b"/>
              <a:pathLst>
                <a:path w="165742" h="229244">
                  <a:moveTo>
                    <a:pt x="165743" y="229244"/>
                  </a:moveTo>
                  <a:lnTo>
                    <a:pt x="0" y="114940"/>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09" name="Freeform: Shape 308">
              <a:extLst>
                <a:ext uri="{FF2B5EF4-FFF2-40B4-BE49-F238E27FC236}">
                  <a16:creationId xmlns:a16="http://schemas.microsoft.com/office/drawing/2014/main" id="{9C3BF88E-3750-45C8-A061-E715298B5ADA}"/>
                </a:ext>
              </a:extLst>
            </p:cNvPr>
            <p:cNvSpPr/>
            <p:nvPr/>
          </p:nvSpPr>
          <p:spPr>
            <a:xfrm>
              <a:off x="11500944" y="3190367"/>
              <a:ext cx="165742" cy="229879"/>
            </a:xfrm>
            <a:custGeom>
              <a:avLst/>
              <a:gdLst>
                <a:gd name="connsiteX0" fmla="*/ 0 w 165742"/>
                <a:gd name="connsiteY0" fmla="*/ 115575 h 229879"/>
                <a:gd name="connsiteX1" fmla="*/ 165743 w 165742"/>
                <a:gd name="connsiteY1" fmla="*/ 0 h 229879"/>
                <a:gd name="connsiteX2" fmla="*/ 165743 w 165742"/>
                <a:gd name="connsiteY2" fmla="*/ 229879 h 229879"/>
              </a:gdLst>
              <a:ahLst/>
              <a:cxnLst>
                <a:cxn ang="0">
                  <a:pos x="connsiteX0" y="connsiteY0"/>
                </a:cxn>
                <a:cxn ang="0">
                  <a:pos x="connsiteX1" y="connsiteY1"/>
                </a:cxn>
                <a:cxn ang="0">
                  <a:pos x="connsiteX2" y="connsiteY2"/>
                </a:cxn>
              </a:cxnLst>
              <a:rect l="l" t="t" r="r" b="b"/>
              <a:pathLst>
                <a:path w="165742" h="229879">
                  <a:moveTo>
                    <a:pt x="0" y="115575"/>
                  </a:moveTo>
                  <a:lnTo>
                    <a:pt x="165743" y="0"/>
                  </a:lnTo>
                  <a:lnTo>
                    <a:pt x="165743" y="229879"/>
                  </a:lnTo>
                  <a:close/>
                </a:path>
              </a:pathLst>
            </a:custGeom>
            <a:noFill/>
            <a:ln w="3175" cap="flat">
              <a:solidFill>
                <a:schemeClr val="bg1">
                  <a:alpha val="30000"/>
                </a:schemeClr>
              </a:solidFill>
              <a:prstDash val="solid"/>
              <a:miter/>
            </a:ln>
          </p:spPr>
          <p:txBody>
            <a:bodyPr rtlCol="0" anchor="ctr"/>
            <a:lstStyle/>
            <a:p>
              <a:endParaRPr lang="en-GB"/>
            </a:p>
          </p:txBody>
        </p:sp>
        <p:sp>
          <p:nvSpPr>
            <p:cNvPr id="310" name="Freeform: Shape 309">
              <a:extLst>
                <a:ext uri="{FF2B5EF4-FFF2-40B4-BE49-F238E27FC236}">
                  <a16:creationId xmlns:a16="http://schemas.microsoft.com/office/drawing/2014/main" id="{C6FBBE5A-F397-4A06-BAAE-5C63E9F56712}"/>
                </a:ext>
              </a:extLst>
            </p:cNvPr>
            <p:cNvSpPr/>
            <p:nvPr/>
          </p:nvSpPr>
          <p:spPr>
            <a:xfrm>
              <a:off x="11500944" y="1771085"/>
              <a:ext cx="165742" cy="229879"/>
            </a:xfrm>
            <a:custGeom>
              <a:avLst/>
              <a:gdLst>
                <a:gd name="connsiteX0" fmla="*/ 0 w 165742"/>
                <a:gd name="connsiteY0" fmla="*/ 115575 h 229879"/>
                <a:gd name="connsiteX1" fmla="*/ 165743 w 165742"/>
                <a:gd name="connsiteY1" fmla="*/ 0 h 229879"/>
                <a:gd name="connsiteX2" fmla="*/ 165743 w 165742"/>
                <a:gd name="connsiteY2" fmla="*/ 229879 h 229879"/>
              </a:gdLst>
              <a:ahLst/>
              <a:cxnLst>
                <a:cxn ang="0">
                  <a:pos x="connsiteX0" y="connsiteY0"/>
                </a:cxn>
                <a:cxn ang="0">
                  <a:pos x="connsiteX1" y="connsiteY1"/>
                </a:cxn>
                <a:cxn ang="0">
                  <a:pos x="connsiteX2" y="connsiteY2"/>
                </a:cxn>
              </a:cxnLst>
              <a:rect l="l" t="t" r="r" b="b"/>
              <a:pathLst>
                <a:path w="165742" h="229879">
                  <a:moveTo>
                    <a:pt x="0" y="115575"/>
                  </a:moveTo>
                  <a:lnTo>
                    <a:pt x="165743" y="0"/>
                  </a:lnTo>
                  <a:lnTo>
                    <a:pt x="165743" y="229879"/>
                  </a:lnTo>
                  <a:close/>
                </a:path>
              </a:pathLst>
            </a:custGeom>
            <a:noFill/>
            <a:ln w="3175" cap="flat">
              <a:solidFill>
                <a:schemeClr val="bg1">
                  <a:alpha val="30000"/>
                </a:schemeClr>
              </a:solidFill>
              <a:prstDash val="solid"/>
              <a:miter/>
            </a:ln>
          </p:spPr>
          <p:txBody>
            <a:bodyPr rtlCol="0" anchor="ctr"/>
            <a:lstStyle/>
            <a:p>
              <a:endParaRPr lang="en-GB"/>
            </a:p>
          </p:txBody>
        </p:sp>
        <p:sp>
          <p:nvSpPr>
            <p:cNvPr id="311" name="Freeform: Shape 310">
              <a:extLst>
                <a:ext uri="{FF2B5EF4-FFF2-40B4-BE49-F238E27FC236}">
                  <a16:creationId xmlns:a16="http://schemas.microsoft.com/office/drawing/2014/main" id="{8631E268-38E2-4993-82BD-A36EEE17F04D}"/>
                </a:ext>
              </a:extLst>
            </p:cNvPr>
            <p:cNvSpPr/>
            <p:nvPr/>
          </p:nvSpPr>
          <p:spPr>
            <a:xfrm>
              <a:off x="11671767" y="1179242"/>
              <a:ext cx="334025" cy="231149"/>
            </a:xfrm>
            <a:custGeom>
              <a:avLst/>
              <a:gdLst>
                <a:gd name="connsiteX0" fmla="*/ 166377 w 334025"/>
                <a:gd name="connsiteY0" fmla="*/ 231149 h 231149"/>
                <a:gd name="connsiteX1" fmla="*/ 0 w 334025"/>
                <a:gd name="connsiteY1" fmla="*/ 115575 h 231149"/>
                <a:gd name="connsiteX2" fmla="*/ 166377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7" y="231149"/>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12" name="Freeform: Shape 311">
              <a:extLst>
                <a:ext uri="{FF2B5EF4-FFF2-40B4-BE49-F238E27FC236}">
                  <a16:creationId xmlns:a16="http://schemas.microsoft.com/office/drawing/2014/main" id="{28533AA8-92C8-46B1-9567-02527BACAA79}"/>
                </a:ext>
              </a:extLst>
            </p:cNvPr>
            <p:cNvSpPr/>
            <p:nvPr/>
          </p:nvSpPr>
          <p:spPr>
            <a:xfrm>
              <a:off x="11501579" y="1062397"/>
              <a:ext cx="333390" cy="463568"/>
            </a:xfrm>
            <a:custGeom>
              <a:avLst/>
              <a:gdLst>
                <a:gd name="connsiteX0" fmla="*/ 166378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313" name="Freeform: Shape 312">
              <a:extLst>
                <a:ext uri="{FF2B5EF4-FFF2-40B4-BE49-F238E27FC236}">
                  <a16:creationId xmlns:a16="http://schemas.microsoft.com/office/drawing/2014/main" id="{EAB24CC8-78E6-4CC9-A33D-D2EE7C9CF921}"/>
                </a:ext>
              </a:extLst>
            </p:cNvPr>
            <p:cNvSpPr/>
            <p:nvPr/>
          </p:nvSpPr>
          <p:spPr>
            <a:xfrm>
              <a:off x="11331391" y="824262"/>
              <a:ext cx="674401" cy="351169"/>
            </a:xfrm>
            <a:custGeom>
              <a:avLst/>
              <a:gdLst>
                <a:gd name="connsiteX0" fmla="*/ 338470 w 674401"/>
                <a:gd name="connsiteY0" fmla="*/ 234324 h 351169"/>
                <a:gd name="connsiteX1" fmla="*/ 337201 w 674401"/>
                <a:gd name="connsiteY1" fmla="*/ 233689 h 351169"/>
                <a:gd name="connsiteX2" fmla="*/ 168283 w 674401"/>
                <a:gd name="connsiteY2" fmla="*/ 351169 h 351169"/>
                <a:gd name="connsiteX3" fmla="*/ 0 w 674401"/>
                <a:gd name="connsiteY3" fmla="*/ 233689 h 351169"/>
                <a:gd name="connsiteX4" fmla="*/ 337201 w 674401"/>
                <a:gd name="connsiteY4" fmla="*/ 0 h 351169"/>
                <a:gd name="connsiteX5" fmla="*/ 674401 w 674401"/>
                <a:gd name="connsiteY5" fmla="*/ 233689 h 351169"/>
                <a:gd name="connsiteX6" fmla="*/ 506753 w 674401"/>
                <a:gd name="connsiteY6" fmla="*/ 35053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338470" y="234324"/>
                  </a:moveTo>
                  <a:lnTo>
                    <a:pt x="337201" y="233689"/>
                  </a:lnTo>
                  <a:lnTo>
                    <a:pt x="168283" y="351169"/>
                  </a:lnTo>
                  <a:lnTo>
                    <a:pt x="0" y="233689"/>
                  </a:lnTo>
                  <a:lnTo>
                    <a:pt x="337201" y="0"/>
                  </a:lnTo>
                  <a:lnTo>
                    <a:pt x="674401" y="233689"/>
                  </a:lnTo>
                  <a:lnTo>
                    <a:pt x="506753" y="350534"/>
                  </a:lnTo>
                  <a:close/>
                </a:path>
              </a:pathLst>
            </a:custGeom>
            <a:noFill/>
            <a:ln w="3175" cap="flat">
              <a:solidFill>
                <a:schemeClr val="bg1">
                  <a:alpha val="30000"/>
                </a:schemeClr>
              </a:solidFill>
              <a:prstDash val="solid"/>
              <a:miter/>
            </a:ln>
          </p:spPr>
          <p:txBody>
            <a:bodyPr rtlCol="0" anchor="ctr"/>
            <a:lstStyle/>
            <a:p>
              <a:endParaRPr lang="en-GB"/>
            </a:p>
          </p:txBody>
        </p:sp>
        <p:sp>
          <p:nvSpPr>
            <p:cNvPr id="314" name="Freeform: Shape 313">
              <a:extLst>
                <a:ext uri="{FF2B5EF4-FFF2-40B4-BE49-F238E27FC236}">
                  <a16:creationId xmlns:a16="http://schemas.microsoft.com/office/drawing/2014/main" id="{F71FF9DE-63B5-491B-9E38-500A6B3542FB}"/>
                </a:ext>
              </a:extLst>
            </p:cNvPr>
            <p:cNvSpPr/>
            <p:nvPr/>
          </p:nvSpPr>
          <p:spPr>
            <a:xfrm>
              <a:off x="11330121"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315" name="Freeform: Shape 314">
              <a:extLst>
                <a:ext uri="{FF2B5EF4-FFF2-40B4-BE49-F238E27FC236}">
                  <a16:creationId xmlns:a16="http://schemas.microsoft.com/office/drawing/2014/main" id="{38F6A2B3-20B0-4B23-8F7C-5B7C31796F5A}"/>
                </a:ext>
              </a:extLst>
            </p:cNvPr>
            <p:cNvSpPr/>
            <p:nvPr/>
          </p:nvSpPr>
          <p:spPr>
            <a:xfrm>
              <a:off x="11331391" y="469283"/>
              <a:ext cx="334025" cy="231784"/>
            </a:xfrm>
            <a:custGeom>
              <a:avLst/>
              <a:gdLst>
                <a:gd name="connsiteX0" fmla="*/ 166377 w 334025"/>
                <a:gd name="connsiteY0" fmla="*/ 231784 h 231784"/>
                <a:gd name="connsiteX1" fmla="*/ 0 w 334025"/>
                <a:gd name="connsiteY1" fmla="*/ 115575 h 231784"/>
                <a:gd name="connsiteX2" fmla="*/ 166377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7" y="231784"/>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16" name="Freeform: Shape 315">
              <a:extLst>
                <a:ext uri="{FF2B5EF4-FFF2-40B4-BE49-F238E27FC236}">
                  <a16:creationId xmlns:a16="http://schemas.microsoft.com/office/drawing/2014/main" id="{619AF764-A941-44E8-AEF1-4D7FECBA0A40}"/>
                </a:ext>
              </a:extLst>
            </p:cNvPr>
            <p:cNvSpPr/>
            <p:nvPr/>
          </p:nvSpPr>
          <p:spPr>
            <a:xfrm>
              <a:off x="11161203" y="352439"/>
              <a:ext cx="333390" cy="464203"/>
            </a:xfrm>
            <a:custGeom>
              <a:avLst/>
              <a:gdLst>
                <a:gd name="connsiteX0" fmla="*/ 166377 w 333390"/>
                <a:gd name="connsiteY0" fmla="*/ 231149 h 464203"/>
                <a:gd name="connsiteX1" fmla="*/ 165743 w 333390"/>
                <a:gd name="connsiteY1" fmla="*/ 231784 h 464203"/>
                <a:gd name="connsiteX2" fmla="*/ 165743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6377" y="231149"/>
                  </a:moveTo>
                  <a:lnTo>
                    <a:pt x="165743" y="231784"/>
                  </a:lnTo>
                  <a:lnTo>
                    <a:pt x="165743"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17" name="Freeform: Shape 316">
              <a:extLst>
                <a:ext uri="{FF2B5EF4-FFF2-40B4-BE49-F238E27FC236}">
                  <a16:creationId xmlns:a16="http://schemas.microsoft.com/office/drawing/2014/main" id="{AD9B25C9-F2B6-47EC-AEF7-81B1F4F91993}"/>
                </a:ext>
              </a:extLst>
            </p:cNvPr>
            <p:cNvSpPr/>
            <p:nvPr/>
          </p:nvSpPr>
          <p:spPr>
            <a:xfrm>
              <a:off x="10649369" y="588668"/>
              <a:ext cx="337200" cy="466108"/>
            </a:xfrm>
            <a:custGeom>
              <a:avLst/>
              <a:gdLst>
                <a:gd name="connsiteX0" fmla="*/ 337201 w 337200"/>
                <a:gd name="connsiteY0" fmla="*/ 231784 h 466108"/>
                <a:gd name="connsiteX1" fmla="*/ 0 w 337200"/>
                <a:gd name="connsiteY1" fmla="*/ 466109 h 466108"/>
                <a:gd name="connsiteX2" fmla="*/ 0 w 337200"/>
                <a:gd name="connsiteY2" fmla="*/ 232419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0"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a:p>
          </p:txBody>
        </p:sp>
        <p:sp>
          <p:nvSpPr>
            <p:cNvPr id="318" name="Freeform: Shape 317">
              <a:extLst>
                <a:ext uri="{FF2B5EF4-FFF2-40B4-BE49-F238E27FC236}">
                  <a16:creationId xmlns:a16="http://schemas.microsoft.com/office/drawing/2014/main" id="{C85E8ED8-8E8F-4A34-B38A-6943F1CFFFE6}"/>
                </a:ext>
              </a:extLst>
            </p:cNvPr>
            <p:cNvSpPr/>
            <p:nvPr/>
          </p:nvSpPr>
          <p:spPr>
            <a:xfrm>
              <a:off x="10651274" y="469283"/>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0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0"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19" name="Freeform: Shape 318">
              <a:extLst>
                <a:ext uri="{FF2B5EF4-FFF2-40B4-BE49-F238E27FC236}">
                  <a16:creationId xmlns:a16="http://schemas.microsoft.com/office/drawing/2014/main" id="{F1DD2135-868C-4A52-B10A-DCC4100F5FE7}"/>
                </a:ext>
              </a:extLst>
            </p:cNvPr>
            <p:cNvSpPr/>
            <p:nvPr/>
          </p:nvSpPr>
          <p:spPr>
            <a:xfrm>
              <a:off x="10480451" y="352439"/>
              <a:ext cx="333390" cy="464203"/>
            </a:xfrm>
            <a:custGeom>
              <a:avLst/>
              <a:gdLst>
                <a:gd name="connsiteX0" fmla="*/ 166378 w 333390"/>
                <a:gd name="connsiteY0" fmla="*/ 231149 h 464203"/>
                <a:gd name="connsiteX1" fmla="*/ 165743 w 333390"/>
                <a:gd name="connsiteY1" fmla="*/ 231784 h 464203"/>
                <a:gd name="connsiteX2" fmla="*/ 165743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6378" y="231149"/>
                  </a:moveTo>
                  <a:lnTo>
                    <a:pt x="165743" y="231784"/>
                  </a:lnTo>
                  <a:lnTo>
                    <a:pt x="165743"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20" name="Freeform: Shape 319">
              <a:extLst>
                <a:ext uri="{FF2B5EF4-FFF2-40B4-BE49-F238E27FC236}">
                  <a16:creationId xmlns:a16="http://schemas.microsoft.com/office/drawing/2014/main" id="{1D8467DC-9828-478B-A9D8-CD3DF612D027}"/>
                </a:ext>
              </a:extLst>
            </p:cNvPr>
            <p:cNvSpPr/>
            <p:nvPr/>
          </p:nvSpPr>
          <p:spPr>
            <a:xfrm>
              <a:off x="9968617" y="588668"/>
              <a:ext cx="337200" cy="466108"/>
            </a:xfrm>
            <a:custGeom>
              <a:avLst/>
              <a:gdLst>
                <a:gd name="connsiteX0" fmla="*/ 337201 w 337200"/>
                <a:gd name="connsiteY0" fmla="*/ 231784 h 466108"/>
                <a:gd name="connsiteX1" fmla="*/ 635 w 337200"/>
                <a:gd name="connsiteY1" fmla="*/ 466109 h 466108"/>
                <a:gd name="connsiteX2" fmla="*/ 0 w 337200"/>
                <a:gd name="connsiteY2" fmla="*/ 232419 h 466108"/>
                <a:gd name="connsiteX3" fmla="*/ 337201 w 337200"/>
                <a:gd name="connsiteY3" fmla="*/ 0 h 466108"/>
              </a:gdLst>
              <a:ahLst/>
              <a:cxnLst>
                <a:cxn ang="0">
                  <a:pos x="connsiteX0" y="connsiteY0"/>
                </a:cxn>
                <a:cxn ang="0">
                  <a:pos x="connsiteX1" y="connsiteY1"/>
                </a:cxn>
                <a:cxn ang="0">
                  <a:pos x="connsiteX2" y="connsiteY2"/>
                </a:cxn>
                <a:cxn ang="0">
                  <a:pos x="connsiteX3" y="connsiteY3"/>
                </a:cxn>
              </a:cxnLst>
              <a:rect l="l" t="t" r="r" b="b"/>
              <a:pathLst>
                <a:path w="337200" h="466108">
                  <a:moveTo>
                    <a:pt x="337201" y="231784"/>
                  </a:moveTo>
                  <a:lnTo>
                    <a:pt x="635" y="466109"/>
                  </a:lnTo>
                  <a:lnTo>
                    <a:pt x="0" y="232419"/>
                  </a:lnTo>
                  <a:lnTo>
                    <a:pt x="337201" y="0"/>
                  </a:lnTo>
                  <a:close/>
                </a:path>
              </a:pathLst>
            </a:custGeom>
            <a:noFill/>
            <a:ln w="3175" cap="flat">
              <a:solidFill>
                <a:schemeClr val="bg1">
                  <a:alpha val="30000"/>
                </a:schemeClr>
              </a:solidFill>
              <a:prstDash val="solid"/>
              <a:miter/>
            </a:ln>
          </p:spPr>
          <p:txBody>
            <a:bodyPr rtlCol="0" anchor="ctr"/>
            <a:lstStyle/>
            <a:p>
              <a:endParaRPr lang="en-GB"/>
            </a:p>
          </p:txBody>
        </p:sp>
        <p:sp>
          <p:nvSpPr>
            <p:cNvPr id="321" name="Freeform: Shape 320">
              <a:extLst>
                <a:ext uri="{FF2B5EF4-FFF2-40B4-BE49-F238E27FC236}">
                  <a16:creationId xmlns:a16="http://schemas.microsoft.com/office/drawing/2014/main" id="{01C9BBF7-8F50-42C1-AC9D-783DF95871F8}"/>
                </a:ext>
              </a:extLst>
            </p:cNvPr>
            <p:cNvSpPr/>
            <p:nvPr/>
          </p:nvSpPr>
          <p:spPr>
            <a:xfrm>
              <a:off x="9970522" y="469283"/>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22" name="Freeform: Shape 321">
              <a:extLst>
                <a:ext uri="{FF2B5EF4-FFF2-40B4-BE49-F238E27FC236}">
                  <a16:creationId xmlns:a16="http://schemas.microsoft.com/office/drawing/2014/main" id="{BA205240-8FAD-4B1B-9D10-7D0DD93F71BE}"/>
                </a:ext>
              </a:extLst>
            </p:cNvPr>
            <p:cNvSpPr/>
            <p:nvPr/>
          </p:nvSpPr>
          <p:spPr>
            <a:xfrm>
              <a:off x="9800334" y="352439"/>
              <a:ext cx="332755" cy="464203"/>
            </a:xfrm>
            <a:custGeom>
              <a:avLst/>
              <a:gdLst>
                <a:gd name="connsiteX0" fmla="*/ 165743 w 332755"/>
                <a:gd name="connsiteY0" fmla="*/ 231149 h 464203"/>
                <a:gd name="connsiteX1" fmla="*/ 165108 w 332755"/>
                <a:gd name="connsiteY1" fmla="*/ 231784 h 464203"/>
                <a:gd name="connsiteX2" fmla="*/ 165108 w 332755"/>
                <a:gd name="connsiteY2" fmla="*/ 464204 h 464203"/>
                <a:gd name="connsiteX3" fmla="*/ 0 w 332755"/>
                <a:gd name="connsiteY3" fmla="*/ 349264 h 464203"/>
                <a:gd name="connsiteX4" fmla="*/ 0 w 332755"/>
                <a:gd name="connsiteY4" fmla="*/ 116210 h 464203"/>
                <a:gd name="connsiteX5" fmla="*/ 167013 w 332755"/>
                <a:gd name="connsiteY5" fmla="*/ 0 h 464203"/>
                <a:gd name="connsiteX6" fmla="*/ 332755 w 332755"/>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4203">
                  <a:moveTo>
                    <a:pt x="165743" y="231149"/>
                  </a:moveTo>
                  <a:lnTo>
                    <a:pt x="165108" y="231784"/>
                  </a:lnTo>
                  <a:lnTo>
                    <a:pt x="165108" y="464204"/>
                  </a:lnTo>
                  <a:lnTo>
                    <a:pt x="0" y="349264"/>
                  </a:lnTo>
                  <a:lnTo>
                    <a:pt x="0" y="116210"/>
                  </a:lnTo>
                  <a:lnTo>
                    <a:pt x="167013" y="0"/>
                  </a:lnTo>
                  <a:lnTo>
                    <a:pt x="332755"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23" name="Freeform: Shape 322">
              <a:extLst>
                <a:ext uri="{FF2B5EF4-FFF2-40B4-BE49-F238E27FC236}">
                  <a16:creationId xmlns:a16="http://schemas.microsoft.com/office/drawing/2014/main" id="{322A5BEE-4B57-4D0E-AF35-89AB8F8DB784}"/>
                </a:ext>
              </a:extLst>
            </p:cNvPr>
            <p:cNvSpPr/>
            <p:nvPr/>
          </p:nvSpPr>
          <p:spPr>
            <a:xfrm>
              <a:off x="9288500"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324" name="Freeform: Shape 323">
              <a:extLst>
                <a:ext uri="{FF2B5EF4-FFF2-40B4-BE49-F238E27FC236}">
                  <a16:creationId xmlns:a16="http://schemas.microsoft.com/office/drawing/2014/main" id="{5FEEC27D-23FD-4C40-A68B-D4E12CF89DDE}"/>
                </a:ext>
              </a:extLst>
            </p:cNvPr>
            <p:cNvSpPr/>
            <p:nvPr/>
          </p:nvSpPr>
          <p:spPr>
            <a:xfrm>
              <a:off x="9289770" y="469283"/>
              <a:ext cx="333390" cy="231784"/>
            </a:xfrm>
            <a:custGeom>
              <a:avLst/>
              <a:gdLst>
                <a:gd name="connsiteX0" fmla="*/ 165743 w 333390"/>
                <a:gd name="connsiteY0" fmla="*/ 231784 h 231784"/>
                <a:gd name="connsiteX1" fmla="*/ 0 w 333390"/>
                <a:gd name="connsiteY1" fmla="*/ 115575 h 231784"/>
                <a:gd name="connsiteX2" fmla="*/ 165743 w 333390"/>
                <a:gd name="connsiteY2" fmla="*/ 0 h 231784"/>
                <a:gd name="connsiteX3" fmla="*/ 333391 w 333390"/>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3390" h="231784">
                  <a:moveTo>
                    <a:pt x="165743" y="231784"/>
                  </a:moveTo>
                  <a:lnTo>
                    <a:pt x="0" y="115575"/>
                  </a:lnTo>
                  <a:lnTo>
                    <a:pt x="165743" y="0"/>
                  </a:lnTo>
                  <a:lnTo>
                    <a:pt x="333391"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25" name="Freeform: Shape 324">
              <a:extLst>
                <a:ext uri="{FF2B5EF4-FFF2-40B4-BE49-F238E27FC236}">
                  <a16:creationId xmlns:a16="http://schemas.microsoft.com/office/drawing/2014/main" id="{1B0B939D-F51D-4154-AD24-9EE54D6D4C0D}"/>
                </a:ext>
              </a:extLst>
            </p:cNvPr>
            <p:cNvSpPr/>
            <p:nvPr/>
          </p:nvSpPr>
          <p:spPr>
            <a:xfrm>
              <a:off x="9119582" y="352439"/>
              <a:ext cx="332755" cy="464203"/>
            </a:xfrm>
            <a:custGeom>
              <a:avLst/>
              <a:gdLst>
                <a:gd name="connsiteX0" fmla="*/ 165743 w 332755"/>
                <a:gd name="connsiteY0" fmla="*/ 231149 h 464203"/>
                <a:gd name="connsiteX1" fmla="*/ 165108 w 332755"/>
                <a:gd name="connsiteY1" fmla="*/ 231784 h 464203"/>
                <a:gd name="connsiteX2" fmla="*/ 165108 w 332755"/>
                <a:gd name="connsiteY2" fmla="*/ 464204 h 464203"/>
                <a:gd name="connsiteX3" fmla="*/ 0 w 332755"/>
                <a:gd name="connsiteY3" fmla="*/ 349264 h 464203"/>
                <a:gd name="connsiteX4" fmla="*/ 0 w 332755"/>
                <a:gd name="connsiteY4" fmla="*/ 116210 h 464203"/>
                <a:gd name="connsiteX5" fmla="*/ 167013 w 332755"/>
                <a:gd name="connsiteY5" fmla="*/ 0 h 464203"/>
                <a:gd name="connsiteX6" fmla="*/ 332756 w 332755"/>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4203">
                  <a:moveTo>
                    <a:pt x="165743" y="231149"/>
                  </a:moveTo>
                  <a:lnTo>
                    <a:pt x="165108" y="231784"/>
                  </a:lnTo>
                  <a:lnTo>
                    <a:pt x="165108" y="464204"/>
                  </a:lnTo>
                  <a:lnTo>
                    <a:pt x="0" y="349264"/>
                  </a:lnTo>
                  <a:lnTo>
                    <a:pt x="0" y="116210"/>
                  </a:lnTo>
                  <a:lnTo>
                    <a:pt x="167013" y="0"/>
                  </a:lnTo>
                  <a:lnTo>
                    <a:pt x="332756"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26" name="Freeform: Shape 325">
              <a:extLst>
                <a:ext uri="{FF2B5EF4-FFF2-40B4-BE49-F238E27FC236}">
                  <a16:creationId xmlns:a16="http://schemas.microsoft.com/office/drawing/2014/main" id="{0CA2A3FE-25EB-47BF-BF7E-B541ABD3676D}"/>
                </a:ext>
              </a:extLst>
            </p:cNvPr>
            <p:cNvSpPr/>
            <p:nvPr/>
          </p:nvSpPr>
          <p:spPr>
            <a:xfrm>
              <a:off x="8607749"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327" name="Freeform: Shape 326">
              <a:extLst>
                <a:ext uri="{FF2B5EF4-FFF2-40B4-BE49-F238E27FC236}">
                  <a16:creationId xmlns:a16="http://schemas.microsoft.com/office/drawing/2014/main" id="{5ECC458B-B22A-4FE8-8ED4-52551F8B1991}"/>
                </a:ext>
              </a:extLst>
            </p:cNvPr>
            <p:cNvSpPr/>
            <p:nvPr/>
          </p:nvSpPr>
          <p:spPr>
            <a:xfrm>
              <a:off x="8609018" y="469283"/>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28" name="Freeform: Shape 327">
              <a:extLst>
                <a:ext uri="{FF2B5EF4-FFF2-40B4-BE49-F238E27FC236}">
                  <a16:creationId xmlns:a16="http://schemas.microsoft.com/office/drawing/2014/main" id="{DA0E7B5C-2EA2-43DD-A2A8-FB6B2968FD68}"/>
                </a:ext>
              </a:extLst>
            </p:cNvPr>
            <p:cNvSpPr/>
            <p:nvPr/>
          </p:nvSpPr>
          <p:spPr>
            <a:xfrm>
              <a:off x="8438830" y="352439"/>
              <a:ext cx="332755" cy="464203"/>
            </a:xfrm>
            <a:custGeom>
              <a:avLst/>
              <a:gdLst>
                <a:gd name="connsiteX0" fmla="*/ 165743 w 332755"/>
                <a:gd name="connsiteY0" fmla="*/ 231149 h 464203"/>
                <a:gd name="connsiteX1" fmla="*/ 165108 w 332755"/>
                <a:gd name="connsiteY1" fmla="*/ 231784 h 464203"/>
                <a:gd name="connsiteX2" fmla="*/ 165108 w 332755"/>
                <a:gd name="connsiteY2" fmla="*/ 464204 h 464203"/>
                <a:gd name="connsiteX3" fmla="*/ 0 w 332755"/>
                <a:gd name="connsiteY3" fmla="*/ 349264 h 464203"/>
                <a:gd name="connsiteX4" fmla="*/ 0 w 332755"/>
                <a:gd name="connsiteY4" fmla="*/ 116210 h 464203"/>
                <a:gd name="connsiteX5" fmla="*/ 167013 w 332755"/>
                <a:gd name="connsiteY5" fmla="*/ 0 h 464203"/>
                <a:gd name="connsiteX6" fmla="*/ 332756 w 332755"/>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755" h="464203">
                  <a:moveTo>
                    <a:pt x="165743" y="231149"/>
                  </a:moveTo>
                  <a:lnTo>
                    <a:pt x="165108" y="231784"/>
                  </a:lnTo>
                  <a:lnTo>
                    <a:pt x="165108" y="464204"/>
                  </a:lnTo>
                  <a:lnTo>
                    <a:pt x="0" y="349264"/>
                  </a:lnTo>
                  <a:lnTo>
                    <a:pt x="0" y="116210"/>
                  </a:lnTo>
                  <a:lnTo>
                    <a:pt x="167013" y="0"/>
                  </a:lnTo>
                  <a:lnTo>
                    <a:pt x="332756"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29" name="Freeform: Shape 328">
              <a:extLst>
                <a:ext uri="{FF2B5EF4-FFF2-40B4-BE49-F238E27FC236}">
                  <a16:creationId xmlns:a16="http://schemas.microsoft.com/office/drawing/2014/main" id="{8A4AD487-ED68-4120-85B8-C939A00C48FD}"/>
                </a:ext>
              </a:extLst>
            </p:cNvPr>
            <p:cNvSpPr/>
            <p:nvPr/>
          </p:nvSpPr>
          <p:spPr>
            <a:xfrm>
              <a:off x="7926997"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330" name="Freeform: Shape 329">
              <a:extLst>
                <a:ext uri="{FF2B5EF4-FFF2-40B4-BE49-F238E27FC236}">
                  <a16:creationId xmlns:a16="http://schemas.microsoft.com/office/drawing/2014/main" id="{20440B16-AAB7-4181-8010-99E1D73992A8}"/>
                </a:ext>
              </a:extLst>
            </p:cNvPr>
            <p:cNvSpPr/>
            <p:nvPr/>
          </p:nvSpPr>
          <p:spPr>
            <a:xfrm>
              <a:off x="7928267" y="469283"/>
              <a:ext cx="334025" cy="231784"/>
            </a:xfrm>
            <a:custGeom>
              <a:avLst/>
              <a:gdLst>
                <a:gd name="connsiteX0" fmla="*/ 166377 w 334025"/>
                <a:gd name="connsiteY0" fmla="*/ 231784 h 231784"/>
                <a:gd name="connsiteX1" fmla="*/ 0 w 334025"/>
                <a:gd name="connsiteY1" fmla="*/ 115575 h 231784"/>
                <a:gd name="connsiteX2" fmla="*/ 166377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7" y="231784"/>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31" name="Freeform: Shape 330">
              <a:extLst>
                <a:ext uri="{FF2B5EF4-FFF2-40B4-BE49-F238E27FC236}">
                  <a16:creationId xmlns:a16="http://schemas.microsoft.com/office/drawing/2014/main" id="{BBDBE921-3C27-4DD6-95A6-008B42B1DAD7}"/>
                </a:ext>
              </a:extLst>
            </p:cNvPr>
            <p:cNvSpPr/>
            <p:nvPr/>
          </p:nvSpPr>
          <p:spPr>
            <a:xfrm>
              <a:off x="7758079" y="352439"/>
              <a:ext cx="333390" cy="464203"/>
            </a:xfrm>
            <a:custGeom>
              <a:avLst/>
              <a:gdLst>
                <a:gd name="connsiteX0" fmla="*/ 165743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5743"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32" name="Freeform: Shape 331">
              <a:extLst>
                <a:ext uri="{FF2B5EF4-FFF2-40B4-BE49-F238E27FC236}">
                  <a16:creationId xmlns:a16="http://schemas.microsoft.com/office/drawing/2014/main" id="{2C7BA4D6-8553-4B07-8C99-5F4CF1C1E08E}"/>
                </a:ext>
              </a:extLst>
            </p:cNvPr>
            <p:cNvSpPr/>
            <p:nvPr/>
          </p:nvSpPr>
          <p:spPr>
            <a:xfrm>
              <a:off x="7246245"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333" name="Freeform: Shape 332">
              <a:extLst>
                <a:ext uri="{FF2B5EF4-FFF2-40B4-BE49-F238E27FC236}">
                  <a16:creationId xmlns:a16="http://schemas.microsoft.com/office/drawing/2014/main" id="{607DF843-BD19-4F36-803A-B2D1E2F53A4D}"/>
                </a:ext>
              </a:extLst>
            </p:cNvPr>
            <p:cNvSpPr/>
            <p:nvPr/>
          </p:nvSpPr>
          <p:spPr>
            <a:xfrm>
              <a:off x="7247515" y="469283"/>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5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34" name="Freeform: Shape 333">
              <a:extLst>
                <a:ext uri="{FF2B5EF4-FFF2-40B4-BE49-F238E27FC236}">
                  <a16:creationId xmlns:a16="http://schemas.microsoft.com/office/drawing/2014/main" id="{A244F2A2-47F2-4F26-B8B3-083FF159DB37}"/>
                </a:ext>
              </a:extLst>
            </p:cNvPr>
            <p:cNvSpPr/>
            <p:nvPr/>
          </p:nvSpPr>
          <p:spPr>
            <a:xfrm>
              <a:off x="7077327" y="352439"/>
              <a:ext cx="333390" cy="464203"/>
            </a:xfrm>
            <a:custGeom>
              <a:avLst/>
              <a:gdLst>
                <a:gd name="connsiteX0" fmla="*/ 165743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5743"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35" name="Freeform: Shape 334">
              <a:extLst>
                <a:ext uri="{FF2B5EF4-FFF2-40B4-BE49-F238E27FC236}">
                  <a16:creationId xmlns:a16="http://schemas.microsoft.com/office/drawing/2014/main" id="{14825A9D-8EC5-4CF7-843E-03DA8BD8CFC7}"/>
                </a:ext>
              </a:extLst>
            </p:cNvPr>
            <p:cNvSpPr/>
            <p:nvPr/>
          </p:nvSpPr>
          <p:spPr>
            <a:xfrm>
              <a:off x="6565493"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336" name="Freeform: Shape 335">
              <a:extLst>
                <a:ext uri="{FF2B5EF4-FFF2-40B4-BE49-F238E27FC236}">
                  <a16:creationId xmlns:a16="http://schemas.microsoft.com/office/drawing/2014/main" id="{2BDA321A-68DA-48D8-94DC-D2A114EC17FB}"/>
                </a:ext>
              </a:extLst>
            </p:cNvPr>
            <p:cNvSpPr/>
            <p:nvPr/>
          </p:nvSpPr>
          <p:spPr>
            <a:xfrm>
              <a:off x="6566763" y="469283"/>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37" name="Freeform: Shape 336">
              <a:extLst>
                <a:ext uri="{FF2B5EF4-FFF2-40B4-BE49-F238E27FC236}">
                  <a16:creationId xmlns:a16="http://schemas.microsoft.com/office/drawing/2014/main" id="{58F5EE14-50AD-4C48-B5AF-19129C00B31F}"/>
                </a:ext>
              </a:extLst>
            </p:cNvPr>
            <p:cNvSpPr/>
            <p:nvPr/>
          </p:nvSpPr>
          <p:spPr>
            <a:xfrm>
              <a:off x="6396575" y="352439"/>
              <a:ext cx="333390" cy="464203"/>
            </a:xfrm>
            <a:custGeom>
              <a:avLst/>
              <a:gdLst>
                <a:gd name="connsiteX0" fmla="*/ 165743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5743"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38" name="Freeform: Shape 337">
              <a:extLst>
                <a:ext uri="{FF2B5EF4-FFF2-40B4-BE49-F238E27FC236}">
                  <a16:creationId xmlns:a16="http://schemas.microsoft.com/office/drawing/2014/main" id="{705B77C8-5815-4FF6-9FD0-5E6D3D6285D5}"/>
                </a:ext>
              </a:extLst>
            </p:cNvPr>
            <p:cNvSpPr/>
            <p:nvPr/>
          </p:nvSpPr>
          <p:spPr>
            <a:xfrm>
              <a:off x="5884741" y="588668"/>
              <a:ext cx="336565" cy="466108"/>
            </a:xfrm>
            <a:custGeom>
              <a:avLst/>
              <a:gdLst>
                <a:gd name="connsiteX0" fmla="*/ 336566 w 336565"/>
                <a:gd name="connsiteY0" fmla="*/ 231784 h 466108"/>
                <a:gd name="connsiteX1" fmla="*/ 0 w 336565"/>
                <a:gd name="connsiteY1" fmla="*/ 466109 h 466108"/>
                <a:gd name="connsiteX2" fmla="*/ 0 w 336565"/>
                <a:gd name="connsiteY2" fmla="*/ 232419 h 466108"/>
                <a:gd name="connsiteX3" fmla="*/ 336566 w 336565"/>
                <a:gd name="connsiteY3" fmla="*/ 0 h 466108"/>
              </a:gdLst>
              <a:ahLst/>
              <a:cxnLst>
                <a:cxn ang="0">
                  <a:pos x="connsiteX0" y="connsiteY0"/>
                </a:cxn>
                <a:cxn ang="0">
                  <a:pos x="connsiteX1" y="connsiteY1"/>
                </a:cxn>
                <a:cxn ang="0">
                  <a:pos x="connsiteX2" y="connsiteY2"/>
                </a:cxn>
                <a:cxn ang="0">
                  <a:pos x="connsiteX3" y="connsiteY3"/>
                </a:cxn>
              </a:cxnLst>
              <a:rect l="l" t="t" r="r" b="b"/>
              <a:pathLst>
                <a:path w="336565" h="466108">
                  <a:moveTo>
                    <a:pt x="336566" y="231784"/>
                  </a:moveTo>
                  <a:lnTo>
                    <a:pt x="0" y="466109"/>
                  </a:lnTo>
                  <a:lnTo>
                    <a:pt x="0" y="232419"/>
                  </a:lnTo>
                  <a:lnTo>
                    <a:pt x="336566" y="0"/>
                  </a:lnTo>
                  <a:close/>
                </a:path>
              </a:pathLst>
            </a:custGeom>
            <a:noFill/>
            <a:ln w="3175" cap="flat">
              <a:solidFill>
                <a:schemeClr val="bg1">
                  <a:alpha val="30000"/>
                </a:schemeClr>
              </a:solidFill>
              <a:prstDash val="solid"/>
              <a:miter/>
            </a:ln>
          </p:spPr>
          <p:txBody>
            <a:bodyPr rtlCol="0" anchor="ctr"/>
            <a:lstStyle/>
            <a:p>
              <a:endParaRPr lang="en-GB"/>
            </a:p>
          </p:txBody>
        </p:sp>
        <p:sp>
          <p:nvSpPr>
            <p:cNvPr id="339" name="Freeform: Shape 338">
              <a:extLst>
                <a:ext uri="{FF2B5EF4-FFF2-40B4-BE49-F238E27FC236}">
                  <a16:creationId xmlns:a16="http://schemas.microsoft.com/office/drawing/2014/main" id="{27F4AA98-C6A3-41D0-A117-5F7B84D4FE7D}"/>
                </a:ext>
              </a:extLst>
            </p:cNvPr>
            <p:cNvSpPr/>
            <p:nvPr/>
          </p:nvSpPr>
          <p:spPr>
            <a:xfrm>
              <a:off x="5886011" y="469283"/>
              <a:ext cx="334025" cy="231784"/>
            </a:xfrm>
            <a:custGeom>
              <a:avLst/>
              <a:gdLst>
                <a:gd name="connsiteX0" fmla="*/ 166378 w 334025"/>
                <a:gd name="connsiteY0" fmla="*/ 231784 h 231784"/>
                <a:gd name="connsiteX1" fmla="*/ 0 w 334025"/>
                <a:gd name="connsiteY1" fmla="*/ 115575 h 231784"/>
                <a:gd name="connsiteX2" fmla="*/ 166378 w 334025"/>
                <a:gd name="connsiteY2" fmla="*/ 0 h 231784"/>
                <a:gd name="connsiteX3" fmla="*/ 334026 w 334025"/>
                <a:gd name="connsiteY3" fmla="*/ 115575 h 231784"/>
              </a:gdLst>
              <a:ahLst/>
              <a:cxnLst>
                <a:cxn ang="0">
                  <a:pos x="connsiteX0" y="connsiteY0"/>
                </a:cxn>
                <a:cxn ang="0">
                  <a:pos x="connsiteX1" y="connsiteY1"/>
                </a:cxn>
                <a:cxn ang="0">
                  <a:pos x="connsiteX2" y="connsiteY2"/>
                </a:cxn>
                <a:cxn ang="0">
                  <a:pos x="connsiteX3" y="connsiteY3"/>
                </a:cxn>
              </a:cxnLst>
              <a:rect l="l" t="t" r="r" b="b"/>
              <a:pathLst>
                <a:path w="334025" h="231784">
                  <a:moveTo>
                    <a:pt x="166378" y="231784"/>
                  </a:moveTo>
                  <a:lnTo>
                    <a:pt x="0" y="115575"/>
                  </a:lnTo>
                  <a:lnTo>
                    <a:pt x="166378" y="0"/>
                  </a:lnTo>
                  <a:lnTo>
                    <a:pt x="334026"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40" name="Freeform: Shape 339">
              <a:extLst>
                <a:ext uri="{FF2B5EF4-FFF2-40B4-BE49-F238E27FC236}">
                  <a16:creationId xmlns:a16="http://schemas.microsoft.com/office/drawing/2014/main" id="{26584816-7D52-4E40-ABB6-7DDEF7909140}"/>
                </a:ext>
              </a:extLst>
            </p:cNvPr>
            <p:cNvSpPr/>
            <p:nvPr/>
          </p:nvSpPr>
          <p:spPr>
            <a:xfrm>
              <a:off x="5715823" y="352439"/>
              <a:ext cx="333390" cy="464203"/>
            </a:xfrm>
            <a:custGeom>
              <a:avLst/>
              <a:gdLst>
                <a:gd name="connsiteX0" fmla="*/ 165743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5743"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41" name="Freeform: Shape 340">
              <a:extLst>
                <a:ext uri="{FF2B5EF4-FFF2-40B4-BE49-F238E27FC236}">
                  <a16:creationId xmlns:a16="http://schemas.microsoft.com/office/drawing/2014/main" id="{B8129D41-1CA7-4C41-B1C6-C933F34C45A8}"/>
                </a:ext>
              </a:extLst>
            </p:cNvPr>
            <p:cNvSpPr/>
            <p:nvPr/>
          </p:nvSpPr>
          <p:spPr>
            <a:xfrm>
              <a:off x="11331391" y="3662191"/>
              <a:ext cx="674401" cy="351168"/>
            </a:xfrm>
            <a:custGeom>
              <a:avLst/>
              <a:gdLst>
                <a:gd name="connsiteX0" fmla="*/ 338470 w 674401"/>
                <a:gd name="connsiteY0" fmla="*/ 234959 h 351168"/>
                <a:gd name="connsiteX1" fmla="*/ 337201 w 674401"/>
                <a:gd name="connsiteY1" fmla="*/ 234324 h 351168"/>
                <a:gd name="connsiteX2" fmla="*/ 168283 w 674401"/>
                <a:gd name="connsiteY2" fmla="*/ 351169 h 351168"/>
                <a:gd name="connsiteX3" fmla="*/ 0 w 674401"/>
                <a:gd name="connsiteY3" fmla="*/ 234324 h 351168"/>
                <a:gd name="connsiteX4" fmla="*/ 337201 w 674401"/>
                <a:gd name="connsiteY4" fmla="*/ 0 h 351168"/>
                <a:gd name="connsiteX5" fmla="*/ 674401 w 674401"/>
                <a:gd name="connsiteY5" fmla="*/ 234324 h 351168"/>
                <a:gd name="connsiteX6" fmla="*/ 506753 w 674401"/>
                <a:gd name="connsiteY6" fmla="*/ 351169 h 35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8">
                  <a:moveTo>
                    <a:pt x="338470" y="234959"/>
                  </a:moveTo>
                  <a:lnTo>
                    <a:pt x="337201" y="234324"/>
                  </a:lnTo>
                  <a:lnTo>
                    <a:pt x="168283" y="351169"/>
                  </a:lnTo>
                  <a:lnTo>
                    <a:pt x="0" y="234324"/>
                  </a:lnTo>
                  <a:lnTo>
                    <a:pt x="337201" y="0"/>
                  </a:lnTo>
                  <a:lnTo>
                    <a:pt x="674401" y="234324"/>
                  </a:lnTo>
                  <a:lnTo>
                    <a:pt x="506753"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342" name="Freeform: Shape 341">
              <a:extLst>
                <a:ext uri="{FF2B5EF4-FFF2-40B4-BE49-F238E27FC236}">
                  <a16:creationId xmlns:a16="http://schemas.microsoft.com/office/drawing/2014/main" id="{3BE9D69C-2B49-4F24-B07B-26A0241FAB64}"/>
                </a:ext>
              </a:extLst>
            </p:cNvPr>
            <p:cNvSpPr/>
            <p:nvPr/>
          </p:nvSpPr>
          <p:spPr>
            <a:xfrm>
              <a:off x="11671767" y="2598524"/>
              <a:ext cx="334025" cy="231149"/>
            </a:xfrm>
            <a:custGeom>
              <a:avLst/>
              <a:gdLst>
                <a:gd name="connsiteX0" fmla="*/ 166377 w 334025"/>
                <a:gd name="connsiteY0" fmla="*/ 231149 h 231149"/>
                <a:gd name="connsiteX1" fmla="*/ 0 w 334025"/>
                <a:gd name="connsiteY1" fmla="*/ 115575 h 231149"/>
                <a:gd name="connsiteX2" fmla="*/ 166377 w 334025"/>
                <a:gd name="connsiteY2" fmla="*/ 0 h 231149"/>
                <a:gd name="connsiteX3" fmla="*/ 334025 w 334025"/>
                <a:gd name="connsiteY3" fmla="*/ 115575 h 231149"/>
              </a:gdLst>
              <a:ahLst/>
              <a:cxnLst>
                <a:cxn ang="0">
                  <a:pos x="connsiteX0" y="connsiteY0"/>
                </a:cxn>
                <a:cxn ang="0">
                  <a:pos x="connsiteX1" y="connsiteY1"/>
                </a:cxn>
                <a:cxn ang="0">
                  <a:pos x="connsiteX2" y="connsiteY2"/>
                </a:cxn>
                <a:cxn ang="0">
                  <a:pos x="connsiteX3" y="connsiteY3"/>
                </a:cxn>
              </a:cxnLst>
              <a:rect l="l" t="t" r="r" b="b"/>
              <a:pathLst>
                <a:path w="334025" h="231149">
                  <a:moveTo>
                    <a:pt x="166377" y="231149"/>
                  </a:moveTo>
                  <a:lnTo>
                    <a:pt x="0" y="115575"/>
                  </a:lnTo>
                  <a:lnTo>
                    <a:pt x="166377" y="0"/>
                  </a:lnTo>
                  <a:lnTo>
                    <a:pt x="334025"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43" name="Freeform: Shape 342">
              <a:extLst>
                <a:ext uri="{FF2B5EF4-FFF2-40B4-BE49-F238E27FC236}">
                  <a16:creationId xmlns:a16="http://schemas.microsoft.com/office/drawing/2014/main" id="{B4FF07C2-A56F-4252-933C-4C4044641410}"/>
                </a:ext>
              </a:extLst>
            </p:cNvPr>
            <p:cNvSpPr/>
            <p:nvPr/>
          </p:nvSpPr>
          <p:spPr>
            <a:xfrm>
              <a:off x="11501579" y="2481679"/>
              <a:ext cx="333390" cy="463568"/>
            </a:xfrm>
            <a:custGeom>
              <a:avLst/>
              <a:gdLst>
                <a:gd name="connsiteX0" fmla="*/ 166378 w 333390"/>
                <a:gd name="connsiteY0" fmla="*/ 230514 h 463568"/>
                <a:gd name="connsiteX1" fmla="*/ 165108 w 333390"/>
                <a:gd name="connsiteY1" fmla="*/ 231149 h 463568"/>
                <a:gd name="connsiteX2" fmla="*/ 165108 w 333390"/>
                <a:gd name="connsiteY2" fmla="*/ 463569 h 463568"/>
                <a:gd name="connsiteX3" fmla="*/ 0 w 333390"/>
                <a:gd name="connsiteY3" fmla="*/ 348629 h 463568"/>
                <a:gd name="connsiteX4" fmla="*/ 0 w 333390"/>
                <a:gd name="connsiteY4" fmla="*/ 116210 h 463568"/>
                <a:gd name="connsiteX5" fmla="*/ 167013 w 333390"/>
                <a:gd name="connsiteY5" fmla="*/ 0 h 463568"/>
                <a:gd name="connsiteX6" fmla="*/ 333391 w 333390"/>
                <a:gd name="connsiteY6" fmla="*/ 114305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0514"/>
                  </a:moveTo>
                  <a:lnTo>
                    <a:pt x="165108" y="231149"/>
                  </a:lnTo>
                  <a:lnTo>
                    <a:pt x="165108" y="463569"/>
                  </a:lnTo>
                  <a:lnTo>
                    <a:pt x="0" y="348629"/>
                  </a:lnTo>
                  <a:lnTo>
                    <a:pt x="0" y="116210"/>
                  </a:lnTo>
                  <a:lnTo>
                    <a:pt x="167013" y="0"/>
                  </a:lnTo>
                  <a:lnTo>
                    <a:pt x="333391" y="114305"/>
                  </a:lnTo>
                  <a:close/>
                </a:path>
              </a:pathLst>
            </a:custGeom>
            <a:noFill/>
            <a:ln w="3175" cap="flat">
              <a:solidFill>
                <a:schemeClr val="bg1">
                  <a:alpha val="30000"/>
                </a:schemeClr>
              </a:solidFill>
              <a:prstDash val="solid"/>
              <a:miter/>
            </a:ln>
          </p:spPr>
          <p:txBody>
            <a:bodyPr rtlCol="0" anchor="ctr"/>
            <a:lstStyle/>
            <a:p>
              <a:endParaRPr lang="en-GB"/>
            </a:p>
          </p:txBody>
        </p:sp>
        <p:sp>
          <p:nvSpPr>
            <p:cNvPr id="344" name="Freeform: Shape 343">
              <a:extLst>
                <a:ext uri="{FF2B5EF4-FFF2-40B4-BE49-F238E27FC236}">
                  <a16:creationId xmlns:a16="http://schemas.microsoft.com/office/drawing/2014/main" id="{E25E20D0-36C1-4638-A03E-DF38DE0F273A}"/>
                </a:ext>
              </a:extLst>
            </p:cNvPr>
            <p:cNvSpPr/>
            <p:nvPr/>
          </p:nvSpPr>
          <p:spPr>
            <a:xfrm>
              <a:off x="11331391" y="2242909"/>
              <a:ext cx="674401" cy="351804"/>
            </a:xfrm>
            <a:custGeom>
              <a:avLst/>
              <a:gdLst>
                <a:gd name="connsiteX0" fmla="*/ 338470 w 674401"/>
                <a:gd name="connsiteY0" fmla="*/ 234959 h 351804"/>
                <a:gd name="connsiteX1" fmla="*/ 337201 w 674401"/>
                <a:gd name="connsiteY1" fmla="*/ 234324 h 351804"/>
                <a:gd name="connsiteX2" fmla="*/ 168283 w 674401"/>
                <a:gd name="connsiteY2" fmla="*/ 351804 h 351804"/>
                <a:gd name="connsiteX3" fmla="*/ 0 w 674401"/>
                <a:gd name="connsiteY3" fmla="*/ 234324 h 351804"/>
                <a:gd name="connsiteX4" fmla="*/ 337201 w 674401"/>
                <a:gd name="connsiteY4" fmla="*/ 0 h 351804"/>
                <a:gd name="connsiteX5" fmla="*/ 674401 w 674401"/>
                <a:gd name="connsiteY5" fmla="*/ 234324 h 351804"/>
                <a:gd name="connsiteX6" fmla="*/ 506753 w 674401"/>
                <a:gd name="connsiteY6" fmla="*/ 351169 h 35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804">
                  <a:moveTo>
                    <a:pt x="338470" y="234959"/>
                  </a:moveTo>
                  <a:lnTo>
                    <a:pt x="337201" y="234324"/>
                  </a:lnTo>
                  <a:lnTo>
                    <a:pt x="168283" y="351804"/>
                  </a:lnTo>
                  <a:lnTo>
                    <a:pt x="0" y="234324"/>
                  </a:lnTo>
                  <a:lnTo>
                    <a:pt x="337201" y="0"/>
                  </a:lnTo>
                  <a:lnTo>
                    <a:pt x="674401" y="234324"/>
                  </a:lnTo>
                  <a:lnTo>
                    <a:pt x="506753" y="351169"/>
                  </a:lnTo>
                  <a:close/>
                </a:path>
              </a:pathLst>
            </a:custGeom>
            <a:noFill/>
            <a:ln w="3175" cap="flat">
              <a:solidFill>
                <a:schemeClr val="bg1">
                  <a:alpha val="30000"/>
                </a:schemeClr>
              </a:solidFill>
              <a:prstDash val="solid"/>
              <a:miter/>
            </a:ln>
          </p:spPr>
          <p:txBody>
            <a:bodyPr rtlCol="0" anchor="ctr"/>
            <a:lstStyle/>
            <a:p>
              <a:endParaRPr lang="en-GB"/>
            </a:p>
          </p:txBody>
        </p:sp>
        <p:sp>
          <p:nvSpPr>
            <p:cNvPr id="345" name="Freeform: Shape 344">
              <a:extLst>
                <a:ext uri="{FF2B5EF4-FFF2-40B4-BE49-F238E27FC236}">
                  <a16:creationId xmlns:a16="http://schemas.microsoft.com/office/drawing/2014/main" id="{8ED6B9EE-3D7D-4C6E-8368-7699765586B4}"/>
                </a:ext>
              </a:extLst>
            </p:cNvPr>
            <p:cNvSpPr/>
            <p:nvPr/>
          </p:nvSpPr>
          <p:spPr>
            <a:xfrm>
              <a:off x="11841320" y="1061762"/>
              <a:ext cx="165742" cy="229244"/>
            </a:xfrm>
            <a:custGeom>
              <a:avLst/>
              <a:gdLst>
                <a:gd name="connsiteX0" fmla="*/ 0 w 165742"/>
                <a:gd name="connsiteY0" fmla="*/ 114940 h 229244"/>
                <a:gd name="connsiteX1" fmla="*/ 165743 w 165742"/>
                <a:gd name="connsiteY1" fmla="*/ 0 h 229244"/>
                <a:gd name="connsiteX2" fmla="*/ 165743 w 165742"/>
                <a:gd name="connsiteY2" fmla="*/ 229244 h 229244"/>
              </a:gdLst>
              <a:ahLst/>
              <a:cxnLst>
                <a:cxn ang="0">
                  <a:pos x="connsiteX0" y="connsiteY0"/>
                </a:cxn>
                <a:cxn ang="0">
                  <a:pos x="connsiteX1" y="connsiteY1"/>
                </a:cxn>
                <a:cxn ang="0">
                  <a:pos x="connsiteX2" y="connsiteY2"/>
                </a:cxn>
              </a:cxnLst>
              <a:rect l="l" t="t" r="r" b="b"/>
              <a:pathLst>
                <a:path w="165742" h="229244">
                  <a:moveTo>
                    <a:pt x="0" y="114940"/>
                  </a:moveTo>
                  <a:lnTo>
                    <a:pt x="165743" y="0"/>
                  </a:lnTo>
                  <a:lnTo>
                    <a:pt x="165743" y="229244"/>
                  </a:lnTo>
                  <a:close/>
                </a:path>
              </a:pathLst>
            </a:custGeom>
            <a:noFill/>
            <a:ln w="3175" cap="flat">
              <a:solidFill>
                <a:schemeClr val="bg1">
                  <a:alpha val="30000"/>
                </a:schemeClr>
              </a:solidFill>
              <a:prstDash val="solid"/>
              <a:miter/>
            </a:ln>
          </p:spPr>
          <p:txBody>
            <a:bodyPr rtlCol="0" anchor="ctr"/>
            <a:lstStyle/>
            <a:p>
              <a:endParaRPr lang="en-GB"/>
            </a:p>
          </p:txBody>
        </p:sp>
        <p:sp>
          <p:nvSpPr>
            <p:cNvPr id="346" name="Freeform: Shape 345">
              <a:extLst>
                <a:ext uri="{FF2B5EF4-FFF2-40B4-BE49-F238E27FC236}">
                  <a16:creationId xmlns:a16="http://schemas.microsoft.com/office/drawing/2014/main" id="{9766A64A-97BE-48E1-A87D-7659FB265E73}"/>
                </a:ext>
              </a:extLst>
            </p:cNvPr>
            <p:cNvSpPr/>
            <p:nvPr/>
          </p:nvSpPr>
          <p:spPr>
            <a:xfrm>
              <a:off x="11670497" y="352439"/>
              <a:ext cx="336565" cy="702338"/>
            </a:xfrm>
            <a:custGeom>
              <a:avLst/>
              <a:gdLst>
                <a:gd name="connsiteX0" fmla="*/ 0 w 336565"/>
                <a:gd name="connsiteY0" fmla="*/ 468014 h 702338"/>
                <a:gd name="connsiteX1" fmla="*/ 0 w 336565"/>
                <a:gd name="connsiteY1" fmla="*/ 0 h 702338"/>
                <a:gd name="connsiteX2" fmla="*/ 167648 w 336565"/>
                <a:gd name="connsiteY2" fmla="*/ 116210 h 702338"/>
                <a:gd name="connsiteX3" fmla="*/ 167648 w 336565"/>
                <a:gd name="connsiteY3" fmla="*/ 351169 h 702338"/>
                <a:gd name="connsiteX4" fmla="*/ 336566 w 336565"/>
                <a:gd name="connsiteY4" fmla="*/ 468649 h 702338"/>
                <a:gd name="connsiteX5" fmla="*/ 336566 w 336565"/>
                <a:gd name="connsiteY5" fmla="*/ 702338 h 70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338">
                  <a:moveTo>
                    <a:pt x="0" y="468014"/>
                  </a:moveTo>
                  <a:lnTo>
                    <a:pt x="0" y="0"/>
                  </a:lnTo>
                  <a:lnTo>
                    <a:pt x="167648" y="116210"/>
                  </a:lnTo>
                  <a:lnTo>
                    <a:pt x="167648" y="351169"/>
                  </a:lnTo>
                  <a:lnTo>
                    <a:pt x="336566" y="468649"/>
                  </a:lnTo>
                  <a:lnTo>
                    <a:pt x="336566" y="702338"/>
                  </a:lnTo>
                  <a:close/>
                </a:path>
              </a:pathLst>
            </a:custGeom>
            <a:noFill/>
            <a:ln w="3175" cap="flat">
              <a:solidFill>
                <a:schemeClr val="bg1">
                  <a:alpha val="30000"/>
                </a:schemeClr>
              </a:solidFill>
              <a:prstDash val="solid"/>
              <a:miter/>
            </a:ln>
          </p:spPr>
          <p:txBody>
            <a:bodyPr rtlCol="0" anchor="ctr"/>
            <a:lstStyle/>
            <a:p>
              <a:endParaRPr lang="en-GB"/>
            </a:p>
          </p:txBody>
        </p:sp>
        <p:sp>
          <p:nvSpPr>
            <p:cNvPr id="347" name="Freeform: Shape 346">
              <a:extLst>
                <a:ext uri="{FF2B5EF4-FFF2-40B4-BE49-F238E27FC236}">
                  <a16:creationId xmlns:a16="http://schemas.microsoft.com/office/drawing/2014/main" id="{69AFAE1E-BA2B-42C6-9F05-D63ED810A36C}"/>
                </a:ext>
              </a:extLst>
            </p:cNvPr>
            <p:cNvSpPr/>
            <p:nvPr/>
          </p:nvSpPr>
          <p:spPr>
            <a:xfrm>
              <a:off x="11841955" y="352439"/>
              <a:ext cx="333390" cy="464203"/>
            </a:xfrm>
            <a:custGeom>
              <a:avLst/>
              <a:gdLst>
                <a:gd name="connsiteX0" fmla="*/ 166378 w 333390"/>
                <a:gd name="connsiteY0" fmla="*/ 231149 h 464203"/>
                <a:gd name="connsiteX1" fmla="*/ 165108 w 333390"/>
                <a:gd name="connsiteY1" fmla="*/ 231784 h 464203"/>
                <a:gd name="connsiteX2" fmla="*/ 165108 w 333390"/>
                <a:gd name="connsiteY2" fmla="*/ 464204 h 464203"/>
                <a:gd name="connsiteX3" fmla="*/ 0 w 333390"/>
                <a:gd name="connsiteY3" fmla="*/ 349264 h 464203"/>
                <a:gd name="connsiteX4" fmla="*/ 0 w 333390"/>
                <a:gd name="connsiteY4" fmla="*/ 116210 h 464203"/>
                <a:gd name="connsiteX5" fmla="*/ 167013 w 333390"/>
                <a:gd name="connsiteY5" fmla="*/ 0 h 464203"/>
                <a:gd name="connsiteX6" fmla="*/ 333391 w 333390"/>
                <a:gd name="connsiteY6" fmla="*/ 114940 h 46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4203">
                  <a:moveTo>
                    <a:pt x="166378" y="231149"/>
                  </a:moveTo>
                  <a:lnTo>
                    <a:pt x="165108" y="231784"/>
                  </a:lnTo>
                  <a:lnTo>
                    <a:pt x="165108" y="464204"/>
                  </a:lnTo>
                  <a:lnTo>
                    <a:pt x="0" y="349264"/>
                  </a:lnTo>
                  <a:lnTo>
                    <a:pt x="0" y="116210"/>
                  </a:lnTo>
                  <a:lnTo>
                    <a:pt x="167013" y="0"/>
                  </a:lnTo>
                  <a:lnTo>
                    <a:pt x="333391" y="114940"/>
                  </a:lnTo>
                  <a:close/>
                </a:path>
              </a:pathLst>
            </a:custGeom>
            <a:noFill/>
            <a:ln w="3175" cap="flat">
              <a:solidFill>
                <a:schemeClr val="bg1">
                  <a:alpha val="30000"/>
                </a:schemeClr>
              </a:solidFill>
              <a:prstDash val="solid"/>
              <a:miter/>
            </a:ln>
          </p:spPr>
          <p:txBody>
            <a:bodyPr rtlCol="0" anchor="ctr"/>
            <a:lstStyle/>
            <a:p>
              <a:endParaRPr lang="en-GB"/>
            </a:p>
          </p:txBody>
        </p:sp>
        <p:sp>
          <p:nvSpPr>
            <p:cNvPr id="348" name="Freeform: Shape 347">
              <a:extLst>
                <a:ext uri="{FF2B5EF4-FFF2-40B4-BE49-F238E27FC236}">
                  <a16:creationId xmlns:a16="http://schemas.microsoft.com/office/drawing/2014/main" id="{D2DA1146-695D-4FCB-BB43-4DD3DA0CBE64}"/>
                </a:ext>
              </a:extLst>
            </p:cNvPr>
            <p:cNvSpPr/>
            <p:nvPr/>
          </p:nvSpPr>
          <p:spPr>
            <a:xfrm>
              <a:off x="12010873" y="588668"/>
              <a:ext cx="164472" cy="227974"/>
            </a:xfrm>
            <a:custGeom>
              <a:avLst/>
              <a:gdLst>
                <a:gd name="connsiteX0" fmla="*/ 0 w 164472"/>
                <a:gd name="connsiteY0" fmla="*/ 0 h 227974"/>
                <a:gd name="connsiteX1" fmla="*/ 164472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2" y="114305"/>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349" name="Freeform: Shape 348">
              <a:extLst>
                <a:ext uri="{FF2B5EF4-FFF2-40B4-BE49-F238E27FC236}">
                  <a16:creationId xmlns:a16="http://schemas.microsoft.com/office/drawing/2014/main" id="{AF8BD631-8EF0-44C1-856D-79F193AEE73C}"/>
                </a:ext>
              </a:extLst>
            </p:cNvPr>
            <p:cNvSpPr/>
            <p:nvPr/>
          </p:nvSpPr>
          <p:spPr>
            <a:xfrm>
              <a:off x="12012143" y="469283"/>
              <a:ext cx="179857" cy="231784"/>
            </a:xfrm>
            <a:custGeom>
              <a:avLst/>
              <a:gdLst>
                <a:gd name="connsiteX0" fmla="*/ 166377 w 179857"/>
                <a:gd name="connsiteY0" fmla="*/ 0 h 231784"/>
                <a:gd name="connsiteX1" fmla="*/ 179857 w 179857"/>
                <a:gd name="connsiteY1" fmla="*/ 9293 h 231784"/>
                <a:gd name="connsiteX2" fmla="*/ 179857 w 179857"/>
                <a:gd name="connsiteY2" fmla="*/ 222440 h 231784"/>
                <a:gd name="connsiteX3" fmla="*/ 166377 w 179857"/>
                <a:gd name="connsiteY3" fmla="*/ 231784 h 231784"/>
                <a:gd name="connsiteX4" fmla="*/ 0 w 179857"/>
                <a:gd name="connsiteY4" fmla="*/ 115575 h 231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857" h="231784">
                  <a:moveTo>
                    <a:pt x="166377" y="0"/>
                  </a:moveTo>
                  <a:lnTo>
                    <a:pt x="179857" y="9293"/>
                  </a:lnTo>
                  <a:lnTo>
                    <a:pt x="179857" y="222440"/>
                  </a:lnTo>
                  <a:lnTo>
                    <a:pt x="166377" y="231784"/>
                  </a:lnTo>
                  <a:lnTo>
                    <a:pt x="0"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50" name="Freeform: Shape 349">
              <a:extLst>
                <a:ext uri="{FF2B5EF4-FFF2-40B4-BE49-F238E27FC236}">
                  <a16:creationId xmlns:a16="http://schemas.microsoft.com/office/drawing/2014/main" id="{BF9E852E-76A9-4AFA-982D-F5058F01E734}"/>
                </a:ext>
              </a:extLst>
            </p:cNvPr>
            <p:cNvSpPr/>
            <p:nvPr/>
          </p:nvSpPr>
          <p:spPr>
            <a:xfrm>
              <a:off x="11671767" y="114304"/>
              <a:ext cx="520233" cy="351169"/>
            </a:xfrm>
            <a:custGeom>
              <a:avLst/>
              <a:gdLst>
                <a:gd name="connsiteX0" fmla="*/ 337201 w 520233"/>
                <a:gd name="connsiteY0" fmla="*/ 0 h 351169"/>
                <a:gd name="connsiteX1" fmla="*/ 520233 w 520233"/>
                <a:gd name="connsiteY1" fmla="*/ 127191 h 351169"/>
                <a:gd name="connsiteX2" fmla="*/ 520233 w 520233"/>
                <a:gd name="connsiteY2" fmla="*/ 341190 h 351169"/>
                <a:gd name="connsiteX3" fmla="*/ 506753 w 520233"/>
                <a:gd name="connsiteY3" fmla="*/ 350534 h 351169"/>
                <a:gd name="connsiteX4" fmla="*/ 338470 w 520233"/>
                <a:gd name="connsiteY4" fmla="*/ 234959 h 351169"/>
                <a:gd name="connsiteX5" fmla="*/ 337201 w 520233"/>
                <a:gd name="connsiteY5" fmla="*/ 233689 h 351169"/>
                <a:gd name="connsiteX6" fmla="*/ 168283 w 520233"/>
                <a:gd name="connsiteY6" fmla="*/ 351169 h 351169"/>
                <a:gd name="connsiteX7" fmla="*/ 0 w 520233"/>
                <a:gd name="connsiteY7"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233" h="351169">
                  <a:moveTo>
                    <a:pt x="337201" y="0"/>
                  </a:moveTo>
                  <a:lnTo>
                    <a:pt x="520233" y="127191"/>
                  </a:lnTo>
                  <a:lnTo>
                    <a:pt x="520233" y="341190"/>
                  </a:lnTo>
                  <a:lnTo>
                    <a:pt x="506753" y="350534"/>
                  </a:lnTo>
                  <a:lnTo>
                    <a:pt x="338470" y="234959"/>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51" name="Freeform: Shape 350">
              <a:extLst>
                <a:ext uri="{FF2B5EF4-FFF2-40B4-BE49-F238E27FC236}">
                  <a16:creationId xmlns:a16="http://schemas.microsoft.com/office/drawing/2014/main" id="{8278867D-9845-41CD-9C1B-2C0F9F088860}"/>
                </a:ext>
              </a:extLst>
            </p:cNvPr>
            <p:cNvSpPr/>
            <p:nvPr/>
          </p:nvSpPr>
          <p:spPr>
            <a:xfrm>
              <a:off x="11670496"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52" name="Freeform: Shape 351">
              <a:extLst>
                <a:ext uri="{FF2B5EF4-FFF2-40B4-BE49-F238E27FC236}">
                  <a16:creationId xmlns:a16="http://schemas.microsoft.com/office/drawing/2014/main" id="{C2D1F093-2428-48D1-AFBE-5FBE6F8942B6}"/>
                </a:ext>
              </a:extLst>
            </p:cNvPr>
            <p:cNvSpPr/>
            <p:nvPr/>
          </p:nvSpPr>
          <p:spPr>
            <a:xfrm>
              <a:off x="11500944"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53" name="Freeform: Shape 352">
              <a:extLst>
                <a:ext uri="{FF2B5EF4-FFF2-40B4-BE49-F238E27FC236}">
                  <a16:creationId xmlns:a16="http://schemas.microsoft.com/office/drawing/2014/main" id="{C48140A8-EB20-43FC-9AF3-93CA956AEFCF}"/>
                </a:ext>
              </a:extLst>
            </p:cNvPr>
            <p:cNvSpPr/>
            <p:nvPr/>
          </p:nvSpPr>
          <p:spPr>
            <a:xfrm>
              <a:off x="10991650" y="114304"/>
              <a:ext cx="673766" cy="351169"/>
            </a:xfrm>
            <a:custGeom>
              <a:avLst/>
              <a:gdLst>
                <a:gd name="connsiteX0" fmla="*/ 506118 w 673766"/>
                <a:gd name="connsiteY0" fmla="*/ 350534 h 351169"/>
                <a:gd name="connsiteX1" fmla="*/ 337836 w 673766"/>
                <a:gd name="connsiteY1" fmla="*/ 234959 h 351169"/>
                <a:gd name="connsiteX2" fmla="*/ 336566 w 673766"/>
                <a:gd name="connsiteY2" fmla="*/ 233689 h 351169"/>
                <a:gd name="connsiteX3" fmla="*/ 167647 w 673766"/>
                <a:gd name="connsiteY3" fmla="*/ 351169 h 351169"/>
                <a:gd name="connsiteX4" fmla="*/ 0 w 673766"/>
                <a:gd name="connsiteY4" fmla="*/ 234324 h 351169"/>
                <a:gd name="connsiteX5" fmla="*/ 336566 w 673766"/>
                <a:gd name="connsiteY5" fmla="*/ 0 h 351169"/>
                <a:gd name="connsiteX6" fmla="*/ 673766 w 673766"/>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506118" y="350534"/>
                  </a:moveTo>
                  <a:lnTo>
                    <a:pt x="337836" y="234959"/>
                  </a:lnTo>
                  <a:lnTo>
                    <a:pt x="336566" y="233689"/>
                  </a:lnTo>
                  <a:lnTo>
                    <a:pt x="167647" y="351169"/>
                  </a:lnTo>
                  <a:lnTo>
                    <a:pt x="0" y="234324"/>
                  </a:lnTo>
                  <a:lnTo>
                    <a:pt x="336566" y="0"/>
                  </a:lnTo>
                  <a:lnTo>
                    <a:pt x="673766"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54" name="Freeform: Shape 353">
              <a:extLst>
                <a:ext uri="{FF2B5EF4-FFF2-40B4-BE49-F238E27FC236}">
                  <a16:creationId xmlns:a16="http://schemas.microsoft.com/office/drawing/2014/main" id="{B0F3385C-F6F0-4C33-8458-D8C90CE82D15}"/>
                </a:ext>
              </a:extLst>
            </p:cNvPr>
            <p:cNvSpPr/>
            <p:nvPr/>
          </p:nvSpPr>
          <p:spPr>
            <a:xfrm>
              <a:off x="10989744"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55" name="Freeform: Shape 354">
              <a:extLst>
                <a:ext uri="{FF2B5EF4-FFF2-40B4-BE49-F238E27FC236}">
                  <a16:creationId xmlns:a16="http://schemas.microsoft.com/office/drawing/2014/main" id="{B3E02B83-1125-4D5E-8F4E-884384991001}"/>
                </a:ext>
              </a:extLst>
            </p:cNvPr>
            <p:cNvSpPr/>
            <p:nvPr/>
          </p:nvSpPr>
          <p:spPr>
            <a:xfrm>
              <a:off x="10820192" y="351804"/>
              <a:ext cx="166377" cy="229879"/>
            </a:xfrm>
            <a:custGeom>
              <a:avLst/>
              <a:gdLst>
                <a:gd name="connsiteX0" fmla="*/ 166378 w 166377"/>
                <a:gd name="connsiteY0" fmla="*/ 229879 h 229879"/>
                <a:gd name="connsiteX1" fmla="*/ 0 w 166377"/>
                <a:gd name="connsiteY1" fmla="*/ 115575 h 229879"/>
                <a:gd name="connsiteX2" fmla="*/ 166378 w 166377"/>
                <a:gd name="connsiteY2" fmla="*/ 0 h 229879"/>
              </a:gdLst>
              <a:ahLst/>
              <a:cxnLst>
                <a:cxn ang="0">
                  <a:pos x="connsiteX0" y="connsiteY0"/>
                </a:cxn>
                <a:cxn ang="0">
                  <a:pos x="connsiteX1" y="connsiteY1"/>
                </a:cxn>
                <a:cxn ang="0">
                  <a:pos x="connsiteX2" y="connsiteY2"/>
                </a:cxn>
              </a:cxnLst>
              <a:rect l="l" t="t" r="r" b="b"/>
              <a:pathLst>
                <a:path w="166377" h="229879">
                  <a:moveTo>
                    <a:pt x="166378" y="229879"/>
                  </a:moveTo>
                  <a:lnTo>
                    <a:pt x="0" y="115575"/>
                  </a:lnTo>
                  <a:lnTo>
                    <a:pt x="166378" y="0"/>
                  </a:lnTo>
                  <a:close/>
                </a:path>
              </a:pathLst>
            </a:custGeom>
            <a:noFill/>
            <a:ln w="3175" cap="flat">
              <a:solidFill>
                <a:schemeClr val="bg1">
                  <a:alpha val="30000"/>
                </a:schemeClr>
              </a:solidFill>
              <a:prstDash val="solid"/>
              <a:miter/>
            </a:ln>
          </p:spPr>
          <p:txBody>
            <a:bodyPr rtlCol="0" anchor="ctr"/>
            <a:lstStyle/>
            <a:p>
              <a:endParaRPr lang="en-GB"/>
            </a:p>
          </p:txBody>
        </p:sp>
        <p:sp>
          <p:nvSpPr>
            <p:cNvPr id="356" name="Freeform: Shape 355">
              <a:extLst>
                <a:ext uri="{FF2B5EF4-FFF2-40B4-BE49-F238E27FC236}">
                  <a16:creationId xmlns:a16="http://schemas.microsoft.com/office/drawing/2014/main" id="{6089D650-0B12-4732-9F6A-6B5AC1A65BB1}"/>
                </a:ext>
              </a:extLst>
            </p:cNvPr>
            <p:cNvSpPr/>
            <p:nvPr/>
          </p:nvSpPr>
          <p:spPr>
            <a:xfrm>
              <a:off x="10310898" y="114304"/>
              <a:ext cx="673766" cy="351169"/>
            </a:xfrm>
            <a:custGeom>
              <a:avLst/>
              <a:gdLst>
                <a:gd name="connsiteX0" fmla="*/ 506119 w 673766"/>
                <a:gd name="connsiteY0" fmla="*/ 350534 h 351169"/>
                <a:gd name="connsiteX1" fmla="*/ 337836 w 673766"/>
                <a:gd name="connsiteY1" fmla="*/ 234959 h 351169"/>
                <a:gd name="connsiteX2" fmla="*/ 336566 w 673766"/>
                <a:gd name="connsiteY2" fmla="*/ 233689 h 351169"/>
                <a:gd name="connsiteX3" fmla="*/ 168283 w 673766"/>
                <a:gd name="connsiteY3" fmla="*/ 351169 h 351169"/>
                <a:gd name="connsiteX4" fmla="*/ 0 w 673766"/>
                <a:gd name="connsiteY4" fmla="*/ 234324 h 351169"/>
                <a:gd name="connsiteX5" fmla="*/ 336566 w 673766"/>
                <a:gd name="connsiteY5" fmla="*/ 0 h 351169"/>
                <a:gd name="connsiteX6" fmla="*/ 673766 w 673766"/>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506119" y="350534"/>
                  </a:moveTo>
                  <a:lnTo>
                    <a:pt x="337836" y="234959"/>
                  </a:lnTo>
                  <a:lnTo>
                    <a:pt x="336566" y="233689"/>
                  </a:lnTo>
                  <a:lnTo>
                    <a:pt x="168283" y="351169"/>
                  </a:lnTo>
                  <a:lnTo>
                    <a:pt x="0" y="234324"/>
                  </a:lnTo>
                  <a:lnTo>
                    <a:pt x="336566" y="0"/>
                  </a:lnTo>
                  <a:lnTo>
                    <a:pt x="673766"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57" name="Freeform: Shape 356">
              <a:extLst>
                <a:ext uri="{FF2B5EF4-FFF2-40B4-BE49-F238E27FC236}">
                  <a16:creationId xmlns:a16="http://schemas.microsoft.com/office/drawing/2014/main" id="{A3FD1BDB-23E4-4746-B6DA-31C8A2085331}"/>
                </a:ext>
              </a:extLst>
            </p:cNvPr>
            <p:cNvSpPr/>
            <p:nvPr/>
          </p:nvSpPr>
          <p:spPr>
            <a:xfrm>
              <a:off x="10308993" y="0"/>
              <a:ext cx="337201" cy="344820"/>
            </a:xfrm>
            <a:custGeom>
              <a:avLst/>
              <a:gdLst>
                <a:gd name="connsiteX0" fmla="*/ 161673 w 337201"/>
                <a:gd name="connsiteY0" fmla="*/ 0 h 344820"/>
                <a:gd name="connsiteX1" fmla="*/ 337201 w 337201"/>
                <a:gd name="connsiteY1" fmla="*/ 0 h 344820"/>
                <a:gd name="connsiteX2" fmla="*/ 337201 w 337201"/>
                <a:gd name="connsiteY2" fmla="*/ 111130 h 344820"/>
                <a:gd name="connsiteX3" fmla="*/ 0 w 337201"/>
                <a:gd name="connsiteY3" fmla="*/ 344820 h 344820"/>
                <a:gd name="connsiteX4" fmla="*/ 0 w 337201"/>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201" h="344820">
                  <a:moveTo>
                    <a:pt x="161673" y="0"/>
                  </a:moveTo>
                  <a:lnTo>
                    <a:pt x="337201" y="0"/>
                  </a:lnTo>
                  <a:lnTo>
                    <a:pt x="337201"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58" name="Freeform: Shape 357">
              <a:extLst>
                <a:ext uri="{FF2B5EF4-FFF2-40B4-BE49-F238E27FC236}">
                  <a16:creationId xmlns:a16="http://schemas.microsoft.com/office/drawing/2014/main" id="{75E73E8D-0CB2-4C98-997E-10FB17A4D86A}"/>
                </a:ext>
              </a:extLst>
            </p:cNvPr>
            <p:cNvSpPr/>
            <p:nvPr/>
          </p:nvSpPr>
          <p:spPr>
            <a:xfrm>
              <a:off x="10139440" y="351804"/>
              <a:ext cx="166377" cy="229879"/>
            </a:xfrm>
            <a:custGeom>
              <a:avLst/>
              <a:gdLst>
                <a:gd name="connsiteX0" fmla="*/ 166378 w 166377"/>
                <a:gd name="connsiteY0" fmla="*/ 229879 h 229879"/>
                <a:gd name="connsiteX1" fmla="*/ 0 w 166377"/>
                <a:gd name="connsiteY1" fmla="*/ 115575 h 229879"/>
                <a:gd name="connsiteX2" fmla="*/ 166378 w 166377"/>
                <a:gd name="connsiteY2" fmla="*/ 0 h 229879"/>
              </a:gdLst>
              <a:ahLst/>
              <a:cxnLst>
                <a:cxn ang="0">
                  <a:pos x="connsiteX0" y="connsiteY0"/>
                </a:cxn>
                <a:cxn ang="0">
                  <a:pos x="connsiteX1" y="connsiteY1"/>
                </a:cxn>
                <a:cxn ang="0">
                  <a:pos x="connsiteX2" y="connsiteY2"/>
                </a:cxn>
              </a:cxnLst>
              <a:rect l="l" t="t" r="r" b="b"/>
              <a:pathLst>
                <a:path w="166377" h="229879">
                  <a:moveTo>
                    <a:pt x="166378" y="229879"/>
                  </a:moveTo>
                  <a:lnTo>
                    <a:pt x="0" y="115575"/>
                  </a:lnTo>
                  <a:lnTo>
                    <a:pt x="166378" y="0"/>
                  </a:lnTo>
                  <a:close/>
                </a:path>
              </a:pathLst>
            </a:custGeom>
            <a:noFill/>
            <a:ln w="3175" cap="flat">
              <a:solidFill>
                <a:schemeClr val="bg1">
                  <a:alpha val="30000"/>
                </a:schemeClr>
              </a:solidFill>
              <a:prstDash val="solid"/>
              <a:miter/>
            </a:ln>
          </p:spPr>
          <p:txBody>
            <a:bodyPr rtlCol="0" anchor="ctr"/>
            <a:lstStyle/>
            <a:p>
              <a:endParaRPr lang="en-GB"/>
            </a:p>
          </p:txBody>
        </p:sp>
        <p:sp>
          <p:nvSpPr>
            <p:cNvPr id="359" name="Freeform: Shape 358">
              <a:extLst>
                <a:ext uri="{FF2B5EF4-FFF2-40B4-BE49-F238E27FC236}">
                  <a16:creationId xmlns:a16="http://schemas.microsoft.com/office/drawing/2014/main" id="{C3A0EF31-8BF9-470C-A4B4-392CAB6D6DEA}"/>
                </a:ext>
              </a:extLst>
            </p:cNvPr>
            <p:cNvSpPr/>
            <p:nvPr/>
          </p:nvSpPr>
          <p:spPr>
            <a:xfrm>
              <a:off x="9630146" y="114304"/>
              <a:ext cx="673766" cy="351169"/>
            </a:xfrm>
            <a:custGeom>
              <a:avLst/>
              <a:gdLst>
                <a:gd name="connsiteX0" fmla="*/ 506118 w 673766"/>
                <a:gd name="connsiteY0" fmla="*/ 350534 h 351169"/>
                <a:gd name="connsiteX1" fmla="*/ 337836 w 673766"/>
                <a:gd name="connsiteY1" fmla="*/ 234959 h 351169"/>
                <a:gd name="connsiteX2" fmla="*/ 337201 w 673766"/>
                <a:gd name="connsiteY2" fmla="*/ 233689 h 351169"/>
                <a:gd name="connsiteX3" fmla="*/ 168283 w 673766"/>
                <a:gd name="connsiteY3" fmla="*/ 351169 h 351169"/>
                <a:gd name="connsiteX4" fmla="*/ 0 w 673766"/>
                <a:gd name="connsiteY4" fmla="*/ 234324 h 351169"/>
                <a:gd name="connsiteX5" fmla="*/ 337201 w 673766"/>
                <a:gd name="connsiteY5" fmla="*/ 0 h 351169"/>
                <a:gd name="connsiteX6" fmla="*/ 673766 w 673766"/>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506118" y="350534"/>
                  </a:moveTo>
                  <a:lnTo>
                    <a:pt x="337836" y="234959"/>
                  </a:lnTo>
                  <a:lnTo>
                    <a:pt x="337201" y="233689"/>
                  </a:lnTo>
                  <a:lnTo>
                    <a:pt x="168283" y="351169"/>
                  </a:lnTo>
                  <a:lnTo>
                    <a:pt x="0" y="234324"/>
                  </a:lnTo>
                  <a:lnTo>
                    <a:pt x="337201" y="0"/>
                  </a:lnTo>
                  <a:lnTo>
                    <a:pt x="673766"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60" name="Freeform: Shape 359">
              <a:extLst>
                <a:ext uri="{FF2B5EF4-FFF2-40B4-BE49-F238E27FC236}">
                  <a16:creationId xmlns:a16="http://schemas.microsoft.com/office/drawing/2014/main" id="{8EF88757-211A-42D3-B430-A9E7602F78A8}"/>
                </a:ext>
              </a:extLst>
            </p:cNvPr>
            <p:cNvSpPr/>
            <p:nvPr userDrawn="1"/>
          </p:nvSpPr>
          <p:spPr>
            <a:xfrm>
              <a:off x="9628875"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61" name="Freeform: Shape 360">
              <a:extLst>
                <a:ext uri="{FF2B5EF4-FFF2-40B4-BE49-F238E27FC236}">
                  <a16:creationId xmlns:a16="http://schemas.microsoft.com/office/drawing/2014/main" id="{010352C5-C01F-40B3-9403-CE6795763295}"/>
                </a:ext>
              </a:extLst>
            </p:cNvPr>
            <p:cNvSpPr/>
            <p:nvPr/>
          </p:nvSpPr>
          <p:spPr>
            <a:xfrm>
              <a:off x="9459323"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62" name="Freeform: Shape 361">
              <a:extLst>
                <a:ext uri="{FF2B5EF4-FFF2-40B4-BE49-F238E27FC236}">
                  <a16:creationId xmlns:a16="http://schemas.microsoft.com/office/drawing/2014/main" id="{151814D9-77E1-4C5C-8B42-2DDFAAC5F123}"/>
                </a:ext>
              </a:extLst>
            </p:cNvPr>
            <p:cNvSpPr/>
            <p:nvPr userDrawn="1"/>
          </p:nvSpPr>
          <p:spPr>
            <a:xfrm>
              <a:off x="8949395" y="114304"/>
              <a:ext cx="673766" cy="351169"/>
            </a:xfrm>
            <a:custGeom>
              <a:avLst/>
              <a:gdLst>
                <a:gd name="connsiteX0" fmla="*/ 506119 w 673766"/>
                <a:gd name="connsiteY0" fmla="*/ 350534 h 351169"/>
                <a:gd name="connsiteX1" fmla="*/ 337836 w 673766"/>
                <a:gd name="connsiteY1" fmla="*/ 234959 h 351169"/>
                <a:gd name="connsiteX2" fmla="*/ 337201 w 673766"/>
                <a:gd name="connsiteY2" fmla="*/ 233689 h 351169"/>
                <a:gd name="connsiteX3" fmla="*/ 168283 w 673766"/>
                <a:gd name="connsiteY3" fmla="*/ 351169 h 351169"/>
                <a:gd name="connsiteX4" fmla="*/ 0 w 673766"/>
                <a:gd name="connsiteY4" fmla="*/ 234324 h 351169"/>
                <a:gd name="connsiteX5" fmla="*/ 337201 w 673766"/>
                <a:gd name="connsiteY5" fmla="*/ 0 h 351169"/>
                <a:gd name="connsiteX6" fmla="*/ 673766 w 673766"/>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766" h="351169">
                  <a:moveTo>
                    <a:pt x="506119" y="350534"/>
                  </a:moveTo>
                  <a:lnTo>
                    <a:pt x="337836" y="234959"/>
                  </a:lnTo>
                  <a:lnTo>
                    <a:pt x="337201" y="233689"/>
                  </a:lnTo>
                  <a:lnTo>
                    <a:pt x="168283" y="351169"/>
                  </a:lnTo>
                  <a:lnTo>
                    <a:pt x="0" y="234324"/>
                  </a:lnTo>
                  <a:lnTo>
                    <a:pt x="337201" y="0"/>
                  </a:lnTo>
                  <a:lnTo>
                    <a:pt x="673766"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63" name="Freeform: Shape 362">
              <a:extLst>
                <a:ext uri="{FF2B5EF4-FFF2-40B4-BE49-F238E27FC236}">
                  <a16:creationId xmlns:a16="http://schemas.microsoft.com/office/drawing/2014/main" id="{2D465644-1F10-4B91-9D40-A96283500782}"/>
                </a:ext>
              </a:extLst>
            </p:cNvPr>
            <p:cNvSpPr/>
            <p:nvPr/>
          </p:nvSpPr>
          <p:spPr>
            <a:xfrm>
              <a:off x="8948123"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64" name="Freeform: Shape 363">
              <a:extLst>
                <a:ext uri="{FF2B5EF4-FFF2-40B4-BE49-F238E27FC236}">
                  <a16:creationId xmlns:a16="http://schemas.microsoft.com/office/drawing/2014/main" id="{A159563C-ED59-4204-B09F-15A85D7EF919}"/>
                </a:ext>
              </a:extLst>
            </p:cNvPr>
            <p:cNvSpPr/>
            <p:nvPr/>
          </p:nvSpPr>
          <p:spPr>
            <a:xfrm>
              <a:off x="8778571"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65" name="Freeform: Shape 364">
              <a:extLst>
                <a:ext uri="{FF2B5EF4-FFF2-40B4-BE49-F238E27FC236}">
                  <a16:creationId xmlns:a16="http://schemas.microsoft.com/office/drawing/2014/main" id="{2ED37143-7EC6-4544-92F1-59DC8DD29A7A}"/>
                </a:ext>
              </a:extLst>
            </p:cNvPr>
            <p:cNvSpPr/>
            <p:nvPr userDrawn="1"/>
          </p:nvSpPr>
          <p:spPr>
            <a:xfrm>
              <a:off x="8268643" y="114304"/>
              <a:ext cx="674401" cy="351169"/>
            </a:xfrm>
            <a:custGeom>
              <a:avLst/>
              <a:gdLst>
                <a:gd name="connsiteX0" fmla="*/ 506754 w 674401"/>
                <a:gd name="connsiteY0" fmla="*/ 350534 h 351169"/>
                <a:gd name="connsiteX1" fmla="*/ 337836 w 674401"/>
                <a:gd name="connsiteY1" fmla="*/ 234959 h 351169"/>
                <a:gd name="connsiteX2" fmla="*/ 337201 w 674401"/>
                <a:gd name="connsiteY2" fmla="*/ 233689 h 351169"/>
                <a:gd name="connsiteX3" fmla="*/ 168283 w 674401"/>
                <a:gd name="connsiteY3" fmla="*/ 351169 h 351169"/>
                <a:gd name="connsiteX4" fmla="*/ 0 w 674401"/>
                <a:gd name="connsiteY4" fmla="*/ 234324 h 351169"/>
                <a:gd name="connsiteX5" fmla="*/ 337201 w 674401"/>
                <a:gd name="connsiteY5" fmla="*/ 0 h 351169"/>
                <a:gd name="connsiteX6" fmla="*/ 674402 w 674401"/>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506754" y="350534"/>
                  </a:moveTo>
                  <a:lnTo>
                    <a:pt x="337836" y="234959"/>
                  </a:lnTo>
                  <a:lnTo>
                    <a:pt x="337201" y="233689"/>
                  </a:lnTo>
                  <a:lnTo>
                    <a:pt x="168283" y="351169"/>
                  </a:lnTo>
                  <a:lnTo>
                    <a:pt x="0" y="234324"/>
                  </a:lnTo>
                  <a:lnTo>
                    <a:pt x="337201" y="0"/>
                  </a:lnTo>
                  <a:lnTo>
                    <a:pt x="674402"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66" name="Freeform: Shape 365">
              <a:extLst>
                <a:ext uri="{FF2B5EF4-FFF2-40B4-BE49-F238E27FC236}">
                  <a16:creationId xmlns:a16="http://schemas.microsoft.com/office/drawing/2014/main" id="{3A007D98-3210-4F34-B99E-F4A2C476EA2B}"/>
                </a:ext>
              </a:extLst>
            </p:cNvPr>
            <p:cNvSpPr/>
            <p:nvPr userDrawn="1"/>
          </p:nvSpPr>
          <p:spPr>
            <a:xfrm>
              <a:off x="8267371" y="0"/>
              <a:ext cx="336566" cy="344820"/>
            </a:xfrm>
            <a:custGeom>
              <a:avLst/>
              <a:gdLst>
                <a:gd name="connsiteX0" fmla="*/ 161368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8"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dirty="0"/>
            </a:p>
          </p:txBody>
        </p:sp>
        <p:sp>
          <p:nvSpPr>
            <p:cNvPr id="367" name="Freeform: Shape 366">
              <a:extLst>
                <a:ext uri="{FF2B5EF4-FFF2-40B4-BE49-F238E27FC236}">
                  <a16:creationId xmlns:a16="http://schemas.microsoft.com/office/drawing/2014/main" id="{0CEE2DAB-1C51-463E-978C-E52C3D3428DB}"/>
                </a:ext>
              </a:extLst>
            </p:cNvPr>
            <p:cNvSpPr/>
            <p:nvPr/>
          </p:nvSpPr>
          <p:spPr>
            <a:xfrm>
              <a:off x="8097819"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68" name="Freeform: Shape 367">
              <a:extLst>
                <a:ext uri="{FF2B5EF4-FFF2-40B4-BE49-F238E27FC236}">
                  <a16:creationId xmlns:a16="http://schemas.microsoft.com/office/drawing/2014/main" id="{A535C535-6FE7-45F9-93BC-7A70BEE1B0BF}"/>
                </a:ext>
              </a:extLst>
            </p:cNvPr>
            <p:cNvSpPr/>
            <p:nvPr/>
          </p:nvSpPr>
          <p:spPr>
            <a:xfrm>
              <a:off x="7587891" y="114304"/>
              <a:ext cx="674401" cy="351169"/>
            </a:xfrm>
            <a:custGeom>
              <a:avLst/>
              <a:gdLst>
                <a:gd name="connsiteX0" fmla="*/ 506754 w 674401"/>
                <a:gd name="connsiteY0" fmla="*/ 350534 h 351169"/>
                <a:gd name="connsiteX1" fmla="*/ 337836 w 674401"/>
                <a:gd name="connsiteY1" fmla="*/ 234959 h 351169"/>
                <a:gd name="connsiteX2" fmla="*/ 337201 w 674401"/>
                <a:gd name="connsiteY2" fmla="*/ 233689 h 351169"/>
                <a:gd name="connsiteX3" fmla="*/ 168283 w 674401"/>
                <a:gd name="connsiteY3" fmla="*/ 351169 h 351169"/>
                <a:gd name="connsiteX4" fmla="*/ 0 w 674401"/>
                <a:gd name="connsiteY4" fmla="*/ 234324 h 351169"/>
                <a:gd name="connsiteX5" fmla="*/ 337201 w 674401"/>
                <a:gd name="connsiteY5" fmla="*/ 0 h 351169"/>
                <a:gd name="connsiteX6" fmla="*/ 674402 w 674401"/>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506754" y="350534"/>
                  </a:moveTo>
                  <a:lnTo>
                    <a:pt x="337836" y="234959"/>
                  </a:lnTo>
                  <a:lnTo>
                    <a:pt x="337201" y="233689"/>
                  </a:lnTo>
                  <a:lnTo>
                    <a:pt x="168283" y="351169"/>
                  </a:lnTo>
                  <a:lnTo>
                    <a:pt x="0" y="234324"/>
                  </a:lnTo>
                  <a:lnTo>
                    <a:pt x="337201" y="0"/>
                  </a:lnTo>
                  <a:lnTo>
                    <a:pt x="674402"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69" name="Freeform: Shape 368">
              <a:extLst>
                <a:ext uri="{FF2B5EF4-FFF2-40B4-BE49-F238E27FC236}">
                  <a16:creationId xmlns:a16="http://schemas.microsoft.com/office/drawing/2014/main" id="{A4434797-CD11-4664-96F3-F3533D6580FB}"/>
                </a:ext>
              </a:extLst>
            </p:cNvPr>
            <p:cNvSpPr/>
            <p:nvPr userDrawn="1"/>
          </p:nvSpPr>
          <p:spPr>
            <a:xfrm>
              <a:off x="7586620" y="0"/>
              <a:ext cx="336566" cy="344820"/>
            </a:xfrm>
            <a:custGeom>
              <a:avLst/>
              <a:gdLst>
                <a:gd name="connsiteX0" fmla="*/ 161369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9"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70" name="Freeform: Shape 369">
              <a:extLst>
                <a:ext uri="{FF2B5EF4-FFF2-40B4-BE49-F238E27FC236}">
                  <a16:creationId xmlns:a16="http://schemas.microsoft.com/office/drawing/2014/main" id="{1DD0A4C6-EFD6-4D88-B861-897105EEE6F6}"/>
                </a:ext>
              </a:extLst>
            </p:cNvPr>
            <p:cNvSpPr/>
            <p:nvPr/>
          </p:nvSpPr>
          <p:spPr>
            <a:xfrm>
              <a:off x="7417068"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71" name="Freeform: Shape 370">
              <a:extLst>
                <a:ext uri="{FF2B5EF4-FFF2-40B4-BE49-F238E27FC236}">
                  <a16:creationId xmlns:a16="http://schemas.microsoft.com/office/drawing/2014/main" id="{92179288-FCEF-4517-8E25-D248CA24437B}"/>
                </a:ext>
              </a:extLst>
            </p:cNvPr>
            <p:cNvSpPr/>
            <p:nvPr userDrawn="1"/>
          </p:nvSpPr>
          <p:spPr>
            <a:xfrm>
              <a:off x="6907139" y="114304"/>
              <a:ext cx="674401" cy="351169"/>
            </a:xfrm>
            <a:custGeom>
              <a:avLst/>
              <a:gdLst>
                <a:gd name="connsiteX0" fmla="*/ 506754 w 674401"/>
                <a:gd name="connsiteY0" fmla="*/ 350534 h 351169"/>
                <a:gd name="connsiteX1" fmla="*/ 337836 w 674401"/>
                <a:gd name="connsiteY1" fmla="*/ 234959 h 351169"/>
                <a:gd name="connsiteX2" fmla="*/ 337201 w 674401"/>
                <a:gd name="connsiteY2" fmla="*/ 233689 h 351169"/>
                <a:gd name="connsiteX3" fmla="*/ 168283 w 674401"/>
                <a:gd name="connsiteY3" fmla="*/ 351169 h 351169"/>
                <a:gd name="connsiteX4" fmla="*/ 0 w 674401"/>
                <a:gd name="connsiteY4" fmla="*/ 234324 h 351169"/>
                <a:gd name="connsiteX5" fmla="*/ 337201 w 674401"/>
                <a:gd name="connsiteY5" fmla="*/ 0 h 351169"/>
                <a:gd name="connsiteX6" fmla="*/ 674401 w 674401"/>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506754" y="350534"/>
                  </a:moveTo>
                  <a:lnTo>
                    <a:pt x="337836" y="234959"/>
                  </a:lnTo>
                  <a:lnTo>
                    <a:pt x="337201" y="233689"/>
                  </a:lnTo>
                  <a:lnTo>
                    <a:pt x="168283" y="351169"/>
                  </a:lnTo>
                  <a:lnTo>
                    <a:pt x="0" y="234324"/>
                  </a:lnTo>
                  <a:lnTo>
                    <a:pt x="337201" y="0"/>
                  </a:lnTo>
                  <a:lnTo>
                    <a:pt x="674401"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72" name="Freeform: Shape 371">
              <a:extLst>
                <a:ext uri="{FF2B5EF4-FFF2-40B4-BE49-F238E27FC236}">
                  <a16:creationId xmlns:a16="http://schemas.microsoft.com/office/drawing/2014/main" id="{E2023F14-AC0A-446C-A261-39C0404C5812}"/>
                </a:ext>
              </a:extLst>
            </p:cNvPr>
            <p:cNvSpPr/>
            <p:nvPr/>
          </p:nvSpPr>
          <p:spPr>
            <a:xfrm>
              <a:off x="6905868" y="0"/>
              <a:ext cx="336566" cy="344820"/>
            </a:xfrm>
            <a:custGeom>
              <a:avLst/>
              <a:gdLst>
                <a:gd name="connsiteX0" fmla="*/ 161369 w 336566"/>
                <a:gd name="connsiteY0" fmla="*/ 0 h 344820"/>
                <a:gd name="connsiteX1" fmla="*/ 336566 w 336566"/>
                <a:gd name="connsiteY1" fmla="*/ 0 h 344820"/>
                <a:gd name="connsiteX2" fmla="*/ 336566 w 336566"/>
                <a:gd name="connsiteY2" fmla="*/ 111130 h 344820"/>
                <a:gd name="connsiteX3" fmla="*/ 0 w 336566"/>
                <a:gd name="connsiteY3" fmla="*/ 344820 h 344820"/>
                <a:gd name="connsiteX4" fmla="*/ 0 w 336566"/>
                <a:gd name="connsiteY4" fmla="*/ 111130 h 344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6" h="344820">
                  <a:moveTo>
                    <a:pt x="161369" y="0"/>
                  </a:moveTo>
                  <a:lnTo>
                    <a:pt x="336566" y="0"/>
                  </a:lnTo>
                  <a:lnTo>
                    <a:pt x="336566" y="111130"/>
                  </a:lnTo>
                  <a:lnTo>
                    <a:pt x="0" y="344820"/>
                  </a:lnTo>
                  <a:lnTo>
                    <a:pt x="0" y="111130"/>
                  </a:lnTo>
                  <a:close/>
                </a:path>
              </a:pathLst>
            </a:custGeom>
            <a:noFill/>
            <a:ln w="3175" cap="flat">
              <a:solidFill>
                <a:schemeClr val="bg1">
                  <a:alpha val="30000"/>
                </a:schemeClr>
              </a:solidFill>
              <a:prstDash val="solid"/>
              <a:miter/>
            </a:ln>
          </p:spPr>
          <p:txBody>
            <a:bodyPr rtlCol="0" anchor="ctr"/>
            <a:lstStyle/>
            <a:p>
              <a:endParaRPr lang="en-GB"/>
            </a:p>
          </p:txBody>
        </p:sp>
        <p:sp>
          <p:nvSpPr>
            <p:cNvPr id="373" name="Freeform: Shape 372">
              <a:extLst>
                <a:ext uri="{FF2B5EF4-FFF2-40B4-BE49-F238E27FC236}">
                  <a16:creationId xmlns:a16="http://schemas.microsoft.com/office/drawing/2014/main" id="{3B9A4A1F-27A7-4809-9137-6DE1AA963074}"/>
                </a:ext>
              </a:extLst>
            </p:cNvPr>
            <p:cNvSpPr/>
            <p:nvPr/>
          </p:nvSpPr>
          <p:spPr>
            <a:xfrm>
              <a:off x="6736316"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74" name="Freeform: Shape 373">
              <a:extLst>
                <a:ext uri="{FF2B5EF4-FFF2-40B4-BE49-F238E27FC236}">
                  <a16:creationId xmlns:a16="http://schemas.microsoft.com/office/drawing/2014/main" id="{1A508872-D437-4AAE-A6BF-384A0F9DE3CA}"/>
                </a:ext>
              </a:extLst>
            </p:cNvPr>
            <p:cNvSpPr/>
            <p:nvPr/>
          </p:nvSpPr>
          <p:spPr>
            <a:xfrm>
              <a:off x="6226387" y="114304"/>
              <a:ext cx="674401" cy="351169"/>
            </a:xfrm>
            <a:custGeom>
              <a:avLst/>
              <a:gdLst>
                <a:gd name="connsiteX0" fmla="*/ 506754 w 674401"/>
                <a:gd name="connsiteY0" fmla="*/ 350534 h 351169"/>
                <a:gd name="connsiteX1" fmla="*/ 338471 w 674401"/>
                <a:gd name="connsiteY1" fmla="*/ 234959 h 351169"/>
                <a:gd name="connsiteX2" fmla="*/ 337201 w 674401"/>
                <a:gd name="connsiteY2" fmla="*/ 233689 h 351169"/>
                <a:gd name="connsiteX3" fmla="*/ 168283 w 674401"/>
                <a:gd name="connsiteY3" fmla="*/ 351169 h 351169"/>
                <a:gd name="connsiteX4" fmla="*/ 0 w 674401"/>
                <a:gd name="connsiteY4" fmla="*/ 234324 h 351169"/>
                <a:gd name="connsiteX5" fmla="*/ 337201 w 674401"/>
                <a:gd name="connsiteY5" fmla="*/ 0 h 351169"/>
                <a:gd name="connsiteX6" fmla="*/ 674402 w 674401"/>
                <a:gd name="connsiteY6"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401" h="351169">
                  <a:moveTo>
                    <a:pt x="506754" y="350534"/>
                  </a:moveTo>
                  <a:lnTo>
                    <a:pt x="338471" y="234959"/>
                  </a:lnTo>
                  <a:lnTo>
                    <a:pt x="337201" y="233689"/>
                  </a:lnTo>
                  <a:lnTo>
                    <a:pt x="168283" y="351169"/>
                  </a:lnTo>
                  <a:lnTo>
                    <a:pt x="0" y="234324"/>
                  </a:lnTo>
                  <a:lnTo>
                    <a:pt x="337201" y="0"/>
                  </a:lnTo>
                  <a:lnTo>
                    <a:pt x="674402"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75" name="Freeform: Shape 374">
              <a:extLst>
                <a:ext uri="{FF2B5EF4-FFF2-40B4-BE49-F238E27FC236}">
                  <a16:creationId xmlns:a16="http://schemas.microsoft.com/office/drawing/2014/main" id="{A96B18E4-DF96-43F9-BAD5-412F5147C0D3}"/>
                </a:ext>
              </a:extLst>
            </p:cNvPr>
            <p:cNvSpPr/>
            <p:nvPr/>
          </p:nvSpPr>
          <p:spPr>
            <a:xfrm>
              <a:off x="6055564" y="351804"/>
              <a:ext cx="165742" cy="229879"/>
            </a:xfrm>
            <a:custGeom>
              <a:avLst/>
              <a:gdLst>
                <a:gd name="connsiteX0" fmla="*/ 165743 w 165742"/>
                <a:gd name="connsiteY0" fmla="*/ 229879 h 229879"/>
                <a:gd name="connsiteX1" fmla="*/ 0 w 165742"/>
                <a:gd name="connsiteY1" fmla="*/ 115575 h 229879"/>
                <a:gd name="connsiteX2" fmla="*/ 165743 w 165742"/>
                <a:gd name="connsiteY2" fmla="*/ 0 h 229879"/>
              </a:gdLst>
              <a:ahLst/>
              <a:cxnLst>
                <a:cxn ang="0">
                  <a:pos x="connsiteX0" y="connsiteY0"/>
                </a:cxn>
                <a:cxn ang="0">
                  <a:pos x="connsiteX1" y="connsiteY1"/>
                </a:cxn>
                <a:cxn ang="0">
                  <a:pos x="connsiteX2" y="connsiteY2"/>
                </a:cxn>
              </a:cxnLst>
              <a:rect l="l" t="t" r="r" b="b"/>
              <a:pathLst>
                <a:path w="165742" h="229879">
                  <a:moveTo>
                    <a:pt x="165743" y="229879"/>
                  </a:moveTo>
                  <a:lnTo>
                    <a:pt x="0" y="115575"/>
                  </a:lnTo>
                  <a:lnTo>
                    <a:pt x="165743" y="0"/>
                  </a:lnTo>
                  <a:close/>
                </a:path>
              </a:pathLst>
            </a:custGeom>
            <a:noFill/>
            <a:ln w="3175" cap="flat">
              <a:solidFill>
                <a:schemeClr val="bg1">
                  <a:alpha val="30000"/>
                </a:schemeClr>
              </a:solidFill>
              <a:prstDash val="solid"/>
              <a:miter/>
            </a:ln>
          </p:spPr>
          <p:txBody>
            <a:bodyPr rtlCol="0" anchor="ctr"/>
            <a:lstStyle/>
            <a:p>
              <a:endParaRPr lang="en-GB"/>
            </a:p>
          </p:txBody>
        </p:sp>
        <p:sp>
          <p:nvSpPr>
            <p:cNvPr id="376" name="Freeform: Shape 375">
              <a:extLst>
                <a:ext uri="{FF2B5EF4-FFF2-40B4-BE49-F238E27FC236}">
                  <a16:creationId xmlns:a16="http://schemas.microsoft.com/office/drawing/2014/main" id="{8C1FFDA1-FD48-4A88-A990-D2FDA3D62DFC}"/>
                </a:ext>
              </a:extLst>
            </p:cNvPr>
            <p:cNvSpPr/>
            <p:nvPr/>
          </p:nvSpPr>
          <p:spPr>
            <a:xfrm>
              <a:off x="11670497" y="3190367"/>
              <a:ext cx="336565" cy="702973"/>
            </a:xfrm>
            <a:custGeom>
              <a:avLst/>
              <a:gdLst>
                <a:gd name="connsiteX0" fmla="*/ 0 w 336565"/>
                <a:gd name="connsiteY0" fmla="*/ 468649 h 702973"/>
                <a:gd name="connsiteX1" fmla="*/ 0 w 336565"/>
                <a:gd name="connsiteY1" fmla="*/ 0 h 702973"/>
                <a:gd name="connsiteX2" fmla="*/ 167648 w 336565"/>
                <a:gd name="connsiteY2" fmla="*/ 116845 h 702973"/>
                <a:gd name="connsiteX3" fmla="*/ 167648 w 336565"/>
                <a:gd name="connsiteY3" fmla="*/ 351804 h 702973"/>
                <a:gd name="connsiteX4" fmla="*/ 336566 w 336565"/>
                <a:gd name="connsiteY4" fmla="*/ 468649 h 702973"/>
                <a:gd name="connsiteX5" fmla="*/ 336566 w 336565"/>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0" y="468649"/>
                  </a:moveTo>
                  <a:lnTo>
                    <a:pt x="0" y="0"/>
                  </a:lnTo>
                  <a:lnTo>
                    <a:pt x="167648" y="116845"/>
                  </a:lnTo>
                  <a:lnTo>
                    <a:pt x="167648" y="351804"/>
                  </a:lnTo>
                  <a:lnTo>
                    <a:pt x="336566" y="468649"/>
                  </a:lnTo>
                  <a:lnTo>
                    <a:pt x="336566" y="702973"/>
                  </a:lnTo>
                  <a:close/>
                </a:path>
              </a:pathLst>
            </a:custGeom>
            <a:noFill/>
            <a:ln w="3175" cap="flat">
              <a:solidFill>
                <a:schemeClr val="bg1">
                  <a:alpha val="30000"/>
                </a:schemeClr>
              </a:solidFill>
              <a:prstDash val="solid"/>
              <a:miter/>
            </a:ln>
          </p:spPr>
          <p:txBody>
            <a:bodyPr rtlCol="0" anchor="ctr"/>
            <a:lstStyle/>
            <a:p>
              <a:endParaRPr lang="en-GB"/>
            </a:p>
          </p:txBody>
        </p:sp>
        <p:sp>
          <p:nvSpPr>
            <p:cNvPr id="377" name="Freeform: Shape 376">
              <a:extLst>
                <a:ext uri="{FF2B5EF4-FFF2-40B4-BE49-F238E27FC236}">
                  <a16:creationId xmlns:a16="http://schemas.microsoft.com/office/drawing/2014/main" id="{C5B7005F-22C0-4AEF-AC6A-0F2F428A68D2}"/>
                </a:ext>
              </a:extLst>
            </p:cNvPr>
            <p:cNvSpPr/>
            <p:nvPr/>
          </p:nvSpPr>
          <p:spPr>
            <a:xfrm>
              <a:off x="11841955" y="3191002"/>
              <a:ext cx="333390" cy="463568"/>
            </a:xfrm>
            <a:custGeom>
              <a:avLst/>
              <a:gdLst>
                <a:gd name="connsiteX0" fmla="*/ 166378 w 333390"/>
                <a:gd name="connsiteY0" fmla="*/ 231149 h 463568"/>
                <a:gd name="connsiteX1" fmla="*/ 165108 w 333390"/>
                <a:gd name="connsiteY1" fmla="*/ 231784 h 463568"/>
                <a:gd name="connsiteX2" fmla="*/ 165108 w 333390"/>
                <a:gd name="connsiteY2" fmla="*/ 463569 h 463568"/>
                <a:gd name="connsiteX3" fmla="*/ 0 w 333390"/>
                <a:gd name="connsiteY3" fmla="*/ 349264 h 463568"/>
                <a:gd name="connsiteX4" fmla="*/ 0 w 333390"/>
                <a:gd name="connsiteY4" fmla="*/ 116210 h 463568"/>
                <a:gd name="connsiteX5" fmla="*/ 167013 w 333390"/>
                <a:gd name="connsiteY5" fmla="*/ 0 h 463568"/>
                <a:gd name="connsiteX6" fmla="*/ 333391 w 333390"/>
                <a:gd name="connsiteY6" fmla="*/ 114939 h 46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90" h="463568">
                  <a:moveTo>
                    <a:pt x="166378" y="231149"/>
                  </a:moveTo>
                  <a:lnTo>
                    <a:pt x="165108" y="231784"/>
                  </a:lnTo>
                  <a:lnTo>
                    <a:pt x="165108" y="463569"/>
                  </a:lnTo>
                  <a:lnTo>
                    <a:pt x="0" y="349264"/>
                  </a:lnTo>
                  <a:lnTo>
                    <a:pt x="0" y="116210"/>
                  </a:lnTo>
                  <a:lnTo>
                    <a:pt x="167013" y="0"/>
                  </a:lnTo>
                  <a:lnTo>
                    <a:pt x="333391" y="114939"/>
                  </a:lnTo>
                  <a:close/>
                </a:path>
              </a:pathLst>
            </a:custGeom>
            <a:noFill/>
            <a:ln w="3175" cap="flat">
              <a:solidFill>
                <a:schemeClr val="bg1">
                  <a:alpha val="30000"/>
                </a:schemeClr>
              </a:solidFill>
              <a:prstDash val="solid"/>
              <a:miter/>
            </a:ln>
          </p:spPr>
          <p:txBody>
            <a:bodyPr rtlCol="0" anchor="ctr"/>
            <a:lstStyle/>
            <a:p>
              <a:endParaRPr lang="en-GB"/>
            </a:p>
          </p:txBody>
        </p:sp>
        <p:sp>
          <p:nvSpPr>
            <p:cNvPr id="378" name="Freeform: Shape 377">
              <a:extLst>
                <a:ext uri="{FF2B5EF4-FFF2-40B4-BE49-F238E27FC236}">
                  <a16:creationId xmlns:a16="http://schemas.microsoft.com/office/drawing/2014/main" id="{D81983A4-BE29-4A95-909E-7E65C8CA44F4}"/>
                </a:ext>
              </a:extLst>
            </p:cNvPr>
            <p:cNvSpPr/>
            <p:nvPr/>
          </p:nvSpPr>
          <p:spPr>
            <a:xfrm>
              <a:off x="12010873" y="3427232"/>
              <a:ext cx="164472" cy="227339"/>
            </a:xfrm>
            <a:custGeom>
              <a:avLst/>
              <a:gdLst>
                <a:gd name="connsiteX0" fmla="*/ 0 w 164472"/>
                <a:gd name="connsiteY0" fmla="*/ 0 h 227339"/>
                <a:gd name="connsiteX1" fmla="*/ 164472 w 164472"/>
                <a:gd name="connsiteY1" fmla="*/ 114305 h 227339"/>
                <a:gd name="connsiteX2" fmla="*/ 0 w 164472"/>
                <a:gd name="connsiteY2" fmla="*/ 227339 h 227339"/>
              </a:gdLst>
              <a:ahLst/>
              <a:cxnLst>
                <a:cxn ang="0">
                  <a:pos x="connsiteX0" y="connsiteY0"/>
                </a:cxn>
                <a:cxn ang="0">
                  <a:pos x="connsiteX1" y="connsiteY1"/>
                </a:cxn>
                <a:cxn ang="0">
                  <a:pos x="connsiteX2" y="connsiteY2"/>
                </a:cxn>
              </a:cxnLst>
              <a:rect l="l" t="t" r="r" b="b"/>
              <a:pathLst>
                <a:path w="164472" h="227339">
                  <a:moveTo>
                    <a:pt x="0" y="0"/>
                  </a:moveTo>
                  <a:lnTo>
                    <a:pt x="164472" y="114305"/>
                  </a:lnTo>
                  <a:lnTo>
                    <a:pt x="0" y="227339"/>
                  </a:lnTo>
                  <a:close/>
                </a:path>
              </a:pathLst>
            </a:custGeom>
            <a:noFill/>
            <a:ln w="3175" cap="flat">
              <a:solidFill>
                <a:schemeClr val="bg1">
                  <a:alpha val="30000"/>
                </a:schemeClr>
              </a:solidFill>
              <a:prstDash val="solid"/>
              <a:miter/>
            </a:ln>
          </p:spPr>
          <p:txBody>
            <a:bodyPr rtlCol="0" anchor="ctr"/>
            <a:lstStyle/>
            <a:p>
              <a:endParaRPr lang="en-GB"/>
            </a:p>
          </p:txBody>
        </p:sp>
        <p:sp>
          <p:nvSpPr>
            <p:cNvPr id="379" name="Freeform: Shape 378">
              <a:extLst>
                <a:ext uri="{FF2B5EF4-FFF2-40B4-BE49-F238E27FC236}">
                  <a16:creationId xmlns:a16="http://schemas.microsoft.com/office/drawing/2014/main" id="{4CE6400B-0FC2-4700-9828-B12438946AF8}"/>
                </a:ext>
              </a:extLst>
            </p:cNvPr>
            <p:cNvSpPr/>
            <p:nvPr/>
          </p:nvSpPr>
          <p:spPr>
            <a:xfrm>
              <a:off x="12012143" y="3307847"/>
              <a:ext cx="179857" cy="231149"/>
            </a:xfrm>
            <a:custGeom>
              <a:avLst/>
              <a:gdLst>
                <a:gd name="connsiteX0" fmla="*/ 166377 w 179857"/>
                <a:gd name="connsiteY0" fmla="*/ 0 h 231149"/>
                <a:gd name="connsiteX1" fmla="*/ 179857 w 179857"/>
                <a:gd name="connsiteY1" fmla="*/ 9293 h 231149"/>
                <a:gd name="connsiteX2" fmla="*/ 179857 w 179857"/>
                <a:gd name="connsiteY2" fmla="*/ 221856 h 231149"/>
                <a:gd name="connsiteX3" fmla="*/ 166377 w 179857"/>
                <a:gd name="connsiteY3" fmla="*/ 231149 h 231149"/>
                <a:gd name="connsiteX4" fmla="*/ 0 w 179857"/>
                <a:gd name="connsiteY4" fmla="*/ 115574 h 231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857" h="231149">
                  <a:moveTo>
                    <a:pt x="166377" y="0"/>
                  </a:moveTo>
                  <a:lnTo>
                    <a:pt x="179857" y="9293"/>
                  </a:lnTo>
                  <a:lnTo>
                    <a:pt x="179857" y="221856"/>
                  </a:lnTo>
                  <a:lnTo>
                    <a:pt x="166377" y="231149"/>
                  </a:lnTo>
                  <a:lnTo>
                    <a:pt x="0" y="115574"/>
                  </a:lnTo>
                  <a:close/>
                </a:path>
              </a:pathLst>
            </a:custGeom>
            <a:noFill/>
            <a:ln w="3175" cap="flat">
              <a:solidFill>
                <a:schemeClr val="bg1">
                  <a:alpha val="30000"/>
                </a:schemeClr>
              </a:solidFill>
              <a:prstDash val="solid"/>
              <a:miter/>
            </a:ln>
          </p:spPr>
          <p:txBody>
            <a:bodyPr rtlCol="0" anchor="ctr"/>
            <a:lstStyle/>
            <a:p>
              <a:endParaRPr lang="en-GB"/>
            </a:p>
          </p:txBody>
        </p:sp>
        <p:sp>
          <p:nvSpPr>
            <p:cNvPr id="380" name="Freeform: Shape 379">
              <a:extLst>
                <a:ext uri="{FF2B5EF4-FFF2-40B4-BE49-F238E27FC236}">
                  <a16:creationId xmlns:a16="http://schemas.microsoft.com/office/drawing/2014/main" id="{8D326F4A-8FB2-4511-8084-47F6E859F0E1}"/>
                </a:ext>
              </a:extLst>
            </p:cNvPr>
            <p:cNvSpPr/>
            <p:nvPr/>
          </p:nvSpPr>
          <p:spPr>
            <a:xfrm>
              <a:off x="11671767" y="2952868"/>
              <a:ext cx="520233" cy="351169"/>
            </a:xfrm>
            <a:custGeom>
              <a:avLst/>
              <a:gdLst>
                <a:gd name="connsiteX0" fmla="*/ 337201 w 520233"/>
                <a:gd name="connsiteY0" fmla="*/ 0 h 351169"/>
                <a:gd name="connsiteX1" fmla="*/ 520233 w 520233"/>
                <a:gd name="connsiteY1" fmla="*/ 127191 h 351169"/>
                <a:gd name="connsiteX2" fmla="*/ 520233 w 520233"/>
                <a:gd name="connsiteY2" fmla="*/ 341190 h 351169"/>
                <a:gd name="connsiteX3" fmla="*/ 506753 w 520233"/>
                <a:gd name="connsiteY3" fmla="*/ 350534 h 351169"/>
                <a:gd name="connsiteX4" fmla="*/ 338470 w 520233"/>
                <a:gd name="connsiteY4" fmla="*/ 234324 h 351169"/>
                <a:gd name="connsiteX5" fmla="*/ 337201 w 520233"/>
                <a:gd name="connsiteY5" fmla="*/ 233689 h 351169"/>
                <a:gd name="connsiteX6" fmla="*/ 168283 w 520233"/>
                <a:gd name="connsiteY6" fmla="*/ 351169 h 351169"/>
                <a:gd name="connsiteX7" fmla="*/ 0 w 520233"/>
                <a:gd name="connsiteY7" fmla="*/ 234324 h 35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233" h="351169">
                  <a:moveTo>
                    <a:pt x="337201" y="0"/>
                  </a:moveTo>
                  <a:lnTo>
                    <a:pt x="520233" y="127191"/>
                  </a:lnTo>
                  <a:lnTo>
                    <a:pt x="520233" y="341190"/>
                  </a:lnTo>
                  <a:lnTo>
                    <a:pt x="506753" y="350534"/>
                  </a:lnTo>
                  <a:lnTo>
                    <a:pt x="338470" y="234324"/>
                  </a:lnTo>
                  <a:lnTo>
                    <a:pt x="337201" y="233689"/>
                  </a:lnTo>
                  <a:lnTo>
                    <a:pt x="168283" y="351169"/>
                  </a:lnTo>
                  <a:lnTo>
                    <a:pt x="0" y="234324"/>
                  </a:lnTo>
                  <a:close/>
                </a:path>
              </a:pathLst>
            </a:custGeom>
            <a:noFill/>
            <a:ln w="3175" cap="flat">
              <a:solidFill>
                <a:schemeClr val="bg1">
                  <a:alpha val="30000"/>
                </a:schemeClr>
              </a:solidFill>
              <a:prstDash val="solid"/>
              <a:miter/>
            </a:ln>
          </p:spPr>
          <p:txBody>
            <a:bodyPr rtlCol="0" anchor="ctr"/>
            <a:lstStyle/>
            <a:p>
              <a:endParaRPr lang="en-GB"/>
            </a:p>
          </p:txBody>
        </p:sp>
        <p:sp>
          <p:nvSpPr>
            <p:cNvPr id="381" name="Freeform: Shape 380">
              <a:extLst>
                <a:ext uri="{FF2B5EF4-FFF2-40B4-BE49-F238E27FC236}">
                  <a16:creationId xmlns:a16="http://schemas.microsoft.com/office/drawing/2014/main" id="{C0F129C2-F76E-4CA2-B0F8-79B49DD9F2F4}"/>
                </a:ext>
              </a:extLst>
            </p:cNvPr>
            <p:cNvSpPr/>
            <p:nvPr/>
          </p:nvSpPr>
          <p:spPr>
            <a:xfrm>
              <a:off x="11841320" y="2481044"/>
              <a:ext cx="165742" cy="229244"/>
            </a:xfrm>
            <a:custGeom>
              <a:avLst/>
              <a:gdLst>
                <a:gd name="connsiteX0" fmla="*/ 0 w 165742"/>
                <a:gd name="connsiteY0" fmla="*/ 114939 h 229244"/>
                <a:gd name="connsiteX1" fmla="*/ 165743 w 165742"/>
                <a:gd name="connsiteY1" fmla="*/ 0 h 229244"/>
                <a:gd name="connsiteX2" fmla="*/ 165743 w 165742"/>
                <a:gd name="connsiteY2" fmla="*/ 229244 h 229244"/>
              </a:gdLst>
              <a:ahLst/>
              <a:cxnLst>
                <a:cxn ang="0">
                  <a:pos x="connsiteX0" y="connsiteY0"/>
                </a:cxn>
                <a:cxn ang="0">
                  <a:pos x="connsiteX1" y="connsiteY1"/>
                </a:cxn>
                <a:cxn ang="0">
                  <a:pos x="connsiteX2" y="connsiteY2"/>
                </a:cxn>
              </a:cxnLst>
              <a:rect l="l" t="t" r="r" b="b"/>
              <a:pathLst>
                <a:path w="165742" h="229244">
                  <a:moveTo>
                    <a:pt x="0" y="114939"/>
                  </a:moveTo>
                  <a:lnTo>
                    <a:pt x="165743" y="0"/>
                  </a:lnTo>
                  <a:lnTo>
                    <a:pt x="165743" y="229244"/>
                  </a:lnTo>
                  <a:close/>
                </a:path>
              </a:pathLst>
            </a:custGeom>
            <a:noFill/>
            <a:ln w="3175" cap="flat">
              <a:solidFill>
                <a:schemeClr val="bg1">
                  <a:alpha val="30000"/>
                </a:schemeClr>
              </a:solidFill>
              <a:prstDash val="solid"/>
              <a:miter/>
            </a:ln>
          </p:spPr>
          <p:txBody>
            <a:bodyPr rtlCol="0" anchor="ctr"/>
            <a:lstStyle/>
            <a:p>
              <a:endParaRPr lang="en-GB"/>
            </a:p>
          </p:txBody>
        </p:sp>
        <p:sp>
          <p:nvSpPr>
            <p:cNvPr id="382" name="Freeform: Shape 381">
              <a:extLst>
                <a:ext uri="{FF2B5EF4-FFF2-40B4-BE49-F238E27FC236}">
                  <a16:creationId xmlns:a16="http://schemas.microsoft.com/office/drawing/2014/main" id="{07BBDF06-F339-4C7D-9F0B-7CC4505B44FC}"/>
                </a:ext>
              </a:extLst>
            </p:cNvPr>
            <p:cNvSpPr/>
            <p:nvPr/>
          </p:nvSpPr>
          <p:spPr>
            <a:xfrm>
              <a:off x="11670497" y="1771085"/>
              <a:ext cx="336565" cy="702973"/>
            </a:xfrm>
            <a:custGeom>
              <a:avLst/>
              <a:gdLst>
                <a:gd name="connsiteX0" fmla="*/ 0 w 336565"/>
                <a:gd name="connsiteY0" fmla="*/ 468649 h 702973"/>
                <a:gd name="connsiteX1" fmla="*/ 0 w 336565"/>
                <a:gd name="connsiteY1" fmla="*/ 0 h 702973"/>
                <a:gd name="connsiteX2" fmla="*/ 167648 w 336565"/>
                <a:gd name="connsiteY2" fmla="*/ 116845 h 702973"/>
                <a:gd name="connsiteX3" fmla="*/ 167648 w 336565"/>
                <a:gd name="connsiteY3" fmla="*/ 351804 h 702973"/>
                <a:gd name="connsiteX4" fmla="*/ 336566 w 336565"/>
                <a:gd name="connsiteY4" fmla="*/ 469284 h 702973"/>
                <a:gd name="connsiteX5" fmla="*/ 336566 w 336565"/>
                <a:gd name="connsiteY5" fmla="*/ 702973 h 70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565" h="702973">
                  <a:moveTo>
                    <a:pt x="0" y="468649"/>
                  </a:moveTo>
                  <a:lnTo>
                    <a:pt x="0" y="0"/>
                  </a:lnTo>
                  <a:lnTo>
                    <a:pt x="167648" y="116845"/>
                  </a:lnTo>
                  <a:lnTo>
                    <a:pt x="167648" y="351804"/>
                  </a:lnTo>
                  <a:lnTo>
                    <a:pt x="336566" y="469284"/>
                  </a:lnTo>
                  <a:lnTo>
                    <a:pt x="336566" y="702973"/>
                  </a:lnTo>
                  <a:close/>
                </a:path>
              </a:pathLst>
            </a:custGeom>
            <a:noFill/>
            <a:ln w="3175" cap="flat">
              <a:solidFill>
                <a:schemeClr val="bg1">
                  <a:alpha val="30000"/>
                </a:schemeClr>
              </a:solidFill>
              <a:prstDash val="solid"/>
              <a:miter/>
            </a:ln>
          </p:spPr>
          <p:txBody>
            <a:bodyPr rtlCol="0" anchor="ctr"/>
            <a:lstStyle/>
            <a:p>
              <a:endParaRPr lang="en-GB"/>
            </a:p>
          </p:txBody>
        </p:sp>
        <p:sp>
          <p:nvSpPr>
            <p:cNvPr id="383" name="Freeform: Shape 382">
              <a:extLst>
                <a:ext uri="{FF2B5EF4-FFF2-40B4-BE49-F238E27FC236}">
                  <a16:creationId xmlns:a16="http://schemas.microsoft.com/office/drawing/2014/main" id="{B972119F-0120-4776-9177-4CA767ED76ED}"/>
                </a:ext>
              </a:extLst>
            </p:cNvPr>
            <p:cNvSpPr/>
            <p:nvPr/>
          </p:nvSpPr>
          <p:spPr>
            <a:xfrm>
              <a:off x="12010873" y="2007950"/>
              <a:ext cx="164472" cy="227974"/>
            </a:xfrm>
            <a:custGeom>
              <a:avLst/>
              <a:gdLst>
                <a:gd name="connsiteX0" fmla="*/ 0 w 164472"/>
                <a:gd name="connsiteY0" fmla="*/ 0 h 227974"/>
                <a:gd name="connsiteX1" fmla="*/ 164472 w 164472"/>
                <a:gd name="connsiteY1" fmla="*/ 114305 h 227974"/>
                <a:gd name="connsiteX2" fmla="*/ 0 w 164472"/>
                <a:gd name="connsiteY2" fmla="*/ 227974 h 227974"/>
              </a:gdLst>
              <a:ahLst/>
              <a:cxnLst>
                <a:cxn ang="0">
                  <a:pos x="connsiteX0" y="connsiteY0"/>
                </a:cxn>
                <a:cxn ang="0">
                  <a:pos x="connsiteX1" y="connsiteY1"/>
                </a:cxn>
                <a:cxn ang="0">
                  <a:pos x="connsiteX2" y="connsiteY2"/>
                </a:cxn>
              </a:cxnLst>
              <a:rect l="l" t="t" r="r" b="b"/>
              <a:pathLst>
                <a:path w="164472" h="227974">
                  <a:moveTo>
                    <a:pt x="0" y="0"/>
                  </a:moveTo>
                  <a:lnTo>
                    <a:pt x="164472" y="114305"/>
                  </a:lnTo>
                  <a:lnTo>
                    <a:pt x="0" y="227974"/>
                  </a:lnTo>
                  <a:close/>
                </a:path>
              </a:pathLst>
            </a:custGeom>
            <a:noFill/>
            <a:ln w="3175" cap="flat">
              <a:solidFill>
                <a:schemeClr val="bg1">
                  <a:alpha val="30000"/>
                </a:schemeClr>
              </a:solidFill>
              <a:prstDash val="solid"/>
              <a:miter/>
            </a:ln>
          </p:spPr>
          <p:txBody>
            <a:bodyPr rtlCol="0" anchor="ctr"/>
            <a:lstStyle/>
            <a:p>
              <a:endParaRPr lang="en-GB"/>
            </a:p>
          </p:txBody>
        </p:sp>
        <p:sp>
          <p:nvSpPr>
            <p:cNvPr id="384" name="Freeform: Shape 383">
              <a:extLst>
                <a:ext uri="{FF2B5EF4-FFF2-40B4-BE49-F238E27FC236}">
                  <a16:creationId xmlns:a16="http://schemas.microsoft.com/office/drawing/2014/main" id="{AE34A160-7946-4FC7-BAD2-DF968F576F6C}"/>
                </a:ext>
              </a:extLst>
            </p:cNvPr>
            <p:cNvSpPr/>
            <p:nvPr/>
          </p:nvSpPr>
          <p:spPr>
            <a:xfrm>
              <a:off x="12012143" y="1888565"/>
              <a:ext cx="179857" cy="231784"/>
            </a:xfrm>
            <a:custGeom>
              <a:avLst/>
              <a:gdLst>
                <a:gd name="connsiteX0" fmla="*/ 166377 w 179857"/>
                <a:gd name="connsiteY0" fmla="*/ 0 h 231784"/>
                <a:gd name="connsiteX1" fmla="*/ 179857 w 179857"/>
                <a:gd name="connsiteY1" fmla="*/ 9293 h 231784"/>
                <a:gd name="connsiteX2" fmla="*/ 179857 w 179857"/>
                <a:gd name="connsiteY2" fmla="*/ 222440 h 231784"/>
                <a:gd name="connsiteX3" fmla="*/ 166377 w 179857"/>
                <a:gd name="connsiteY3" fmla="*/ 231784 h 231784"/>
                <a:gd name="connsiteX4" fmla="*/ 0 w 179857"/>
                <a:gd name="connsiteY4" fmla="*/ 115575 h 231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857" h="231784">
                  <a:moveTo>
                    <a:pt x="166377" y="0"/>
                  </a:moveTo>
                  <a:lnTo>
                    <a:pt x="179857" y="9293"/>
                  </a:lnTo>
                  <a:lnTo>
                    <a:pt x="179857" y="222440"/>
                  </a:lnTo>
                  <a:lnTo>
                    <a:pt x="166377" y="231784"/>
                  </a:lnTo>
                  <a:lnTo>
                    <a:pt x="0" y="115575"/>
                  </a:lnTo>
                  <a:close/>
                </a:path>
              </a:pathLst>
            </a:custGeom>
            <a:noFill/>
            <a:ln w="3175" cap="flat">
              <a:solidFill>
                <a:schemeClr val="bg1">
                  <a:alpha val="30000"/>
                </a:schemeClr>
              </a:solidFill>
              <a:prstDash val="solid"/>
              <a:miter/>
            </a:ln>
          </p:spPr>
          <p:txBody>
            <a:bodyPr rtlCol="0" anchor="ctr"/>
            <a:lstStyle/>
            <a:p>
              <a:endParaRPr lang="en-GB"/>
            </a:p>
          </p:txBody>
        </p:sp>
        <p:sp>
          <p:nvSpPr>
            <p:cNvPr id="385" name="Freeform: Shape 384">
              <a:extLst>
                <a:ext uri="{FF2B5EF4-FFF2-40B4-BE49-F238E27FC236}">
                  <a16:creationId xmlns:a16="http://schemas.microsoft.com/office/drawing/2014/main" id="{14A39ADA-FD0C-420E-B35E-AC4C8DD9C418}"/>
                </a:ext>
              </a:extLst>
            </p:cNvPr>
            <p:cNvSpPr/>
            <p:nvPr/>
          </p:nvSpPr>
          <p:spPr>
            <a:xfrm>
              <a:off x="12182332" y="1171879"/>
              <a:ext cx="9669" cy="245878"/>
            </a:xfrm>
            <a:custGeom>
              <a:avLst/>
              <a:gdLst>
                <a:gd name="connsiteX0" fmla="*/ 9669 w 9669"/>
                <a:gd name="connsiteY0" fmla="*/ 0 h 245878"/>
                <a:gd name="connsiteX1" fmla="*/ 9669 w 9669"/>
                <a:gd name="connsiteY1" fmla="*/ 245878 h 245878"/>
                <a:gd name="connsiteX2" fmla="*/ 0 w 9669"/>
                <a:gd name="connsiteY2" fmla="*/ 239147 h 245878"/>
                <a:gd name="connsiteX3" fmla="*/ 0 w 9669"/>
                <a:gd name="connsiteY3" fmla="*/ 6728 h 245878"/>
              </a:gdLst>
              <a:ahLst/>
              <a:cxnLst>
                <a:cxn ang="0">
                  <a:pos x="connsiteX0" y="connsiteY0"/>
                </a:cxn>
                <a:cxn ang="0">
                  <a:pos x="connsiteX1" y="connsiteY1"/>
                </a:cxn>
                <a:cxn ang="0">
                  <a:pos x="connsiteX2" y="connsiteY2"/>
                </a:cxn>
                <a:cxn ang="0">
                  <a:pos x="connsiteX3" y="connsiteY3"/>
                </a:cxn>
              </a:cxnLst>
              <a:rect l="l" t="t" r="r" b="b"/>
              <a:pathLst>
                <a:path w="9669" h="245878">
                  <a:moveTo>
                    <a:pt x="9669" y="0"/>
                  </a:moveTo>
                  <a:lnTo>
                    <a:pt x="9669" y="245878"/>
                  </a:lnTo>
                  <a:lnTo>
                    <a:pt x="0" y="239147"/>
                  </a:lnTo>
                  <a:lnTo>
                    <a:pt x="0" y="6728"/>
                  </a:lnTo>
                  <a:close/>
                </a:path>
              </a:pathLst>
            </a:custGeom>
            <a:noFill/>
            <a:ln w="3175" cap="flat">
              <a:solidFill>
                <a:schemeClr val="bg1">
                  <a:alpha val="30000"/>
                </a:schemeClr>
              </a:solidFill>
              <a:prstDash val="solid"/>
              <a:miter/>
            </a:ln>
          </p:spPr>
          <p:txBody>
            <a:bodyPr rtlCol="0" anchor="ctr"/>
            <a:lstStyle/>
            <a:p>
              <a:endParaRPr lang="en-GB"/>
            </a:p>
          </p:txBody>
        </p:sp>
        <p:sp>
          <p:nvSpPr>
            <p:cNvPr id="386" name="Freeform: Shape 385">
              <a:extLst>
                <a:ext uri="{FF2B5EF4-FFF2-40B4-BE49-F238E27FC236}">
                  <a16:creationId xmlns:a16="http://schemas.microsoft.com/office/drawing/2014/main" id="{02993F14-D86D-4693-9634-31DAF85CB00E}"/>
                </a:ext>
              </a:extLst>
            </p:cNvPr>
            <p:cNvSpPr/>
            <p:nvPr/>
          </p:nvSpPr>
          <p:spPr>
            <a:xfrm>
              <a:off x="12010873" y="696009"/>
              <a:ext cx="181127" cy="358769"/>
            </a:xfrm>
            <a:custGeom>
              <a:avLst/>
              <a:gdLst>
                <a:gd name="connsiteX0" fmla="*/ 181127 w 181127"/>
                <a:gd name="connsiteY0" fmla="*/ 0 h 358769"/>
                <a:gd name="connsiteX1" fmla="*/ 181127 w 181127"/>
                <a:gd name="connsiteY1" fmla="*/ 232664 h 358769"/>
                <a:gd name="connsiteX2" fmla="*/ 0 w 181127"/>
                <a:gd name="connsiteY2" fmla="*/ 358769 h 358769"/>
                <a:gd name="connsiteX3" fmla="*/ 0 w 181127"/>
                <a:gd name="connsiteY3" fmla="*/ 125079 h 358769"/>
              </a:gdLst>
              <a:ahLst/>
              <a:cxnLst>
                <a:cxn ang="0">
                  <a:pos x="connsiteX0" y="connsiteY0"/>
                </a:cxn>
                <a:cxn ang="0">
                  <a:pos x="connsiteX1" y="connsiteY1"/>
                </a:cxn>
                <a:cxn ang="0">
                  <a:pos x="connsiteX2" y="connsiteY2"/>
                </a:cxn>
                <a:cxn ang="0">
                  <a:pos x="connsiteX3" y="connsiteY3"/>
                </a:cxn>
              </a:cxnLst>
              <a:rect l="l" t="t" r="r" b="b"/>
              <a:pathLst>
                <a:path w="181127" h="358769">
                  <a:moveTo>
                    <a:pt x="181127" y="0"/>
                  </a:moveTo>
                  <a:lnTo>
                    <a:pt x="181127" y="232664"/>
                  </a:lnTo>
                  <a:lnTo>
                    <a:pt x="0" y="358769"/>
                  </a:lnTo>
                  <a:lnTo>
                    <a:pt x="0" y="125079"/>
                  </a:lnTo>
                  <a:close/>
                </a:path>
              </a:pathLst>
            </a:custGeom>
            <a:noFill/>
            <a:ln w="3175" cap="flat">
              <a:solidFill>
                <a:schemeClr val="bg1">
                  <a:alpha val="30000"/>
                </a:schemeClr>
              </a:solidFill>
              <a:prstDash val="solid"/>
              <a:miter/>
            </a:ln>
          </p:spPr>
          <p:txBody>
            <a:bodyPr rtlCol="0" anchor="ctr"/>
            <a:lstStyle/>
            <a:p>
              <a:endParaRPr lang="en-GB"/>
            </a:p>
          </p:txBody>
        </p:sp>
        <p:sp>
          <p:nvSpPr>
            <p:cNvPr id="387" name="Freeform: Shape 386">
              <a:extLst>
                <a:ext uri="{FF2B5EF4-FFF2-40B4-BE49-F238E27FC236}">
                  <a16:creationId xmlns:a16="http://schemas.microsoft.com/office/drawing/2014/main" id="{2B84B4CA-E840-4345-AC03-108B7A72C639}"/>
                </a:ext>
              </a:extLst>
            </p:cNvPr>
            <p:cNvSpPr/>
            <p:nvPr/>
          </p:nvSpPr>
          <p:spPr>
            <a:xfrm>
              <a:off x="12010873" y="3534280"/>
              <a:ext cx="181127" cy="359061"/>
            </a:xfrm>
            <a:custGeom>
              <a:avLst/>
              <a:gdLst>
                <a:gd name="connsiteX0" fmla="*/ 181127 w 181127"/>
                <a:gd name="connsiteY0" fmla="*/ 0 h 359061"/>
                <a:gd name="connsiteX1" fmla="*/ 181127 w 181127"/>
                <a:gd name="connsiteY1" fmla="*/ 232957 h 359061"/>
                <a:gd name="connsiteX2" fmla="*/ 0 w 181127"/>
                <a:gd name="connsiteY2" fmla="*/ 359061 h 359061"/>
                <a:gd name="connsiteX3" fmla="*/ 0 w 181127"/>
                <a:gd name="connsiteY3" fmla="*/ 124737 h 359061"/>
              </a:gdLst>
              <a:ahLst/>
              <a:cxnLst>
                <a:cxn ang="0">
                  <a:pos x="connsiteX0" y="connsiteY0"/>
                </a:cxn>
                <a:cxn ang="0">
                  <a:pos x="connsiteX1" y="connsiteY1"/>
                </a:cxn>
                <a:cxn ang="0">
                  <a:pos x="connsiteX2" y="connsiteY2"/>
                </a:cxn>
                <a:cxn ang="0">
                  <a:pos x="connsiteX3" y="connsiteY3"/>
                </a:cxn>
              </a:cxnLst>
              <a:rect l="l" t="t" r="r" b="b"/>
              <a:pathLst>
                <a:path w="181127" h="359061">
                  <a:moveTo>
                    <a:pt x="181127" y="0"/>
                  </a:moveTo>
                  <a:lnTo>
                    <a:pt x="181127" y="232957"/>
                  </a:lnTo>
                  <a:lnTo>
                    <a:pt x="0" y="359061"/>
                  </a:lnTo>
                  <a:lnTo>
                    <a:pt x="0" y="124737"/>
                  </a:lnTo>
                  <a:close/>
                </a:path>
              </a:pathLst>
            </a:custGeom>
            <a:noFill/>
            <a:ln w="3175" cap="flat">
              <a:solidFill>
                <a:schemeClr val="bg1">
                  <a:alpha val="30000"/>
                </a:schemeClr>
              </a:solidFill>
              <a:prstDash val="solid"/>
              <a:miter/>
            </a:ln>
          </p:spPr>
          <p:txBody>
            <a:bodyPr rtlCol="0" anchor="ctr"/>
            <a:lstStyle/>
            <a:p>
              <a:endParaRPr lang="en-GB"/>
            </a:p>
          </p:txBody>
        </p:sp>
        <p:sp>
          <p:nvSpPr>
            <p:cNvPr id="388" name="Freeform: Shape 387">
              <a:extLst>
                <a:ext uri="{FF2B5EF4-FFF2-40B4-BE49-F238E27FC236}">
                  <a16:creationId xmlns:a16="http://schemas.microsoft.com/office/drawing/2014/main" id="{256EFF7B-6FBE-414D-AC40-7A050865D57A}"/>
                </a:ext>
              </a:extLst>
            </p:cNvPr>
            <p:cNvSpPr/>
            <p:nvPr/>
          </p:nvSpPr>
          <p:spPr>
            <a:xfrm>
              <a:off x="12182332" y="2591161"/>
              <a:ext cx="9669" cy="245878"/>
            </a:xfrm>
            <a:custGeom>
              <a:avLst/>
              <a:gdLst>
                <a:gd name="connsiteX0" fmla="*/ 9669 w 9669"/>
                <a:gd name="connsiteY0" fmla="*/ 0 h 245878"/>
                <a:gd name="connsiteX1" fmla="*/ 9669 w 9669"/>
                <a:gd name="connsiteY1" fmla="*/ 245878 h 245878"/>
                <a:gd name="connsiteX2" fmla="*/ 0 w 9669"/>
                <a:gd name="connsiteY2" fmla="*/ 239147 h 245878"/>
                <a:gd name="connsiteX3" fmla="*/ 0 w 9669"/>
                <a:gd name="connsiteY3" fmla="*/ 6728 h 245878"/>
              </a:gdLst>
              <a:ahLst/>
              <a:cxnLst>
                <a:cxn ang="0">
                  <a:pos x="connsiteX0" y="connsiteY0"/>
                </a:cxn>
                <a:cxn ang="0">
                  <a:pos x="connsiteX1" y="connsiteY1"/>
                </a:cxn>
                <a:cxn ang="0">
                  <a:pos x="connsiteX2" y="connsiteY2"/>
                </a:cxn>
                <a:cxn ang="0">
                  <a:pos x="connsiteX3" y="connsiteY3"/>
                </a:cxn>
              </a:cxnLst>
              <a:rect l="l" t="t" r="r" b="b"/>
              <a:pathLst>
                <a:path w="9669" h="245878">
                  <a:moveTo>
                    <a:pt x="9669" y="0"/>
                  </a:moveTo>
                  <a:lnTo>
                    <a:pt x="9669" y="245878"/>
                  </a:lnTo>
                  <a:lnTo>
                    <a:pt x="0" y="239147"/>
                  </a:lnTo>
                  <a:lnTo>
                    <a:pt x="0" y="6728"/>
                  </a:lnTo>
                  <a:close/>
                </a:path>
              </a:pathLst>
            </a:custGeom>
            <a:noFill/>
            <a:ln w="3175" cap="flat">
              <a:solidFill>
                <a:schemeClr val="bg1">
                  <a:alpha val="30000"/>
                </a:schemeClr>
              </a:solidFill>
              <a:prstDash val="solid"/>
              <a:miter/>
            </a:ln>
          </p:spPr>
          <p:txBody>
            <a:bodyPr rtlCol="0" anchor="ctr"/>
            <a:lstStyle/>
            <a:p>
              <a:endParaRPr lang="en-GB"/>
            </a:p>
          </p:txBody>
        </p:sp>
        <p:sp>
          <p:nvSpPr>
            <p:cNvPr id="389" name="Freeform: Shape 388">
              <a:extLst>
                <a:ext uri="{FF2B5EF4-FFF2-40B4-BE49-F238E27FC236}">
                  <a16:creationId xmlns:a16="http://schemas.microsoft.com/office/drawing/2014/main" id="{99E3681D-30CE-4966-8C39-7DC52E67339E}"/>
                </a:ext>
              </a:extLst>
            </p:cNvPr>
            <p:cNvSpPr/>
            <p:nvPr userDrawn="1"/>
          </p:nvSpPr>
          <p:spPr>
            <a:xfrm>
              <a:off x="12010873" y="2115291"/>
              <a:ext cx="181127" cy="358769"/>
            </a:xfrm>
            <a:custGeom>
              <a:avLst/>
              <a:gdLst>
                <a:gd name="connsiteX0" fmla="*/ 181127 w 181127"/>
                <a:gd name="connsiteY0" fmla="*/ 0 h 358769"/>
                <a:gd name="connsiteX1" fmla="*/ 181127 w 181127"/>
                <a:gd name="connsiteY1" fmla="*/ 232664 h 358769"/>
                <a:gd name="connsiteX2" fmla="*/ 0 w 181127"/>
                <a:gd name="connsiteY2" fmla="*/ 358769 h 358769"/>
                <a:gd name="connsiteX3" fmla="*/ 0 w 181127"/>
                <a:gd name="connsiteY3" fmla="*/ 125079 h 358769"/>
              </a:gdLst>
              <a:ahLst/>
              <a:cxnLst>
                <a:cxn ang="0">
                  <a:pos x="connsiteX0" y="connsiteY0"/>
                </a:cxn>
                <a:cxn ang="0">
                  <a:pos x="connsiteX1" y="connsiteY1"/>
                </a:cxn>
                <a:cxn ang="0">
                  <a:pos x="connsiteX2" y="connsiteY2"/>
                </a:cxn>
                <a:cxn ang="0">
                  <a:pos x="connsiteX3" y="connsiteY3"/>
                </a:cxn>
              </a:cxnLst>
              <a:rect l="l" t="t" r="r" b="b"/>
              <a:pathLst>
                <a:path w="181127" h="358769">
                  <a:moveTo>
                    <a:pt x="181127" y="0"/>
                  </a:moveTo>
                  <a:lnTo>
                    <a:pt x="181127" y="232664"/>
                  </a:lnTo>
                  <a:lnTo>
                    <a:pt x="0" y="358769"/>
                  </a:lnTo>
                  <a:lnTo>
                    <a:pt x="0" y="125079"/>
                  </a:lnTo>
                  <a:close/>
                </a:path>
              </a:pathLst>
            </a:custGeom>
            <a:noFill/>
            <a:ln w="3175" cap="flat">
              <a:solidFill>
                <a:schemeClr val="bg1">
                  <a:alpha val="30000"/>
                </a:schemeClr>
              </a:solidFill>
              <a:prstDash val="solid"/>
              <a:miter/>
            </a:ln>
          </p:spPr>
          <p:txBody>
            <a:bodyPr rtlCol="0" anchor="ctr"/>
            <a:lstStyle/>
            <a:p>
              <a:endParaRPr lang="en-GB"/>
            </a:p>
          </p:txBody>
        </p:sp>
        <p:sp>
          <p:nvSpPr>
            <p:cNvPr id="390" name="Freeform: Shape 389">
              <a:extLst>
                <a:ext uri="{FF2B5EF4-FFF2-40B4-BE49-F238E27FC236}">
                  <a16:creationId xmlns:a16="http://schemas.microsoft.com/office/drawing/2014/main" id="{DAF59334-EE7F-45A9-A44F-43BE27EE5F4A}"/>
                </a:ext>
              </a:extLst>
            </p:cNvPr>
            <p:cNvSpPr/>
            <p:nvPr/>
          </p:nvSpPr>
          <p:spPr>
            <a:xfrm>
              <a:off x="12012143" y="933306"/>
              <a:ext cx="179857" cy="242125"/>
            </a:xfrm>
            <a:custGeom>
              <a:avLst/>
              <a:gdLst>
                <a:gd name="connsiteX0" fmla="*/ 179857 w 179857"/>
                <a:gd name="connsiteY0" fmla="*/ 0 h 242125"/>
                <a:gd name="connsiteX1" fmla="*/ 179857 w 179857"/>
                <a:gd name="connsiteY1" fmla="*/ 234076 h 242125"/>
                <a:gd name="connsiteX2" fmla="*/ 168283 w 179857"/>
                <a:gd name="connsiteY2" fmla="*/ 242125 h 242125"/>
                <a:gd name="connsiteX3" fmla="*/ 0 w 179857"/>
                <a:gd name="connsiteY3" fmla="*/ 124645 h 242125"/>
              </a:gdLst>
              <a:ahLst/>
              <a:cxnLst>
                <a:cxn ang="0">
                  <a:pos x="connsiteX0" y="connsiteY0"/>
                </a:cxn>
                <a:cxn ang="0">
                  <a:pos x="connsiteX1" y="connsiteY1"/>
                </a:cxn>
                <a:cxn ang="0">
                  <a:pos x="connsiteX2" y="connsiteY2"/>
                </a:cxn>
                <a:cxn ang="0">
                  <a:pos x="connsiteX3" y="connsiteY3"/>
                </a:cxn>
              </a:cxnLst>
              <a:rect l="l" t="t" r="r" b="b"/>
              <a:pathLst>
                <a:path w="179857" h="242125">
                  <a:moveTo>
                    <a:pt x="179857" y="0"/>
                  </a:moveTo>
                  <a:lnTo>
                    <a:pt x="179857" y="234076"/>
                  </a:lnTo>
                  <a:lnTo>
                    <a:pt x="168283" y="242125"/>
                  </a:lnTo>
                  <a:lnTo>
                    <a:pt x="0" y="124645"/>
                  </a:lnTo>
                  <a:close/>
                </a:path>
              </a:pathLst>
            </a:custGeom>
            <a:noFill/>
            <a:ln w="3175" cap="flat">
              <a:solidFill>
                <a:schemeClr val="bg1">
                  <a:alpha val="30000"/>
                </a:schemeClr>
              </a:solidFill>
              <a:prstDash val="solid"/>
              <a:miter/>
            </a:ln>
          </p:spPr>
          <p:txBody>
            <a:bodyPr rtlCol="0" anchor="ctr"/>
            <a:lstStyle/>
            <a:p>
              <a:endParaRPr lang="en-GB"/>
            </a:p>
          </p:txBody>
        </p:sp>
        <p:sp>
          <p:nvSpPr>
            <p:cNvPr id="391" name="Freeform: Shape 390">
              <a:extLst>
                <a:ext uri="{FF2B5EF4-FFF2-40B4-BE49-F238E27FC236}">
                  <a16:creationId xmlns:a16="http://schemas.microsoft.com/office/drawing/2014/main" id="{A9BF5E58-59F7-450E-8083-A54DD5533A40}"/>
                </a:ext>
              </a:extLst>
            </p:cNvPr>
            <p:cNvSpPr/>
            <p:nvPr userDrawn="1"/>
          </p:nvSpPr>
          <p:spPr>
            <a:xfrm>
              <a:off x="12012143" y="2352249"/>
              <a:ext cx="179857" cy="242464"/>
            </a:xfrm>
            <a:custGeom>
              <a:avLst/>
              <a:gdLst>
                <a:gd name="connsiteX0" fmla="*/ 179857 w 179857"/>
                <a:gd name="connsiteY0" fmla="*/ 0 h 242464"/>
                <a:gd name="connsiteX1" fmla="*/ 179857 w 179857"/>
                <a:gd name="connsiteY1" fmla="*/ 234415 h 242464"/>
                <a:gd name="connsiteX2" fmla="*/ 168283 w 179857"/>
                <a:gd name="connsiteY2" fmla="*/ 242464 h 242464"/>
                <a:gd name="connsiteX3" fmla="*/ 0 w 179857"/>
                <a:gd name="connsiteY3" fmla="*/ 124984 h 242464"/>
              </a:gdLst>
              <a:ahLst/>
              <a:cxnLst>
                <a:cxn ang="0">
                  <a:pos x="connsiteX0" y="connsiteY0"/>
                </a:cxn>
                <a:cxn ang="0">
                  <a:pos x="connsiteX1" y="connsiteY1"/>
                </a:cxn>
                <a:cxn ang="0">
                  <a:pos x="connsiteX2" y="connsiteY2"/>
                </a:cxn>
                <a:cxn ang="0">
                  <a:pos x="connsiteX3" y="connsiteY3"/>
                </a:cxn>
              </a:cxnLst>
              <a:rect l="l" t="t" r="r" b="b"/>
              <a:pathLst>
                <a:path w="179857" h="242464">
                  <a:moveTo>
                    <a:pt x="179857" y="0"/>
                  </a:moveTo>
                  <a:lnTo>
                    <a:pt x="179857" y="234415"/>
                  </a:lnTo>
                  <a:lnTo>
                    <a:pt x="168283" y="242464"/>
                  </a:lnTo>
                  <a:lnTo>
                    <a:pt x="0" y="124984"/>
                  </a:lnTo>
                  <a:close/>
                </a:path>
              </a:pathLst>
            </a:custGeom>
            <a:noFill/>
            <a:ln w="3175" cap="flat">
              <a:solidFill>
                <a:schemeClr val="bg1">
                  <a:alpha val="30000"/>
                </a:schemeClr>
              </a:solidFill>
              <a:prstDash val="solid"/>
              <a:miter/>
            </a:ln>
          </p:spPr>
          <p:txBody>
            <a:bodyPr rtlCol="0" anchor="ctr"/>
            <a:lstStyle/>
            <a:p>
              <a:endParaRPr lang="en-GB"/>
            </a:p>
          </p:txBody>
        </p:sp>
      </p:grpSp>
      <p:sp>
        <p:nvSpPr>
          <p:cNvPr id="34" name="Picture Placeholder 33">
            <a:extLst>
              <a:ext uri="{FF2B5EF4-FFF2-40B4-BE49-F238E27FC236}">
                <a16:creationId xmlns:a16="http://schemas.microsoft.com/office/drawing/2014/main" id="{6A190A09-38DF-44F3-867C-A471B79F10D4}"/>
              </a:ext>
            </a:extLst>
          </p:cNvPr>
          <p:cNvSpPr>
            <a:spLocks noGrp="1"/>
          </p:cNvSpPr>
          <p:nvPr>
            <p:ph type="pic" sz="quarter" idx="15"/>
          </p:nvPr>
        </p:nvSpPr>
        <p:spPr>
          <a:xfrm>
            <a:off x="5051261" y="2832692"/>
            <a:ext cx="7140739" cy="4025309"/>
          </a:xfrm>
          <a:custGeom>
            <a:avLst/>
            <a:gdLst>
              <a:gd name="connsiteX0" fmla="*/ 5790363 w 7140739"/>
              <a:gd name="connsiteY0" fmla="*/ 0 h 4025309"/>
              <a:gd name="connsiteX1" fmla="*/ 7140739 w 7140739"/>
              <a:gd name="connsiteY1" fmla="*/ 938746 h 4025309"/>
              <a:gd name="connsiteX2" fmla="*/ 7140739 w 7140739"/>
              <a:gd name="connsiteY2" fmla="*/ 4025309 h 4025309"/>
              <a:gd name="connsiteX3" fmla="*/ 0 w 7140739"/>
              <a:gd name="connsiteY3" fmla="*/ 4025309 h 4025309"/>
            </a:gdLst>
            <a:ahLst/>
            <a:cxnLst>
              <a:cxn ang="0">
                <a:pos x="connsiteX0" y="connsiteY0"/>
              </a:cxn>
              <a:cxn ang="0">
                <a:pos x="connsiteX1" y="connsiteY1"/>
              </a:cxn>
              <a:cxn ang="0">
                <a:pos x="connsiteX2" y="connsiteY2"/>
              </a:cxn>
              <a:cxn ang="0">
                <a:pos x="connsiteX3" y="connsiteY3"/>
              </a:cxn>
            </a:cxnLst>
            <a:rect l="l" t="t" r="r" b="b"/>
            <a:pathLst>
              <a:path w="7140739" h="4025309">
                <a:moveTo>
                  <a:pt x="5790363" y="0"/>
                </a:moveTo>
                <a:lnTo>
                  <a:pt x="7140739" y="938746"/>
                </a:lnTo>
                <a:lnTo>
                  <a:pt x="7140739" y="4025309"/>
                </a:lnTo>
                <a:lnTo>
                  <a:pt x="0" y="4025309"/>
                </a:lnTo>
                <a:close/>
              </a:path>
            </a:pathLst>
          </a:custGeom>
          <a:solidFill>
            <a:schemeClr val="bg2"/>
          </a:solidFill>
        </p:spPr>
        <p:txBody>
          <a:bodyPr wrap="square" anchor="ctr" anchorCtr="0">
            <a:noAutofit/>
          </a:bodyPr>
          <a:lstStyle>
            <a:lvl1pPr algn="ctr">
              <a:defRPr/>
            </a:lvl1pPr>
          </a:lstStyle>
          <a:p>
            <a:endParaRPr lang="en-GB" dirty="0"/>
          </a:p>
        </p:txBody>
      </p:sp>
      <p:sp>
        <p:nvSpPr>
          <p:cNvPr id="27" name="Freeform 17">
            <a:extLst>
              <a:ext uri="{FF2B5EF4-FFF2-40B4-BE49-F238E27FC236}">
                <a16:creationId xmlns:a16="http://schemas.microsoft.com/office/drawing/2014/main" id="{B6240B64-00A8-4FE7-AA5A-4A2F8B98F2A4}"/>
              </a:ext>
            </a:extLst>
          </p:cNvPr>
          <p:cNvSpPr/>
          <p:nvPr userDrawn="1"/>
        </p:nvSpPr>
        <p:spPr>
          <a:xfrm rot="3299037" flipH="1" flipV="1">
            <a:off x="5974493" y="4464643"/>
            <a:ext cx="316395" cy="3206138"/>
          </a:xfrm>
          <a:custGeom>
            <a:avLst/>
            <a:gdLst>
              <a:gd name="connsiteX0" fmla="*/ 316395 w 316395"/>
              <a:gd name="connsiteY0" fmla="*/ 3162580 h 3206138"/>
              <a:gd name="connsiteX1" fmla="*/ 0 w 316395"/>
              <a:gd name="connsiteY1" fmla="*/ 3206138 h 3206138"/>
              <a:gd name="connsiteX2" fmla="*/ 0 w 316395"/>
              <a:gd name="connsiteY2" fmla="*/ 451589 h 3206138"/>
              <a:gd name="connsiteX3" fmla="*/ 316395 w 316395"/>
              <a:gd name="connsiteY3" fmla="*/ 0 h 3206138"/>
            </a:gdLst>
            <a:ahLst/>
            <a:cxnLst>
              <a:cxn ang="0">
                <a:pos x="connsiteX0" y="connsiteY0"/>
              </a:cxn>
              <a:cxn ang="0">
                <a:pos x="connsiteX1" y="connsiteY1"/>
              </a:cxn>
              <a:cxn ang="0">
                <a:pos x="connsiteX2" y="connsiteY2"/>
              </a:cxn>
              <a:cxn ang="0">
                <a:pos x="connsiteX3" y="connsiteY3"/>
              </a:cxn>
            </a:cxnLst>
            <a:rect l="l" t="t" r="r" b="b"/>
            <a:pathLst>
              <a:path w="316395" h="3206138">
                <a:moveTo>
                  <a:pt x="316395" y="3162580"/>
                </a:moveTo>
                <a:lnTo>
                  <a:pt x="0" y="3206138"/>
                </a:lnTo>
                <a:lnTo>
                  <a:pt x="0" y="451589"/>
                </a:lnTo>
                <a:lnTo>
                  <a:pt x="316395" y="0"/>
                </a:lnTo>
                <a:close/>
              </a:path>
            </a:pathLst>
          </a:custGeom>
          <a:gradFill flip="none" rotWithShape="1">
            <a:gsLst>
              <a:gs pos="0">
                <a:schemeClr val="accent2"/>
              </a:gs>
              <a:gs pos="85000">
                <a:schemeClr val="accent2">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pic>
        <p:nvPicPr>
          <p:cNvPr id="37" name="Graphic 36">
            <a:extLst>
              <a:ext uri="{FF2B5EF4-FFF2-40B4-BE49-F238E27FC236}">
                <a16:creationId xmlns:a16="http://schemas.microsoft.com/office/drawing/2014/main" id="{EC4703DF-3E8F-47BA-BB4F-7408A471CBF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Tree>
    <p:extLst>
      <p:ext uri="{BB962C8B-B14F-4D97-AF65-F5344CB8AC3E}">
        <p14:creationId xmlns:p14="http://schemas.microsoft.com/office/powerpoint/2010/main" val="66532145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tandard Slide with Navy Bann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3B73004-4686-45A1-8274-41087C5FBFF1}"/>
              </a:ext>
            </a:extLst>
          </p:cNvPr>
          <p:cNvSpPr/>
          <p:nvPr/>
        </p:nvSpPr>
        <p:spPr>
          <a:xfrm>
            <a:off x="0" y="0"/>
            <a:ext cx="12192000" cy="2020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pic>
        <p:nvPicPr>
          <p:cNvPr id="26" name="Picture 25">
            <a:extLst>
              <a:ext uri="{FF2B5EF4-FFF2-40B4-BE49-F238E27FC236}">
                <a16:creationId xmlns:a16="http://schemas.microsoft.com/office/drawing/2014/main" id="{4550EB56-F093-422F-88D0-09655BF64A6A}"/>
              </a:ext>
            </a:extLst>
          </p:cNvPr>
          <p:cNvPicPr>
            <a:picLocks noChangeAspect="1"/>
          </p:cNvPicPr>
          <p:nvPr/>
        </p:nvPicPr>
        <p:blipFill rotWithShape="1">
          <a:blip r:embed="rId2" cstate="screen">
            <a:alphaModFix amt="7000"/>
            <a:extLst>
              <a:ext uri="{28A0092B-C50C-407E-A947-70E740481C1C}">
                <a14:useLocalDpi xmlns:a14="http://schemas.microsoft.com/office/drawing/2010/main"/>
              </a:ext>
            </a:extLst>
          </a:blip>
          <a:srcRect/>
          <a:stretch/>
        </p:blipFill>
        <p:spPr>
          <a:xfrm>
            <a:off x="0" y="0"/>
            <a:ext cx="12192000" cy="2020306"/>
          </a:xfrm>
          <a:prstGeom prst="rect">
            <a:avLst/>
          </a:prstGeom>
        </p:spPr>
      </p:pic>
      <p:sp>
        <p:nvSpPr>
          <p:cNvPr id="17" name="Text Placeholder 22">
            <a:extLst>
              <a:ext uri="{FF2B5EF4-FFF2-40B4-BE49-F238E27FC236}">
                <a16:creationId xmlns:a16="http://schemas.microsoft.com/office/drawing/2014/main" id="{EC45FAEB-14CD-489E-8AC0-800CA223BC0E}"/>
              </a:ext>
            </a:extLst>
          </p:cNvPr>
          <p:cNvSpPr>
            <a:spLocks noGrp="1"/>
          </p:cNvSpPr>
          <p:nvPr>
            <p:ph type="body" sz="quarter" idx="13" hasCustomPrompt="1"/>
          </p:nvPr>
        </p:nvSpPr>
        <p:spPr>
          <a:xfrm>
            <a:off x="457200" y="2281628"/>
            <a:ext cx="11277600" cy="3600000"/>
          </a:xfrm>
          <a:prstGeom prst="rect">
            <a:avLst/>
          </a:prstGeom>
        </p:spPr>
        <p:txBody>
          <a:bodyPr lIns="0" anchor="t">
            <a:noAutofit/>
          </a:bodyPr>
          <a:lstStyle>
            <a:lvl1pPr marL="266700" indent="-266700">
              <a:lnSpc>
                <a:spcPct val="100000"/>
              </a:lnSpc>
              <a:spcBef>
                <a:spcPts val="600"/>
              </a:spcBef>
              <a:spcAft>
                <a:spcPts val="600"/>
              </a:spcAft>
              <a:buClr>
                <a:schemeClr val="accent1"/>
              </a:buClr>
              <a:buSzPct val="100000"/>
              <a:buFont typeface="Arial" panose="020B0604020202020204" pitchFamily="34" charset="0"/>
              <a:buChar char="■"/>
              <a:defRPr sz="1400" b="0">
                <a:solidFill>
                  <a:schemeClr val="tx2"/>
                </a:solidFill>
                <a:latin typeface="+mn-lt"/>
                <a:ea typeface="Cambria" panose="02040503050406030204" pitchFamily="18" charset="0"/>
                <a:cs typeface="Calibri" panose="020F0502020204030204" pitchFamily="34" charset="0"/>
              </a:defRPr>
            </a:lvl1pPr>
            <a:lvl2pPr marL="503238" indent="-236538">
              <a:spcBef>
                <a:spcPts val="600"/>
              </a:spcBef>
              <a:spcAft>
                <a:spcPts val="600"/>
              </a:spcAft>
              <a:buClr>
                <a:schemeClr val="accent1"/>
              </a:buClr>
              <a:buSzPct val="80000"/>
              <a:buFont typeface="Arial" panose="020B0604020202020204" pitchFamily="34" charset="0"/>
              <a:buChar char="►"/>
              <a:defRPr sz="1200">
                <a:solidFill>
                  <a:schemeClr val="tx2"/>
                </a:solidFill>
                <a:latin typeface="+mn-lt"/>
                <a:ea typeface="Cambria" panose="02040503050406030204" pitchFamily="18" charset="0"/>
                <a:cs typeface="Calibri" panose="020F0502020204030204" pitchFamily="34" charset="0"/>
              </a:defRPr>
            </a:lvl2pPr>
            <a:lvl3pPr marL="715963" indent="-192088" defTabSz="809625">
              <a:spcBef>
                <a:spcPts val="600"/>
              </a:spcBef>
              <a:spcAft>
                <a:spcPts val="600"/>
              </a:spcAft>
              <a:buClr>
                <a:schemeClr val="accent1"/>
              </a:buClr>
              <a:buSzPct val="100000"/>
              <a:buFont typeface="Arial" panose="020B0604020202020204" pitchFamily="34" charset="0"/>
              <a:buChar char="•"/>
              <a:defRPr sz="1050">
                <a:solidFill>
                  <a:schemeClr val="tx2"/>
                </a:solidFill>
                <a:latin typeface="+mn-lt"/>
                <a:ea typeface="Cambria" panose="02040503050406030204" pitchFamily="18" charset="0"/>
                <a:cs typeface="Calibri" panose="020F0502020204030204" pitchFamily="34" charset="0"/>
              </a:defRPr>
            </a:lvl3pPr>
          </a:lstStyle>
          <a:p>
            <a:pPr lvl="0"/>
            <a:r>
              <a:rPr lang="en-US" dirty="0"/>
              <a:t>1st level bullet style</a:t>
            </a:r>
          </a:p>
          <a:p>
            <a:pPr lvl="1"/>
            <a:r>
              <a:rPr lang="en-US" dirty="0"/>
              <a:t>2nd level bullet style</a:t>
            </a:r>
          </a:p>
          <a:p>
            <a:pPr lvl="2"/>
            <a:r>
              <a:rPr lang="en-US" dirty="0"/>
              <a:t>3rd level bullet style</a:t>
            </a:r>
          </a:p>
        </p:txBody>
      </p:sp>
      <p:sp>
        <p:nvSpPr>
          <p:cNvPr id="24" name="Text Placeholder 22">
            <a:extLst>
              <a:ext uri="{FF2B5EF4-FFF2-40B4-BE49-F238E27FC236}">
                <a16:creationId xmlns:a16="http://schemas.microsoft.com/office/drawing/2014/main" id="{36C5D7ED-4BED-4EE7-B3FF-722D1205BE10}"/>
              </a:ext>
            </a:extLst>
          </p:cNvPr>
          <p:cNvSpPr>
            <a:spLocks noGrp="1"/>
          </p:cNvSpPr>
          <p:nvPr>
            <p:ph type="body" sz="quarter" idx="12" hasCustomPrompt="1"/>
          </p:nvPr>
        </p:nvSpPr>
        <p:spPr>
          <a:xfrm>
            <a:off x="460744" y="1486906"/>
            <a:ext cx="11020055" cy="533400"/>
          </a:xfrm>
          <a:prstGeom prst="rect">
            <a:avLst/>
          </a:prstGeom>
        </p:spPr>
        <p:txBody>
          <a:bodyPr lIns="0" anchor="t">
            <a:noAutofit/>
          </a:bodyPr>
          <a:lstStyle>
            <a:lvl1pPr marL="0" indent="0">
              <a:lnSpc>
                <a:spcPct val="100000"/>
              </a:lnSpc>
              <a:spcBef>
                <a:spcPts val="0"/>
              </a:spcBef>
              <a:buNone/>
              <a:defRPr sz="18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16" name="Graphic 15">
            <a:extLst>
              <a:ext uri="{FF2B5EF4-FFF2-40B4-BE49-F238E27FC236}">
                <a16:creationId xmlns:a16="http://schemas.microsoft.com/office/drawing/2014/main" id="{99E7B1C1-34C1-6F45-99D4-F888C43103C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27" name="Text Placeholder 2">
            <a:extLst>
              <a:ext uri="{FF2B5EF4-FFF2-40B4-BE49-F238E27FC236}">
                <a16:creationId xmlns:a16="http://schemas.microsoft.com/office/drawing/2014/main" id="{D99C58B1-5C87-C44A-97E7-9FC9E8476311}"/>
              </a:ext>
            </a:extLst>
          </p:cNvPr>
          <p:cNvSpPr>
            <a:spLocks noGrp="1"/>
          </p:cNvSpPr>
          <p:nvPr>
            <p:ph type="body" sz="quarter" idx="14"/>
          </p:nvPr>
        </p:nvSpPr>
        <p:spPr>
          <a:xfrm>
            <a:off x="457200" y="98303"/>
            <a:ext cx="5846011" cy="228600"/>
          </a:xfrm>
          <a:prstGeom prst="rect">
            <a:avLst/>
          </a:prstGeom>
        </p:spPr>
        <p:txBody>
          <a:bodyPr lIns="0">
            <a:noAutofit/>
          </a:bodyPr>
          <a:lstStyle>
            <a:lvl1pPr marL="0" indent="0">
              <a:buNone/>
              <a:defRPr sz="1000" b="0">
                <a:solidFill>
                  <a:schemeClr val="bg1"/>
                </a:solidFill>
                <a:latin typeface="+mn-lt"/>
                <a:ea typeface="Cambria" panose="02040503050406030204" pitchFamily="18" charset="0"/>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C16ED8EF-7BAA-8847-A793-51CE6DEF2A39}"/>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9" name="Footer Placeholder 3">
            <a:extLst>
              <a:ext uri="{FF2B5EF4-FFF2-40B4-BE49-F238E27FC236}">
                <a16:creationId xmlns:a16="http://schemas.microsoft.com/office/drawing/2014/main" id="{F0CD2B59-E245-F74E-B5D0-65CDD18A2D13}"/>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4" name="Title 3">
            <a:extLst>
              <a:ext uri="{FF2B5EF4-FFF2-40B4-BE49-F238E27FC236}">
                <a16:creationId xmlns:a16="http://schemas.microsoft.com/office/drawing/2014/main" id="{C9B9CE05-D4AE-463E-BA12-526BA7792CEE}"/>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bg1"/>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1" name="Rectangle 20">
            <a:extLst>
              <a:ext uri="{FF2B5EF4-FFF2-40B4-BE49-F238E27FC236}">
                <a16:creationId xmlns:a16="http://schemas.microsoft.com/office/drawing/2014/main" id="{0C05D07E-7642-468E-A593-5C1B6E1256FC}"/>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4" name="Freeform: Shape 13">
            <a:extLst>
              <a:ext uri="{FF2B5EF4-FFF2-40B4-BE49-F238E27FC236}">
                <a16:creationId xmlns:a16="http://schemas.microsoft.com/office/drawing/2014/main" id="{3E40CECA-4BA9-4D19-9201-5A9DE5481A2F}"/>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26C8BA5-0E8C-4487-9FA7-318D450C9B0E}"/>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328732756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tandard Slide with Coral Title Divider - White">
    <p:bg>
      <p:bgPr>
        <a:solidFill>
          <a:schemeClr val="bg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A49B78C9-7BB7-49D7-954F-5AA9382FC932}"/>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 Placeholder 22">
            <a:extLst>
              <a:ext uri="{FF2B5EF4-FFF2-40B4-BE49-F238E27FC236}">
                <a16:creationId xmlns:a16="http://schemas.microsoft.com/office/drawing/2014/main" id="{0B949801-D1CB-4FAA-AA6A-7CA71D329D2D}"/>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17" name="Text Placeholder 22">
            <a:extLst>
              <a:ext uri="{FF2B5EF4-FFF2-40B4-BE49-F238E27FC236}">
                <a16:creationId xmlns:a16="http://schemas.microsoft.com/office/drawing/2014/main" id="{EC45FAEB-14CD-489E-8AC0-800CA223BC0E}"/>
              </a:ext>
            </a:extLst>
          </p:cNvPr>
          <p:cNvSpPr>
            <a:spLocks noGrp="1"/>
          </p:cNvSpPr>
          <p:nvPr>
            <p:ph type="body" sz="quarter" idx="13" hasCustomPrompt="1"/>
          </p:nvPr>
        </p:nvSpPr>
        <p:spPr>
          <a:xfrm>
            <a:off x="457200" y="2281628"/>
            <a:ext cx="11277600" cy="3600000"/>
          </a:xfrm>
          <a:prstGeom prst="rect">
            <a:avLst/>
          </a:prstGeom>
        </p:spPr>
        <p:txBody>
          <a:bodyPr lIns="0" anchor="t">
            <a:noAutofit/>
          </a:bodyPr>
          <a:lstStyle>
            <a:lvl1pPr marL="266700" indent="-266700">
              <a:lnSpc>
                <a:spcPct val="100000"/>
              </a:lnSpc>
              <a:spcBef>
                <a:spcPts val="600"/>
              </a:spcBef>
              <a:spcAft>
                <a:spcPts val="600"/>
              </a:spcAft>
              <a:buClr>
                <a:schemeClr val="accent1"/>
              </a:buClr>
              <a:buSzPct val="100000"/>
              <a:buFont typeface="Arial" panose="020B0604020202020204" pitchFamily="34" charset="0"/>
              <a:buChar char="■"/>
              <a:defRPr sz="1400" b="0">
                <a:solidFill>
                  <a:schemeClr val="tx2"/>
                </a:solidFill>
                <a:latin typeface="+mn-lt"/>
                <a:ea typeface="Cambria" panose="02040503050406030204" pitchFamily="18" charset="0"/>
                <a:cs typeface="Calibri" panose="020F0502020204030204" pitchFamily="34" charset="0"/>
              </a:defRPr>
            </a:lvl1pPr>
            <a:lvl2pPr marL="503238" indent="-236538">
              <a:spcBef>
                <a:spcPts val="600"/>
              </a:spcBef>
              <a:spcAft>
                <a:spcPts val="600"/>
              </a:spcAft>
              <a:buClr>
                <a:schemeClr val="accent1"/>
              </a:buClr>
              <a:buSzPct val="80000"/>
              <a:buFont typeface="Arial" panose="020B0604020202020204" pitchFamily="34" charset="0"/>
              <a:buChar char="►"/>
              <a:defRPr sz="1200">
                <a:solidFill>
                  <a:schemeClr val="tx2"/>
                </a:solidFill>
                <a:latin typeface="+mn-lt"/>
                <a:ea typeface="Cambria" panose="02040503050406030204" pitchFamily="18" charset="0"/>
                <a:cs typeface="Calibri" panose="020F0502020204030204" pitchFamily="34" charset="0"/>
              </a:defRPr>
            </a:lvl2pPr>
            <a:lvl3pPr marL="715963" indent="-192088" defTabSz="809625">
              <a:spcBef>
                <a:spcPts val="600"/>
              </a:spcBef>
              <a:spcAft>
                <a:spcPts val="600"/>
              </a:spcAft>
              <a:buClr>
                <a:schemeClr val="accent1"/>
              </a:buClr>
              <a:buSzPct val="100000"/>
              <a:buFont typeface="Arial" panose="020B0604020202020204" pitchFamily="34" charset="0"/>
              <a:buChar char="•"/>
              <a:defRPr sz="1050">
                <a:solidFill>
                  <a:schemeClr val="tx2"/>
                </a:solidFill>
                <a:latin typeface="+mn-lt"/>
                <a:ea typeface="Cambria" panose="02040503050406030204" pitchFamily="18" charset="0"/>
                <a:cs typeface="Calibri" panose="020F0502020204030204" pitchFamily="34" charset="0"/>
              </a:defRPr>
            </a:lvl3pPr>
          </a:lstStyle>
          <a:p>
            <a:pPr lvl="0"/>
            <a:r>
              <a:rPr lang="en-US" dirty="0"/>
              <a:t>1st level bullet style</a:t>
            </a:r>
          </a:p>
          <a:p>
            <a:pPr lvl="1"/>
            <a:r>
              <a:rPr lang="en-US" dirty="0"/>
              <a:t>2nd level bullet style</a:t>
            </a:r>
          </a:p>
          <a:p>
            <a:pPr lvl="2"/>
            <a:r>
              <a:rPr lang="en-US" dirty="0"/>
              <a:t>3rd level bullet style</a:t>
            </a:r>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5" name="Text Placeholder 2">
            <a:extLst>
              <a:ext uri="{FF2B5EF4-FFF2-40B4-BE49-F238E27FC236}">
                <a16:creationId xmlns:a16="http://schemas.microsoft.com/office/drawing/2014/main" id="{09D40800-6625-A94C-8460-63F6730AD1F3}"/>
              </a:ext>
            </a:extLst>
          </p:cNvPr>
          <p:cNvSpPr>
            <a:spLocks noGrp="1"/>
          </p:cNvSpPr>
          <p:nvPr>
            <p:ph type="body" sz="quarter" idx="14"/>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20" name="Slide Number Placeholder 5">
            <a:extLst>
              <a:ext uri="{FF2B5EF4-FFF2-40B4-BE49-F238E27FC236}">
                <a16:creationId xmlns:a16="http://schemas.microsoft.com/office/drawing/2014/main" id="{42A10DA9-F3EE-DE4E-95FA-945D1E6ED1E9}"/>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1" name="Footer Placeholder 3">
            <a:extLst>
              <a:ext uri="{FF2B5EF4-FFF2-40B4-BE49-F238E27FC236}">
                <a16:creationId xmlns:a16="http://schemas.microsoft.com/office/drawing/2014/main" id="{0226A528-945C-5A43-A075-4CF56CADB120}"/>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6" name="Title 3">
            <a:extLst>
              <a:ext uri="{FF2B5EF4-FFF2-40B4-BE49-F238E27FC236}">
                <a16:creationId xmlns:a16="http://schemas.microsoft.com/office/drawing/2014/main" id="{7AB5DCBE-1D2A-43D5-A777-58863EDF1C5A}"/>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3" name="Rectangle 22">
            <a:extLst>
              <a:ext uri="{FF2B5EF4-FFF2-40B4-BE49-F238E27FC236}">
                <a16:creationId xmlns:a16="http://schemas.microsoft.com/office/drawing/2014/main" id="{9716A898-5A89-4CA5-9B40-95FBB2829B5C}"/>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5" name="Freeform: Shape 14">
            <a:extLst>
              <a:ext uri="{FF2B5EF4-FFF2-40B4-BE49-F238E27FC236}">
                <a16:creationId xmlns:a16="http://schemas.microsoft.com/office/drawing/2014/main" id="{E1BEBC27-A4DD-4672-8056-53320A57DF87}"/>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6" name="Freeform: Shape 15">
            <a:extLst>
              <a:ext uri="{FF2B5EF4-FFF2-40B4-BE49-F238E27FC236}">
                <a16:creationId xmlns:a16="http://schemas.microsoft.com/office/drawing/2014/main" id="{6ECBC53C-7DFD-4D73-BD13-DCA234AEE227}"/>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324928645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andard Slide with Coral Title Divider - Two Text Boxes">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FF6318C5-3E8C-4027-8ADE-94D6DFF893DF}"/>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9" name="Graphic 18">
            <a:extLst>
              <a:ext uri="{FF2B5EF4-FFF2-40B4-BE49-F238E27FC236}">
                <a16:creationId xmlns:a16="http://schemas.microsoft.com/office/drawing/2014/main" id="{84910E85-A840-A34D-ACA6-7D1ECD49672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0" name="Slide Number Placeholder 5">
            <a:extLst>
              <a:ext uri="{FF2B5EF4-FFF2-40B4-BE49-F238E27FC236}">
                <a16:creationId xmlns:a16="http://schemas.microsoft.com/office/drawing/2014/main" id="{BDEB0551-9906-0F4F-853B-AE6B38C0A6DB}"/>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1" name="Footer Placeholder 3">
            <a:extLst>
              <a:ext uri="{FF2B5EF4-FFF2-40B4-BE49-F238E27FC236}">
                <a16:creationId xmlns:a16="http://schemas.microsoft.com/office/drawing/2014/main" id="{739E1F1D-B720-154D-A12B-5FD379006E2C}"/>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2" name="Title 3">
            <a:extLst>
              <a:ext uri="{FF2B5EF4-FFF2-40B4-BE49-F238E27FC236}">
                <a16:creationId xmlns:a16="http://schemas.microsoft.com/office/drawing/2014/main" id="{BBEAF997-6809-4636-8337-1DC306436AF6}"/>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0" name="Text Placeholder 22">
            <a:extLst>
              <a:ext uri="{FF2B5EF4-FFF2-40B4-BE49-F238E27FC236}">
                <a16:creationId xmlns:a16="http://schemas.microsoft.com/office/drawing/2014/main" id="{AE2FC26A-8D8D-4044-8040-65574EFDEA21}"/>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1" name="Text Placeholder 6">
            <a:extLst>
              <a:ext uri="{FF2B5EF4-FFF2-40B4-BE49-F238E27FC236}">
                <a16:creationId xmlns:a16="http://schemas.microsoft.com/office/drawing/2014/main" id="{A18BB443-16DE-476A-906C-306D6FED0A05}"/>
              </a:ext>
            </a:extLst>
          </p:cNvPr>
          <p:cNvSpPr>
            <a:spLocks noGrp="1"/>
          </p:cNvSpPr>
          <p:nvPr>
            <p:ph type="body" sz="quarter" idx="17"/>
          </p:nvPr>
        </p:nvSpPr>
        <p:spPr>
          <a:xfrm>
            <a:off x="457200" y="2498999"/>
            <a:ext cx="4860000" cy="3795487"/>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 Placeholder 6">
            <a:extLst>
              <a:ext uri="{FF2B5EF4-FFF2-40B4-BE49-F238E27FC236}">
                <a16:creationId xmlns:a16="http://schemas.microsoft.com/office/drawing/2014/main" id="{3C180B55-29D5-4D83-8640-B1D992AE278B}"/>
              </a:ext>
            </a:extLst>
          </p:cNvPr>
          <p:cNvSpPr>
            <a:spLocks noGrp="1"/>
          </p:cNvSpPr>
          <p:nvPr>
            <p:ph type="body" sz="quarter" idx="18"/>
          </p:nvPr>
        </p:nvSpPr>
        <p:spPr>
          <a:xfrm>
            <a:off x="5804630" y="2498999"/>
            <a:ext cx="4860000" cy="3795487"/>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Text Placeholder 2">
            <a:extLst>
              <a:ext uri="{FF2B5EF4-FFF2-40B4-BE49-F238E27FC236}">
                <a16:creationId xmlns:a16="http://schemas.microsoft.com/office/drawing/2014/main" id="{AB0EA591-0F76-4C5D-A80F-BE3FFDBDE3C2}"/>
              </a:ext>
            </a:extLst>
          </p:cNvPr>
          <p:cNvSpPr>
            <a:spLocks noGrp="1"/>
          </p:cNvSpPr>
          <p:nvPr>
            <p:ph type="body" sz="quarter" idx="19"/>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23" name="Freeform: Shape 22">
            <a:extLst>
              <a:ext uri="{FF2B5EF4-FFF2-40B4-BE49-F238E27FC236}">
                <a16:creationId xmlns:a16="http://schemas.microsoft.com/office/drawing/2014/main" id="{B833661B-FDB1-4FD2-AA10-7509875192F6}"/>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4" name="Freeform: Shape 23">
            <a:extLst>
              <a:ext uri="{FF2B5EF4-FFF2-40B4-BE49-F238E27FC236}">
                <a16:creationId xmlns:a16="http://schemas.microsoft.com/office/drawing/2014/main" id="{056BE9C3-9D24-4D01-BA4D-BF75A9D51FE4}"/>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Rectangle 24">
            <a:extLst>
              <a:ext uri="{FF2B5EF4-FFF2-40B4-BE49-F238E27FC236}">
                <a16:creationId xmlns:a16="http://schemas.microsoft.com/office/drawing/2014/main" id="{29C100CA-D516-42FC-BC3F-FAC2BD900CA3}"/>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119109460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andard Slide with Coral Title Divider - Three Text Boxes">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E31D0D1B-F029-4724-91D9-7B2EC70CC705}"/>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1" name="Slide Number Placeholder 5">
            <a:extLst>
              <a:ext uri="{FF2B5EF4-FFF2-40B4-BE49-F238E27FC236}">
                <a16:creationId xmlns:a16="http://schemas.microsoft.com/office/drawing/2014/main" id="{7182E920-76C2-7D48-A20D-59713625B20C}"/>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4" name="Footer Placeholder 3">
            <a:extLst>
              <a:ext uri="{FF2B5EF4-FFF2-40B4-BE49-F238E27FC236}">
                <a16:creationId xmlns:a16="http://schemas.microsoft.com/office/drawing/2014/main" id="{09ACF265-EE31-4144-8B71-14F128F1CBEA}"/>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8" name="Text Placeholder 6">
            <a:extLst>
              <a:ext uri="{FF2B5EF4-FFF2-40B4-BE49-F238E27FC236}">
                <a16:creationId xmlns:a16="http://schemas.microsoft.com/office/drawing/2014/main" id="{E22CFED2-F786-42B3-9BD7-D64AA1DDC091}"/>
              </a:ext>
            </a:extLst>
          </p:cNvPr>
          <p:cNvSpPr>
            <a:spLocks noGrp="1"/>
          </p:cNvSpPr>
          <p:nvPr>
            <p:ph type="body" sz="quarter" idx="17" hasCustomPrompt="1"/>
          </p:nvPr>
        </p:nvSpPr>
        <p:spPr>
          <a:xfrm>
            <a:off x="457200" y="2498999"/>
            <a:ext cx="3132000" cy="3795487"/>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6">
            <a:extLst>
              <a:ext uri="{FF2B5EF4-FFF2-40B4-BE49-F238E27FC236}">
                <a16:creationId xmlns:a16="http://schemas.microsoft.com/office/drawing/2014/main" id="{66666AE2-2A5D-4220-B698-BF93D33E317B}"/>
              </a:ext>
            </a:extLst>
          </p:cNvPr>
          <p:cNvSpPr>
            <a:spLocks noGrp="1"/>
          </p:cNvSpPr>
          <p:nvPr>
            <p:ph type="body" sz="quarter" idx="18" hasCustomPrompt="1"/>
          </p:nvPr>
        </p:nvSpPr>
        <p:spPr>
          <a:xfrm>
            <a:off x="4063965" y="2498999"/>
            <a:ext cx="3132000" cy="3795487"/>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6">
            <a:extLst>
              <a:ext uri="{FF2B5EF4-FFF2-40B4-BE49-F238E27FC236}">
                <a16:creationId xmlns:a16="http://schemas.microsoft.com/office/drawing/2014/main" id="{7F79D8D0-8E03-4D54-83A9-34731ECB042F}"/>
              </a:ext>
            </a:extLst>
          </p:cNvPr>
          <p:cNvSpPr>
            <a:spLocks noGrp="1"/>
          </p:cNvSpPr>
          <p:nvPr>
            <p:ph type="body" sz="quarter" idx="19" hasCustomPrompt="1"/>
          </p:nvPr>
        </p:nvSpPr>
        <p:spPr>
          <a:xfrm>
            <a:off x="7670730" y="2498999"/>
            <a:ext cx="3132000" cy="3795487"/>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2">
            <a:extLst>
              <a:ext uri="{FF2B5EF4-FFF2-40B4-BE49-F238E27FC236}">
                <a16:creationId xmlns:a16="http://schemas.microsoft.com/office/drawing/2014/main" id="{CFAE361D-E02F-49AE-9D8E-909869D37E30}"/>
              </a:ext>
            </a:extLst>
          </p:cNvPr>
          <p:cNvSpPr>
            <a:spLocks noGrp="1"/>
          </p:cNvSpPr>
          <p:nvPr>
            <p:ph type="body" sz="quarter" idx="20"/>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16" name="Rectangle 15">
            <a:extLst>
              <a:ext uri="{FF2B5EF4-FFF2-40B4-BE49-F238E27FC236}">
                <a16:creationId xmlns:a16="http://schemas.microsoft.com/office/drawing/2014/main" id="{F022FA43-3E87-4FEF-93E8-E316AF48C481}"/>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9" name="Freeform: Shape 18">
            <a:extLst>
              <a:ext uri="{FF2B5EF4-FFF2-40B4-BE49-F238E27FC236}">
                <a16:creationId xmlns:a16="http://schemas.microsoft.com/office/drawing/2014/main" id="{122699F3-A2B0-491D-9618-7F1A6C8D6248}"/>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7" name="Freeform: Shape 26">
            <a:extLst>
              <a:ext uri="{FF2B5EF4-FFF2-40B4-BE49-F238E27FC236}">
                <a16:creationId xmlns:a16="http://schemas.microsoft.com/office/drawing/2014/main" id="{839A74A5-0B9E-494D-AA42-59356F87032E}"/>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139612483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Slide with Coral Title Divider - Four Text Boxes">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69E03D5-567B-4B07-A3E5-6CE33427C21E}"/>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a:extLst>
              <a:ext uri="{FF2B5EF4-FFF2-40B4-BE49-F238E27FC236}">
                <a16:creationId xmlns:a16="http://schemas.microsoft.com/office/drawing/2014/main" id="{74581D52-5A11-4CEF-A19A-C47F763A7B43}"/>
              </a:ext>
            </a:extLst>
          </p:cNvPr>
          <p:cNvSpPr/>
          <p:nvPr/>
        </p:nvSpPr>
        <p:spPr>
          <a:xfrm>
            <a:off x="0" y="0"/>
            <a:ext cx="109728" cy="6858000"/>
          </a:xfrm>
          <a:prstGeom prst="rect">
            <a:avLst/>
          </a:prstGeom>
          <a:gradFill flip="none" rotWithShape="1">
            <a:gsLst>
              <a:gs pos="68000">
                <a:schemeClr val="accent1"/>
              </a:gs>
              <a:gs pos="98000">
                <a:srgbClr val="073262"/>
              </a:gs>
              <a:gs pos="33000">
                <a:schemeClr val="accent2"/>
              </a:gs>
              <a:gs pos="0">
                <a:srgbClr val="073262"/>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1" name="Slide Number Placeholder 5">
            <a:extLst>
              <a:ext uri="{FF2B5EF4-FFF2-40B4-BE49-F238E27FC236}">
                <a16:creationId xmlns:a16="http://schemas.microsoft.com/office/drawing/2014/main" id="{7182E920-76C2-7D48-A20D-59713625B20C}"/>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4" name="Footer Placeholder 3">
            <a:extLst>
              <a:ext uri="{FF2B5EF4-FFF2-40B4-BE49-F238E27FC236}">
                <a16:creationId xmlns:a16="http://schemas.microsoft.com/office/drawing/2014/main" id="{09ACF265-EE31-4144-8B71-14F128F1CBEA}"/>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8" name="Text Placeholder 6">
            <a:extLst>
              <a:ext uri="{FF2B5EF4-FFF2-40B4-BE49-F238E27FC236}">
                <a16:creationId xmlns:a16="http://schemas.microsoft.com/office/drawing/2014/main" id="{E22CFED2-F786-42B3-9BD7-D64AA1DDC091}"/>
              </a:ext>
            </a:extLst>
          </p:cNvPr>
          <p:cNvSpPr>
            <a:spLocks noGrp="1"/>
          </p:cNvSpPr>
          <p:nvPr>
            <p:ph type="body" sz="quarter" idx="17" hasCustomPrompt="1"/>
          </p:nvPr>
        </p:nvSpPr>
        <p:spPr>
          <a:xfrm>
            <a:off x="457200" y="2498999"/>
            <a:ext cx="2628000" cy="3795487"/>
          </a:xfr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6">
            <a:extLst>
              <a:ext uri="{FF2B5EF4-FFF2-40B4-BE49-F238E27FC236}">
                <a16:creationId xmlns:a16="http://schemas.microsoft.com/office/drawing/2014/main" id="{66666AE2-2A5D-4220-B698-BF93D33E317B}"/>
              </a:ext>
            </a:extLst>
          </p:cNvPr>
          <p:cNvSpPr>
            <a:spLocks noGrp="1"/>
          </p:cNvSpPr>
          <p:nvPr>
            <p:ph type="body" sz="quarter" idx="18" hasCustomPrompt="1"/>
          </p:nvPr>
        </p:nvSpPr>
        <p:spPr>
          <a:xfrm>
            <a:off x="3345163" y="2498999"/>
            <a:ext cx="2628000" cy="3795487"/>
          </a:xfr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6">
            <a:extLst>
              <a:ext uri="{FF2B5EF4-FFF2-40B4-BE49-F238E27FC236}">
                <a16:creationId xmlns:a16="http://schemas.microsoft.com/office/drawing/2014/main" id="{7F79D8D0-8E03-4D54-83A9-34731ECB042F}"/>
              </a:ext>
            </a:extLst>
          </p:cNvPr>
          <p:cNvSpPr>
            <a:spLocks noGrp="1"/>
          </p:cNvSpPr>
          <p:nvPr>
            <p:ph type="body" sz="quarter" idx="19" hasCustomPrompt="1"/>
          </p:nvPr>
        </p:nvSpPr>
        <p:spPr>
          <a:xfrm>
            <a:off x="6233126" y="2498999"/>
            <a:ext cx="2628000" cy="3795487"/>
          </a:xfr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6">
            <a:extLst>
              <a:ext uri="{FF2B5EF4-FFF2-40B4-BE49-F238E27FC236}">
                <a16:creationId xmlns:a16="http://schemas.microsoft.com/office/drawing/2014/main" id="{9A38676E-2691-49B7-938B-41EBBAE41426}"/>
              </a:ext>
            </a:extLst>
          </p:cNvPr>
          <p:cNvSpPr>
            <a:spLocks noGrp="1"/>
          </p:cNvSpPr>
          <p:nvPr>
            <p:ph type="body" sz="quarter" idx="21" hasCustomPrompt="1"/>
          </p:nvPr>
        </p:nvSpPr>
        <p:spPr>
          <a:xfrm>
            <a:off x="9121088" y="2498999"/>
            <a:ext cx="2628000" cy="3795487"/>
          </a:xfr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2">
            <a:extLst>
              <a:ext uri="{FF2B5EF4-FFF2-40B4-BE49-F238E27FC236}">
                <a16:creationId xmlns:a16="http://schemas.microsoft.com/office/drawing/2014/main" id="{43728C49-8B97-44DE-B314-372422AECD19}"/>
              </a:ext>
            </a:extLst>
          </p:cNvPr>
          <p:cNvSpPr>
            <a:spLocks noGrp="1"/>
          </p:cNvSpPr>
          <p:nvPr>
            <p:ph type="body" sz="quarter" idx="22"/>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20" name="Freeform: Shape 19">
            <a:extLst>
              <a:ext uri="{FF2B5EF4-FFF2-40B4-BE49-F238E27FC236}">
                <a16:creationId xmlns:a16="http://schemas.microsoft.com/office/drawing/2014/main" id="{9C4AAAD0-4193-42FD-A688-B0CD9CED6745}"/>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2" name="Freeform: Shape 31">
            <a:extLst>
              <a:ext uri="{FF2B5EF4-FFF2-40B4-BE49-F238E27FC236}">
                <a16:creationId xmlns:a16="http://schemas.microsoft.com/office/drawing/2014/main" id="{E2A8F19F-DE6E-4F6F-B1FB-F82B517C4553}"/>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233476210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tandard Slide with Coral Title Divider - Three Text Boxes">
    <p:spTree>
      <p:nvGrpSpPr>
        <p:cNvPr id="1" name=""/>
        <p:cNvGrpSpPr/>
        <p:nvPr/>
      </p:nvGrpSpPr>
      <p:grpSpPr>
        <a:xfrm>
          <a:off x="0" y="0"/>
          <a:ext cx="0" cy="0"/>
          <a:chOff x="0" y="0"/>
          <a:chExt cx="0" cy="0"/>
        </a:xfrm>
      </p:grpSpPr>
      <p:sp>
        <p:nvSpPr>
          <p:cNvPr id="35" name="Freeform: Shape 34">
            <a:extLst>
              <a:ext uri="{FF2B5EF4-FFF2-40B4-BE49-F238E27FC236}">
                <a16:creationId xmlns:a16="http://schemas.microsoft.com/office/drawing/2014/main" id="{D11DE4A4-8A73-47DE-998E-AEEEE66D8A3D}"/>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Graphic 22">
            <a:extLst>
              <a:ext uri="{FF2B5EF4-FFF2-40B4-BE49-F238E27FC236}">
                <a16:creationId xmlns:a16="http://schemas.microsoft.com/office/drawing/2014/main" id="{F004A700-4D6B-794D-9E1F-B688ED6936D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1" name="Slide Number Placeholder 5">
            <a:extLst>
              <a:ext uri="{FF2B5EF4-FFF2-40B4-BE49-F238E27FC236}">
                <a16:creationId xmlns:a16="http://schemas.microsoft.com/office/drawing/2014/main" id="{7182E920-76C2-7D48-A20D-59713625B20C}"/>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4" name="Footer Placeholder 3">
            <a:extLst>
              <a:ext uri="{FF2B5EF4-FFF2-40B4-BE49-F238E27FC236}">
                <a16:creationId xmlns:a16="http://schemas.microsoft.com/office/drawing/2014/main" id="{09ACF265-EE31-4144-8B71-14F128F1CBEA}"/>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5" name="Title 3">
            <a:extLst>
              <a:ext uri="{FF2B5EF4-FFF2-40B4-BE49-F238E27FC236}">
                <a16:creationId xmlns:a16="http://schemas.microsoft.com/office/drawing/2014/main" id="{F679A7A8-7517-400C-92F2-47DF5DFAE4D7}"/>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6" name="Text Placeholder 22">
            <a:extLst>
              <a:ext uri="{FF2B5EF4-FFF2-40B4-BE49-F238E27FC236}">
                <a16:creationId xmlns:a16="http://schemas.microsoft.com/office/drawing/2014/main" id="{C5BFAF6D-F9A4-4082-BB3E-3585BE018455}"/>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8" name="Text Placeholder 6">
            <a:extLst>
              <a:ext uri="{FF2B5EF4-FFF2-40B4-BE49-F238E27FC236}">
                <a16:creationId xmlns:a16="http://schemas.microsoft.com/office/drawing/2014/main" id="{E22CFED2-F786-42B3-9BD7-D64AA1DDC091}"/>
              </a:ext>
            </a:extLst>
          </p:cNvPr>
          <p:cNvSpPr>
            <a:spLocks noGrp="1"/>
          </p:cNvSpPr>
          <p:nvPr>
            <p:ph type="body" sz="quarter" idx="17" hasCustomPrompt="1"/>
          </p:nvPr>
        </p:nvSpPr>
        <p:spPr>
          <a:xfrm>
            <a:off x="457200" y="2498999"/>
            <a:ext cx="3132000" cy="1705139"/>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 Placeholder 6">
            <a:extLst>
              <a:ext uri="{FF2B5EF4-FFF2-40B4-BE49-F238E27FC236}">
                <a16:creationId xmlns:a16="http://schemas.microsoft.com/office/drawing/2014/main" id="{66666AE2-2A5D-4220-B698-BF93D33E317B}"/>
              </a:ext>
            </a:extLst>
          </p:cNvPr>
          <p:cNvSpPr>
            <a:spLocks noGrp="1"/>
          </p:cNvSpPr>
          <p:nvPr>
            <p:ph type="body" sz="quarter" idx="18" hasCustomPrompt="1"/>
          </p:nvPr>
        </p:nvSpPr>
        <p:spPr>
          <a:xfrm>
            <a:off x="4063965" y="2498999"/>
            <a:ext cx="3132000" cy="1705139"/>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6">
            <a:extLst>
              <a:ext uri="{FF2B5EF4-FFF2-40B4-BE49-F238E27FC236}">
                <a16:creationId xmlns:a16="http://schemas.microsoft.com/office/drawing/2014/main" id="{7F79D8D0-8E03-4D54-83A9-34731ECB042F}"/>
              </a:ext>
            </a:extLst>
          </p:cNvPr>
          <p:cNvSpPr>
            <a:spLocks noGrp="1"/>
          </p:cNvSpPr>
          <p:nvPr>
            <p:ph type="body" sz="quarter" idx="19" hasCustomPrompt="1"/>
          </p:nvPr>
        </p:nvSpPr>
        <p:spPr>
          <a:xfrm>
            <a:off x="7670730" y="2498999"/>
            <a:ext cx="3132000" cy="1705139"/>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Rectangle 15">
            <a:extLst>
              <a:ext uri="{FF2B5EF4-FFF2-40B4-BE49-F238E27FC236}">
                <a16:creationId xmlns:a16="http://schemas.microsoft.com/office/drawing/2014/main" id="{F022FA43-3E87-4FEF-93E8-E316AF48C481}"/>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9" name="Freeform: Shape 18">
            <a:extLst>
              <a:ext uri="{FF2B5EF4-FFF2-40B4-BE49-F238E27FC236}">
                <a16:creationId xmlns:a16="http://schemas.microsoft.com/office/drawing/2014/main" id="{122699F3-A2B0-491D-9618-7F1A6C8D6248}"/>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7" name="Freeform: Shape 26">
            <a:extLst>
              <a:ext uri="{FF2B5EF4-FFF2-40B4-BE49-F238E27FC236}">
                <a16:creationId xmlns:a16="http://schemas.microsoft.com/office/drawing/2014/main" id="{839A74A5-0B9E-494D-AA42-59356F87032E}"/>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8" name="Text Placeholder 6">
            <a:extLst>
              <a:ext uri="{FF2B5EF4-FFF2-40B4-BE49-F238E27FC236}">
                <a16:creationId xmlns:a16="http://schemas.microsoft.com/office/drawing/2014/main" id="{EC011085-E9FE-48C5-B2A4-C709027DC8CF}"/>
              </a:ext>
            </a:extLst>
          </p:cNvPr>
          <p:cNvSpPr>
            <a:spLocks noGrp="1"/>
          </p:cNvSpPr>
          <p:nvPr>
            <p:ph type="body" sz="quarter" idx="21" hasCustomPrompt="1"/>
          </p:nvPr>
        </p:nvSpPr>
        <p:spPr>
          <a:xfrm>
            <a:off x="457200" y="4465525"/>
            <a:ext cx="3132000" cy="1705139"/>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6">
            <a:extLst>
              <a:ext uri="{FF2B5EF4-FFF2-40B4-BE49-F238E27FC236}">
                <a16:creationId xmlns:a16="http://schemas.microsoft.com/office/drawing/2014/main" id="{9751CCF1-B3B5-4455-9BE0-0131EF798FF8}"/>
              </a:ext>
            </a:extLst>
          </p:cNvPr>
          <p:cNvSpPr>
            <a:spLocks noGrp="1"/>
          </p:cNvSpPr>
          <p:nvPr>
            <p:ph type="body" sz="quarter" idx="22" hasCustomPrompt="1"/>
          </p:nvPr>
        </p:nvSpPr>
        <p:spPr>
          <a:xfrm>
            <a:off x="4063965" y="4465525"/>
            <a:ext cx="3132000" cy="1705139"/>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1" name="Text Placeholder 6">
            <a:extLst>
              <a:ext uri="{FF2B5EF4-FFF2-40B4-BE49-F238E27FC236}">
                <a16:creationId xmlns:a16="http://schemas.microsoft.com/office/drawing/2014/main" id="{8CD1012B-C24D-4E8C-9372-BDEC48BFF59C}"/>
              </a:ext>
            </a:extLst>
          </p:cNvPr>
          <p:cNvSpPr>
            <a:spLocks noGrp="1"/>
          </p:cNvSpPr>
          <p:nvPr>
            <p:ph type="body" sz="quarter" idx="23" hasCustomPrompt="1"/>
          </p:nvPr>
        </p:nvSpPr>
        <p:spPr>
          <a:xfrm>
            <a:off x="7670730" y="4465525"/>
            <a:ext cx="3132000" cy="1705139"/>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Text Placeholder 2">
            <a:extLst>
              <a:ext uri="{FF2B5EF4-FFF2-40B4-BE49-F238E27FC236}">
                <a16:creationId xmlns:a16="http://schemas.microsoft.com/office/drawing/2014/main" id="{F225A138-8D03-4E68-8998-611A6F18F6F3}"/>
              </a:ext>
            </a:extLst>
          </p:cNvPr>
          <p:cNvSpPr>
            <a:spLocks noGrp="1"/>
          </p:cNvSpPr>
          <p:nvPr>
            <p:ph type="body" sz="quarter" idx="24"/>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Tree>
    <p:extLst>
      <p:ext uri="{BB962C8B-B14F-4D97-AF65-F5344CB8AC3E}">
        <p14:creationId xmlns:p14="http://schemas.microsoft.com/office/powerpoint/2010/main" val="392971552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 Slide with Coral Title Divider - Text and Object Box">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E24698DA-4B02-4E60-99E2-B768DD7EF604}"/>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9" name="Graphic 18">
            <a:extLst>
              <a:ext uri="{FF2B5EF4-FFF2-40B4-BE49-F238E27FC236}">
                <a16:creationId xmlns:a16="http://schemas.microsoft.com/office/drawing/2014/main" id="{84910E85-A840-A34D-ACA6-7D1ECD49672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0" name="Slide Number Placeholder 5">
            <a:extLst>
              <a:ext uri="{FF2B5EF4-FFF2-40B4-BE49-F238E27FC236}">
                <a16:creationId xmlns:a16="http://schemas.microsoft.com/office/drawing/2014/main" id="{BDEB0551-9906-0F4F-853B-AE6B38C0A6DB}"/>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1" name="Footer Placeholder 3">
            <a:extLst>
              <a:ext uri="{FF2B5EF4-FFF2-40B4-BE49-F238E27FC236}">
                <a16:creationId xmlns:a16="http://schemas.microsoft.com/office/drawing/2014/main" id="{739E1F1D-B720-154D-A12B-5FD379006E2C}"/>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2" name="Title 3">
            <a:extLst>
              <a:ext uri="{FF2B5EF4-FFF2-40B4-BE49-F238E27FC236}">
                <a16:creationId xmlns:a16="http://schemas.microsoft.com/office/drawing/2014/main" id="{BBEAF997-6809-4636-8337-1DC306436AF6}"/>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0" name="Text Placeholder 22">
            <a:extLst>
              <a:ext uri="{FF2B5EF4-FFF2-40B4-BE49-F238E27FC236}">
                <a16:creationId xmlns:a16="http://schemas.microsoft.com/office/drawing/2014/main" id="{AE2FC26A-8D8D-4044-8040-65574EFDEA21}"/>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1" name="Text Placeholder 6">
            <a:extLst>
              <a:ext uri="{FF2B5EF4-FFF2-40B4-BE49-F238E27FC236}">
                <a16:creationId xmlns:a16="http://schemas.microsoft.com/office/drawing/2014/main" id="{A18BB443-16DE-476A-906C-306D6FED0A05}"/>
              </a:ext>
            </a:extLst>
          </p:cNvPr>
          <p:cNvSpPr>
            <a:spLocks noGrp="1"/>
          </p:cNvSpPr>
          <p:nvPr>
            <p:ph type="body" sz="quarter" idx="17"/>
          </p:nvPr>
        </p:nvSpPr>
        <p:spPr>
          <a:xfrm>
            <a:off x="457200" y="2498999"/>
            <a:ext cx="4860000" cy="3795487"/>
          </a:xfrm>
          <a:prstGeom prst="rect">
            <a:avLst/>
          </a:prstGeom>
        </p:spPr>
        <p:txBody>
          <a:bodyPr lIns="0">
            <a:noAutofit/>
          </a:bodyPr>
          <a:lstStyle>
            <a:lvl1pPr marL="0" indent="0">
              <a:spcBef>
                <a:spcPts val="0"/>
              </a:spcBef>
              <a:spcAft>
                <a:spcPts val="0"/>
              </a:spcAft>
              <a:buNone/>
              <a:defRPr sz="1600" b="1">
                <a:solidFill>
                  <a:schemeClr val="accent1"/>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reeform: Shape 22">
            <a:extLst>
              <a:ext uri="{FF2B5EF4-FFF2-40B4-BE49-F238E27FC236}">
                <a16:creationId xmlns:a16="http://schemas.microsoft.com/office/drawing/2014/main" id="{B833661B-FDB1-4FD2-AA10-7509875192F6}"/>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4" name="Freeform: Shape 23">
            <a:extLst>
              <a:ext uri="{FF2B5EF4-FFF2-40B4-BE49-F238E27FC236}">
                <a16:creationId xmlns:a16="http://schemas.microsoft.com/office/drawing/2014/main" id="{056BE9C3-9D24-4D01-BA4D-BF75A9D51FE4}"/>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Rectangle 24">
            <a:extLst>
              <a:ext uri="{FF2B5EF4-FFF2-40B4-BE49-F238E27FC236}">
                <a16:creationId xmlns:a16="http://schemas.microsoft.com/office/drawing/2014/main" id="{29C100CA-D516-42FC-BC3F-FAC2BD900CA3}"/>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2" name="Content Placeholder 2">
            <a:extLst>
              <a:ext uri="{FF2B5EF4-FFF2-40B4-BE49-F238E27FC236}">
                <a16:creationId xmlns:a16="http://schemas.microsoft.com/office/drawing/2014/main" id="{6DCDD012-C59E-408C-9BC6-87284E8CBC48}"/>
              </a:ext>
            </a:extLst>
          </p:cNvPr>
          <p:cNvSpPr>
            <a:spLocks noGrp="1"/>
          </p:cNvSpPr>
          <p:nvPr>
            <p:ph sz="quarter" idx="21"/>
          </p:nvPr>
        </p:nvSpPr>
        <p:spPr>
          <a:xfrm>
            <a:off x="6318387" y="2498999"/>
            <a:ext cx="4873625" cy="2972299"/>
          </a:xfrm>
        </p:spPr>
        <p:txBody>
          <a:bodyPr anchor="ctr" anchorCtr="0"/>
          <a:lstStyle>
            <a:lvl1pPr algn="ctr">
              <a:defRPr b="0">
                <a:solidFill>
                  <a:schemeClr val="tx2"/>
                </a:solidFill>
                <a:latin typeface="+mn-lt"/>
              </a:defRPr>
            </a:lvl1pPr>
          </a:lstStyle>
          <a:p>
            <a:pPr lvl="0"/>
            <a:endParaRPr lang="en-GB" dirty="0"/>
          </a:p>
        </p:txBody>
      </p:sp>
      <p:sp>
        <p:nvSpPr>
          <p:cNvPr id="14" name="Text Placeholder 6">
            <a:extLst>
              <a:ext uri="{FF2B5EF4-FFF2-40B4-BE49-F238E27FC236}">
                <a16:creationId xmlns:a16="http://schemas.microsoft.com/office/drawing/2014/main" id="{8CBDA8CD-2DCF-4C62-A004-4DB054192405}"/>
              </a:ext>
            </a:extLst>
          </p:cNvPr>
          <p:cNvSpPr>
            <a:spLocks noGrp="1"/>
          </p:cNvSpPr>
          <p:nvPr>
            <p:ph type="body" sz="quarter" idx="22" hasCustomPrompt="1"/>
          </p:nvPr>
        </p:nvSpPr>
        <p:spPr>
          <a:xfrm>
            <a:off x="6318385" y="5548945"/>
            <a:ext cx="4873625" cy="689214"/>
          </a:xfrm>
          <a:prstGeom prst="rect">
            <a:avLst/>
          </a:prstGeom>
        </p:spPr>
        <p:txBody>
          <a:bodyPr lIns="0">
            <a:noAutofit/>
          </a:bodyPr>
          <a:lstStyle>
            <a:lvl1pPr marL="0" indent="0" algn="ctr">
              <a:spcBef>
                <a:spcPts val="0"/>
              </a:spcBef>
              <a:spcAft>
                <a:spcPts val="0"/>
              </a:spcAft>
              <a:buNone/>
              <a:defRPr sz="1200" b="0">
                <a:solidFill>
                  <a:schemeClr val="tx2"/>
                </a:solidFill>
                <a:latin typeface="+mj-lt"/>
              </a:defRPr>
            </a:lvl1pPr>
            <a:lvl2pPr marL="0" indent="0">
              <a:lnSpc>
                <a:spcPct val="100000"/>
              </a:lnSpc>
              <a:spcBef>
                <a:spcPts val="900"/>
              </a:spcBef>
              <a:buFont typeface="Arial" panose="020B0604020202020204" pitchFamily="34" charset="0"/>
              <a:buNone/>
              <a:defRPr sz="1600" b="0">
                <a:solidFill>
                  <a:schemeClr val="tx2"/>
                </a:solidFill>
              </a:defRPr>
            </a:lvl2pPr>
            <a:lvl3pPr marL="269875" indent="-269875">
              <a:lnSpc>
                <a:spcPct val="100000"/>
              </a:lnSpc>
              <a:spcBef>
                <a:spcPts val="1200"/>
              </a:spcBef>
              <a:spcAft>
                <a:spcPts val="600"/>
              </a:spcAft>
              <a:buClr>
                <a:schemeClr val="accent1"/>
              </a:buClr>
              <a:buFont typeface="Arial" panose="020B0604020202020204" pitchFamily="34" charset="0"/>
              <a:buChar char="■"/>
              <a:defRPr sz="1400">
                <a:solidFill>
                  <a:schemeClr val="tx2"/>
                </a:solidFill>
              </a:defRPr>
            </a:lvl3pPr>
            <a:lvl4pPr marL="503238" indent="-233363">
              <a:lnSpc>
                <a:spcPct val="100000"/>
              </a:lnSpc>
              <a:spcAft>
                <a:spcPts val="600"/>
              </a:spcAft>
              <a:buClr>
                <a:schemeClr val="accent1"/>
              </a:buClr>
              <a:buSzPct val="80000"/>
              <a:buFont typeface="Arial" panose="020B0604020202020204" pitchFamily="34" charset="0"/>
              <a:buChar char="►"/>
              <a:defRPr sz="1200">
                <a:solidFill>
                  <a:schemeClr val="tx2"/>
                </a:solidFill>
              </a:defRPr>
            </a:lvl4pPr>
            <a:lvl5pPr marL="717550" indent="-193675">
              <a:lnSpc>
                <a:spcPct val="100000"/>
              </a:lnSpc>
              <a:spcAft>
                <a:spcPts val="600"/>
              </a:spcAft>
              <a:buClr>
                <a:schemeClr val="accent1"/>
              </a:buClr>
              <a:defRPr lang="en-GB" sz="1050" dirty="0">
                <a:solidFill>
                  <a:schemeClr val="tx2"/>
                </a:solidFill>
              </a:defRPr>
            </a:lvl5pPr>
          </a:lstStyle>
          <a:p>
            <a:pPr lvl="0"/>
            <a:r>
              <a:rPr lang="en-US" dirty="0"/>
              <a:t>Click to insert chart commentary</a:t>
            </a:r>
          </a:p>
        </p:txBody>
      </p:sp>
      <p:sp>
        <p:nvSpPr>
          <p:cNvPr id="17" name="Text Placeholder 2">
            <a:extLst>
              <a:ext uri="{FF2B5EF4-FFF2-40B4-BE49-F238E27FC236}">
                <a16:creationId xmlns:a16="http://schemas.microsoft.com/office/drawing/2014/main" id="{B64264AD-E771-4AD5-B1EE-AD1A80E27307}"/>
              </a:ext>
            </a:extLst>
          </p:cNvPr>
          <p:cNvSpPr>
            <a:spLocks noGrp="1"/>
          </p:cNvSpPr>
          <p:nvPr>
            <p:ph type="body" sz="quarter" idx="24"/>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Tree>
    <p:extLst>
      <p:ext uri="{BB962C8B-B14F-4D97-AF65-F5344CB8AC3E}">
        <p14:creationId xmlns:p14="http://schemas.microsoft.com/office/powerpoint/2010/main" val="268203730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Option 2">
    <p:bg>
      <p:bgPr>
        <a:solidFill>
          <a:schemeClr val="bg1"/>
        </a:solidFill>
        <a:effectLst/>
      </p:bgPr>
    </p:bg>
    <p:spTree>
      <p:nvGrpSpPr>
        <p:cNvPr id="1" name=""/>
        <p:cNvGrpSpPr/>
        <p:nvPr/>
      </p:nvGrpSpPr>
      <p:grpSpPr>
        <a:xfrm>
          <a:off x="0" y="0"/>
          <a:ext cx="0" cy="0"/>
          <a:chOff x="0" y="0"/>
          <a:chExt cx="0" cy="0"/>
        </a:xfrm>
      </p:grpSpPr>
      <p:sp>
        <p:nvSpPr>
          <p:cNvPr id="16" name="Picture Placeholder 10">
            <a:extLst>
              <a:ext uri="{FF2B5EF4-FFF2-40B4-BE49-F238E27FC236}">
                <a16:creationId xmlns:a16="http://schemas.microsoft.com/office/drawing/2014/main" id="{F1A244BB-4228-44A5-8696-0D94B4F1FD24}"/>
              </a:ext>
            </a:extLst>
          </p:cNvPr>
          <p:cNvSpPr>
            <a:spLocks noGrp="1"/>
          </p:cNvSpPr>
          <p:nvPr>
            <p:ph type="pic" sz="quarter" idx="17" hasCustomPrompt="1"/>
          </p:nvPr>
        </p:nvSpPr>
        <p:spPr>
          <a:xfrm>
            <a:off x="-13855" y="-19896"/>
            <a:ext cx="12217165" cy="6891750"/>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1875275 w 8131604"/>
              <a:gd name="connsiteY4" fmla="*/ 0 h 6877896"/>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0 h 6877896"/>
              <a:gd name="connsiteX1" fmla="*/ 8537299 w 8537299"/>
              <a:gd name="connsiteY1" fmla="*/ 4343205 h 6877896"/>
              <a:gd name="connsiteX2" fmla="*/ 8534755 w 8537299"/>
              <a:gd name="connsiteY2" fmla="*/ 6877896 h 6877896"/>
              <a:gd name="connsiteX3" fmla="*/ 405695 w 8537299"/>
              <a:gd name="connsiteY3" fmla="*/ 6877896 h 6877896"/>
              <a:gd name="connsiteX4" fmla="*/ 1332935 w 8537299"/>
              <a:gd name="connsiteY4" fmla="*/ 3441969 h 6877896"/>
              <a:gd name="connsiteX5" fmla="*/ 2280970 w 8537299"/>
              <a:gd name="connsiteY5" fmla="*/ 0 h 6877896"/>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927240 w 8131604"/>
              <a:gd name="connsiteY4" fmla="*/ 3441969 h 6877896"/>
              <a:gd name="connsiteX5" fmla="*/ 1875275 w 8131604"/>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0 w 10044545"/>
              <a:gd name="connsiteY4" fmla="*/ 19896 h 6877896"/>
              <a:gd name="connsiteX5" fmla="*/ 3788216 w 10044545"/>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526473 w 10044545"/>
              <a:gd name="connsiteY4" fmla="*/ 1945678 h 6877896"/>
              <a:gd name="connsiteX5" fmla="*/ 0 w 10044545"/>
              <a:gd name="connsiteY5" fmla="*/ 19896 h 6877896"/>
              <a:gd name="connsiteX6" fmla="*/ 3788216 w 10044545"/>
              <a:gd name="connsiteY6" fmla="*/ 0 h 6877896"/>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2687782 w 12205854"/>
              <a:gd name="connsiteY4" fmla="*/ 1945678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13855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43896 h 6891750"/>
              <a:gd name="connsiteX6" fmla="*/ 2161309 w 12217165"/>
              <a:gd name="connsiteY6" fmla="*/ 19896 h 6891750"/>
              <a:gd name="connsiteX7" fmla="*/ 5949525 w 12217165"/>
              <a:gd name="connsiteY7" fmla="*/ 0 h 6891750"/>
              <a:gd name="connsiteX0" fmla="*/ 5949525 w 12217165"/>
              <a:gd name="connsiteY0" fmla="*/ 96234 h 6987984"/>
              <a:gd name="connsiteX1" fmla="*/ 12205854 w 12217165"/>
              <a:gd name="connsiteY1" fmla="*/ 4439439 h 6987984"/>
              <a:gd name="connsiteX2" fmla="*/ 12217165 w 12217165"/>
              <a:gd name="connsiteY2" fmla="*/ 6987984 h 6987984"/>
              <a:gd name="connsiteX3" fmla="*/ 4074250 w 12217165"/>
              <a:gd name="connsiteY3" fmla="*/ 6974130 h 6987984"/>
              <a:gd name="connsiteX4" fmla="*/ 13855 w 12217165"/>
              <a:gd name="connsiteY4" fmla="*/ 6946421 h 6987984"/>
              <a:gd name="connsiteX5" fmla="*/ 0 w 12217165"/>
              <a:gd name="connsiteY5" fmla="*/ 1612421 h 6987984"/>
              <a:gd name="connsiteX6" fmla="*/ 2161309 w 12217165"/>
              <a:gd name="connsiteY6" fmla="*/ 116130 h 6987984"/>
              <a:gd name="connsiteX7" fmla="*/ 5949525 w 12217165"/>
              <a:gd name="connsiteY7" fmla="*/ 96234 h 6987984"/>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7165" h="6891750">
                <a:moveTo>
                  <a:pt x="5949525" y="0"/>
                </a:moveTo>
                <a:lnTo>
                  <a:pt x="12205854" y="4343205"/>
                </a:lnTo>
                <a:cubicBezTo>
                  <a:pt x="12209624" y="5192720"/>
                  <a:pt x="12213395" y="6042235"/>
                  <a:pt x="12217165" y="6891750"/>
                </a:cubicBezTo>
                <a:lnTo>
                  <a:pt x="4074250" y="6877896"/>
                </a:lnTo>
                <a:lnTo>
                  <a:pt x="13855" y="6850187"/>
                </a:lnTo>
                <a:cubicBezTo>
                  <a:pt x="9237" y="5081423"/>
                  <a:pt x="4618" y="3284951"/>
                  <a:pt x="0" y="1516187"/>
                </a:cubicBezTo>
                <a:lnTo>
                  <a:pt x="2161309" y="19896"/>
                </a:lnTo>
                <a:lnTo>
                  <a:pt x="5949525" y="0"/>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57199" y="4434872"/>
            <a:ext cx="6397626" cy="1218593"/>
          </a:xfrm>
          <a:prstGeom prst="rect">
            <a:avLst/>
          </a:prstGeom>
        </p:spPr>
        <p:txBody>
          <a:bodyPr lIns="0" tIns="0" rIns="0" b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57198" y="2335488"/>
            <a:ext cx="6443999" cy="381000"/>
          </a:xfrm>
          <a:prstGeom prst="rect">
            <a:avLst/>
          </a:prstGeom>
        </p:spPr>
        <p:txBody>
          <a:bodyPr lIns="0" tIns="0" rIns="360000" bIns="0" anchor="t">
            <a:noAutofit/>
          </a:bodyPr>
          <a:lstStyle>
            <a:lvl1pPr marL="0" indent="0">
              <a:buNone/>
              <a:tabLst>
                <a:tab pos="2509838" algn="l"/>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1" name="Footer Placeholder 3">
            <a:extLst>
              <a:ext uri="{FF2B5EF4-FFF2-40B4-BE49-F238E27FC236}">
                <a16:creationId xmlns:a16="http://schemas.microsoft.com/office/drawing/2014/main" id="{A8BFED82-0752-2B4C-9928-7844755DF95B}"/>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2" name="Title 1">
            <a:extLst>
              <a:ext uri="{FF2B5EF4-FFF2-40B4-BE49-F238E27FC236}">
                <a16:creationId xmlns:a16="http://schemas.microsoft.com/office/drawing/2014/main" id="{45C7979F-B5FA-491A-9674-811E416D3A33}"/>
              </a:ext>
            </a:extLst>
          </p:cNvPr>
          <p:cNvSpPr>
            <a:spLocks noGrp="1"/>
          </p:cNvSpPr>
          <p:nvPr>
            <p:ph type="title" hasCustomPrompt="1"/>
          </p:nvPr>
        </p:nvSpPr>
        <p:spPr>
          <a:xfrm>
            <a:off x="460744" y="2999782"/>
            <a:ext cx="6454310" cy="990000"/>
          </a:xfrm>
        </p:spPr>
        <p:txBody>
          <a:bodyPr>
            <a:noAutofit/>
          </a:bodyPr>
          <a:lstStyle>
            <a:lvl1pPr>
              <a:defRPr b="0">
                <a:solidFill>
                  <a:schemeClr val="bg1"/>
                </a:solidFill>
              </a:defRPr>
            </a:lvl1pPr>
          </a:lstStyle>
          <a:p>
            <a:r>
              <a:rPr lang="en-US" dirty="0"/>
              <a:t>Title of the deck</a:t>
            </a:r>
            <a:endParaRPr lang="en-GB" dirty="0"/>
          </a:p>
        </p:txBody>
      </p:sp>
    </p:spTree>
    <p:extLst>
      <p:ext uri="{BB962C8B-B14F-4D97-AF65-F5344CB8AC3E}">
        <p14:creationId xmlns:p14="http://schemas.microsoft.com/office/powerpoint/2010/main" val="35838760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tandard Slide with Coral Title Divider - No Text Box">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9F8F71B2-5038-4A52-B268-EFEFC6FA9625}"/>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able Placeholder 2">
            <a:extLst>
              <a:ext uri="{FF2B5EF4-FFF2-40B4-BE49-F238E27FC236}">
                <a16:creationId xmlns:a16="http://schemas.microsoft.com/office/drawing/2014/main" id="{B0D006F0-61D9-476E-AD83-77162C976486}"/>
              </a:ext>
            </a:extLst>
          </p:cNvPr>
          <p:cNvSpPr>
            <a:spLocks noGrp="1"/>
          </p:cNvSpPr>
          <p:nvPr>
            <p:ph type="tbl" sz="quarter" idx="13"/>
          </p:nvPr>
        </p:nvSpPr>
        <p:spPr>
          <a:xfrm>
            <a:off x="460743" y="2363698"/>
            <a:ext cx="11300453" cy="3455987"/>
          </a:xfrm>
          <a:prstGeom prst="rect">
            <a:avLst/>
          </a:prstGeom>
        </p:spPr>
        <p:txBody>
          <a:bodyPr anchor="ctr">
            <a:noAutofit/>
          </a:bodyPr>
          <a:lstStyle>
            <a:lvl1pPr algn="ctr">
              <a:defRPr>
                <a:solidFill>
                  <a:schemeClr val="tx2"/>
                </a:solidFill>
              </a:defRPr>
            </a:lvl1pPr>
          </a:lstStyle>
          <a:p>
            <a:r>
              <a:rPr lang="en-US" dirty="0"/>
              <a:t>Click icon to add table</a:t>
            </a:r>
            <a:endParaRPr lang="en-IN" dirty="0"/>
          </a:p>
        </p:txBody>
      </p:sp>
      <p:pic>
        <p:nvPicPr>
          <p:cNvPr id="19" name="Graphic 18">
            <a:extLst>
              <a:ext uri="{FF2B5EF4-FFF2-40B4-BE49-F238E27FC236}">
                <a16:creationId xmlns:a16="http://schemas.microsoft.com/office/drawing/2014/main" id="{7F41918F-AEF0-3549-9EA6-E7B6AA50A0F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1" name="Slide Number Placeholder 5">
            <a:extLst>
              <a:ext uri="{FF2B5EF4-FFF2-40B4-BE49-F238E27FC236}">
                <a16:creationId xmlns:a16="http://schemas.microsoft.com/office/drawing/2014/main" id="{5BEEFE40-2FFD-7445-A2AA-C25E6FCEB7E2}"/>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2" name="Footer Placeholder 3">
            <a:extLst>
              <a:ext uri="{FF2B5EF4-FFF2-40B4-BE49-F238E27FC236}">
                <a16:creationId xmlns:a16="http://schemas.microsoft.com/office/drawing/2014/main" id="{4620EA2F-E490-2C47-98D8-93D59AADF348}"/>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3" name="Title 3">
            <a:extLst>
              <a:ext uri="{FF2B5EF4-FFF2-40B4-BE49-F238E27FC236}">
                <a16:creationId xmlns:a16="http://schemas.microsoft.com/office/drawing/2014/main" id="{D6E09562-C092-4EC4-9CB9-870580178754}"/>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24" name="Text Placeholder 22">
            <a:extLst>
              <a:ext uri="{FF2B5EF4-FFF2-40B4-BE49-F238E27FC236}">
                <a16:creationId xmlns:a16="http://schemas.microsoft.com/office/drawing/2014/main" id="{99C27CBC-6D6C-4277-BB7A-F462AFC68F16}"/>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6" name="Text Placeholder 2">
            <a:extLst>
              <a:ext uri="{FF2B5EF4-FFF2-40B4-BE49-F238E27FC236}">
                <a16:creationId xmlns:a16="http://schemas.microsoft.com/office/drawing/2014/main" id="{174723B6-0B34-4771-BC50-18FC48527B99}"/>
              </a:ext>
            </a:extLst>
          </p:cNvPr>
          <p:cNvSpPr>
            <a:spLocks noGrp="1"/>
          </p:cNvSpPr>
          <p:nvPr>
            <p:ph type="body" sz="quarter" idx="14"/>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14" name="Rectangle 13">
            <a:extLst>
              <a:ext uri="{FF2B5EF4-FFF2-40B4-BE49-F238E27FC236}">
                <a16:creationId xmlns:a16="http://schemas.microsoft.com/office/drawing/2014/main" id="{848A1AF2-E8EC-4AF2-BE91-594808F11BAD}"/>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8" name="Freeform: Shape 27">
            <a:extLst>
              <a:ext uri="{FF2B5EF4-FFF2-40B4-BE49-F238E27FC236}">
                <a16:creationId xmlns:a16="http://schemas.microsoft.com/office/drawing/2014/main" id="{6039E2CB-9F37-473F-93FB-D42BBF5BAAA9}"/>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9" name="Freeform: Shape 28">
            <a:extLst>
              <a:ext uri="{FF2B5EF4-FFF2-40B4-BE49-F238E27FC236}">
                <a16:creationId xmlns:a16="http://schemas.microsoft.com/office/drawing/2014/main" id="{7D7842F8-F35D-4368-B212-80696337494A}"/>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177780522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rom To Slide">
    <p:bg>
      <p:bgPr>
        <a:solidFill>
          <a:schemeClr val="bg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2D9ABB7B-8CFC-469E-87BB-9D57F55E131D}"/>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3" name="Text Placeholder 82">
            <a:extLst>
              <a:ext uri="{FF2B5EF4-FFF2-40B4-BE49-F238E27FC236}">
                <a16:creationId xmlns:a16="http://schemas.microsoft.com/office/drawing/2014/main" id="{E369FB11-7907-467F-8696-2250886D6429}"/>
              </a:ext>
            </a:extLst>
          </p:cNvPr>
          <p:cNvSpPr>
            <a:spLocks noGrp="1"/>
          </p:cNvSpPr>
          <p:nvPr>
            <p:ph type="body" sz="quarter" idx="20"/>
          </p:nvPr>
        </p:nvSpPr>
        <p:spPr>
          <a:xfrm>
            <a:off x="5975645" y="2909979"/>
            <a:ext cx="5779496" cy="896347"/>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solidFill>
            <a:schemeClr val="accent2"/>
          </a:solidFill>
        </p:spPr>
        <p:txBody>
          <a:bodyPr vert="horz" wrap="square" lIns="792000" tIns="45720" rIns="288000" bIns="45720" rtlCol="0" anchor="ctr" anchorCtr="0">
            <a:noAutofit/>
          </a:bodyPr>
          <a:lstStyle>
            <a:lvl1pPr marL="0" indent="0">
              <a:buNone/>
              <a:defRPr lang="en-US" sz="1800" dirty="0" smtClean="0">
                <a:solidFill>
                  <a:schemeClr val="bg1"/>
                </a:solidFill>
                <a:latin typeface="+mj-lt"/>
              </a:defRPr>
            </a:lvl1pPr>
          </a:lstStyle>
          <a:p>
            <a:pPr marL="266700" lvl="0" indent="-266700"/>
            <a:endParaRPr lang="en-US" dirty="0"/>
          </a:p>
        </p:txBody>
      </p:sp>
      <p:sp>
        <p:nvSpPr>
          <p:cNvPr id="82" name="Text Placeholder 81">
            <a:extLst>
              <a:ext uri="{FF2B5EF4-FFF2-40B4-BE49-F238E27FC236}">
                <a16:creationId xmlns:a16="http://schemas.microsoft.com/office/drawing/2014/main" id="{3431397E-CA6D-447B-89CE-7141F152235D}"/>
              </a:ext>
            </a:extLst>
          </p:cNvPr>
          <p:cNvSpPr>
            <a:spLocks noGrp="1"/>
          </p:cNvSpPr>
          <p:nvPr>
            <p:ph type="body" sz="quarter" idx="19"/>
          </p:nvPr>
        </p:nvSpPr>
        <p:spPr>
          <a:xfrm>
            <a:off x="442913" y="2909979"/>
            <a:ext cx="6008687" cy="896347"/>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tx2"/>
                </a:solidFill>
                <a:latin typeface="+mj-lt"/>
              </a:defRPr>
            </a:lvl1pPr>
            <a:lvl2pPr marL="266700" indent="0">
              <a:buNone/>
              <a:defRPr/>
            </a:lvl2pPr>
          </a:lstStyle>
          <a:p>
            <a:pPr lvl="0"/>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nvPr>
        </p:nvSpPr>
        <p:spPr>
          <a:xfrm>
            <a:off x="460744" y="1486906"/>
            <a:ext cx="11300452"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4" name="Slide Number Placeholder 5">
            <a:extLst>
              <a:ext uri="{FF2B5EF4-FFF2-40B4-BE49-F238E27FC236}">
                <a16:creationId xmlns:a16="http://schemas.microsoft.com/office/drawing/2014/main" id="{DCB57D75-5F5E-C041-8A1B-7856968E19BD}"/>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5" name="Footer Placeholder 3">
            <a:extLst>
              <a:ext uri="{FF2B5EF4-FFF2-40B4-BE49-F238E27FC236}">
                <a16:creationId xmlns:a16="http://schemas.microsoft.com/office/drawing/2014/main" id="{F912066A-675D-A44C-89A2-612CCDF7B6E9}"/>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b="0"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2" name="Slide Number Placeholder 5">
            <a:extLst>
              <a:ext uri="{FF2B5EF4-FFF2-40B4-BE49-F238E27FC236}">
                <a16:creationId xmlns:a16="http://schemas.microsoft.com/office/drawing/2014/main" id="{185B11D0-B444-4F17-867D-8E310083C2D6}"/>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6" name="Rectangle 35">
            <a:extLst>
              <a:ext uri="{FF2B5EF4-FFF2-40B4-BE49-F238E27FC236}">
                <a16:creationId xmlns:a16="http://schemas.microsoft.com/office/drawing/2014/main" id="{28A0BFCF-F96D-42FD-95BC-E15A6578D4F7}"/>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 name="Text Placeholder 3">
            <a:extLst>
              <a:ext uri="{FF2B5EF4-FFF2-40B4-BE49-F238E27FC236}">
                <a16:creationId xmlns:a16="http://schemas.microsoft.com/office/drawing/2014/main" id="{27481F11-552E-4AC1-B90D-84C47A0F5D6B}"/>
              </a:ext>
            </a:extLst>
          </p:cNvPr>
          <p:cNvSpPr>
            <a:spLocks noGrp="1"/>
          </p:cNvSpPr>
          <p:nvPr>
            <p:ph type="body" sz="quarter" idx="15" hasCustomPrompt="1"/>
          </p:nvPr>
        </p:nvSpPr>
        <p:spPr>
          <a:xfrm>
            <a:off x="442913" y="2343566"/>
            <a:ext cx="5126037" cy="363538"/>
          </a:xfrm>
        </p:spPr>
        <p:txBody>
          <a:bodyPr/>
          <a:lstStyle>
            <a:lvl1pPr marL="0" indent="0" algn="ctr">
              <a:buNone/>
              <a:defRPr sz="1800">
                <a:solidFill>
                  <a:schemeClr val="tx2"/>
                </a:solidFill>
                <a:latin typeface="+mj-lt"/>
              </a:defRPr>
            </a:lvl1pPr>
            <a:lvl2pPr marL="266700" indent="0">
              <a:buNone/>
              <a:defRPr/>
            </a:lvl2pPr>
          </a:lstStyle>
          <a:p>
            <a:pPr lvl="0"/>
            <a:r>
              <a:rPr lang="en-US" dirty="0"/>
              <a:t>From</a:t>
            </a:r>
          </a:p>
        </p:txBody>
      </p:sp>
      <p:sp>
        <p:nvSpPr>
          <p:cNvPr id="75" name="Text Placeholder 3">
            <a:extLst>
              <a:ext uri="{FF2B5EF4-FFF2-40B4-BE49-F238E27FC236}">
                <a16:creationId xmlns:a16="http://schemas.microsoft.com/office/drawing/2014/main" id="{904BCC42-990A-4C9D-B509-29DF24C80270}"/>
              </a:ext>
            </a:extLst>
          </p:cNvPr>
          <p:cNvSpPr>
            <a:spLocks noGrp="1"/>
          </p:cNvSpPr>
          <p:nvPr>
            <p:ph type="body" sz="quarter" idx="17" hasCustomPrompt="1"/>
          </p:nvPr>
        </p:nvSpPr>
        <p:spPr>
          <a:xfrm>
            <a:off x="6451600" y="2343566"/>
            <a:ext cx="5126037" cy="363538"/>
          </a:xfrm>
        </p:spPr>
        <p:txBody>
          <a:bodyPr/>
          <a:lstStyle>
            <a:lvl1pPr marL="0" indent="0" algn="ctr">
              <a:buNone/>
              <a:defRPr sz="1800">
                <a:solidFill>
                  <a:schemeClr val="tx2"/>
                </a:solidFill>
                <a:latin typeface="+mj-lt"/>
              </a:defRPr>
            </a:lvl1pPr>
            <a:lvl2pPr marL="266700" indent="0">
              <a:buNone/>
              <a:defRPr/>
            </a:lvl2pPr>
          </a:lstStyle>
          <a:p>
            <a:pPr lvl="0"/>
            <a:r>
              <a:rPr lang="en-US" dirty="0"/>
              <a:t>To</a:t>
            </a:r>
          </a:p>
        </p:txBody>
      </p:sp>
      <p:sp>
        <p:nvSpPr>
          <p:cNvPr id="87" name="Text Placeholder 86">
            <a:extLst>
              <a:ext uri="{FF2B5EF4-FFF2-40B4-BE49-F238E27FC236}">
                <a16:creationId xmlns:a16="http://schemas.microsoft.com/office/drawing/2014/main" id="{DF459731-1012-4F51-AB8C-A81255FA3843}"/>
              </a:ext>
            </a:extLst>
          </p:cNvPr>
          <p:cNvSpPr>
            <a:spLocks noGrp="1"/>
          </p:cNvSpPr>
          <p:nvPr>
            <p:ph type="body" sz="quarter" idx="22"/>
          </p:nvPr>
        </p:nvSpPr>
        <p:spPr>
          <a:xfrm>
            <a:off x="5969592" y="4007756"/>
            <a:ext cx="5779496" cy="896347"/>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solidFill>
            <a:schemeClr val="accent2"/>
          </a:solidFill>
        </p:spPr>
        <p:txBody>
          <a:bodyPr vert="horz" wrap="square" lIns="792000" tIns="45720" rIns="288000" bIns="45720" rtlCol="0" anchor="ctr" anchorCtr="0">
            <a:noAutofit/>
          </a:bodyPr>
          <a:lstStyle>
            <a:lvl1pPr marL="0" indent="0">
              <a:buNone/>
              <a:defRPr lang="en-US" sz="1800" dirty="0" smtClean="0">
                <a:solidFill>
                  <a:schemeClr val="bg1"/>
                </a:solidFill>
                <a:latin typeface="+mj-lt"/>
              </a:defRPr>
            </a:lvl1pPr>
          </a:lstStyle>
          <a:p>
            <a:pPr marL="266700" lvl="0" indent="-266700"/>
            <a:endParaRPr lang="en-US" dirty="0"/>
          </a:p>
        </p:txBody>
      </p:sp>
      <p:sp>
        <p:nvSpPr>
          <p:cNvPr id="85" name="Text Placeholder 84">
            <a:extLst>
              <a:ext uri="{FF2B5EF4-FFF2-40B4-BE49-F238E27FC236}">
                <a16:creationId xmlns:a16="http://schemas.microsoft.com/office/drawing/2014/main" id="{02522068-1D86-4299-A574-347C2821CAF1}"/>
              </a:ext>
            </a:extLst>
          </p:cNvPr>
          <p:cNvSpPr>
            <a:spLocks noGrp="1"/>
          </p:cNvSpPr>
          <p:nvPr>
            <p:ph type="body" sz="quarter" idx="21"/>
          </p:nvPr>
        </p:nvSpPr>
        <p:spPr>
          <a:xfrm>
            <a:off x="442912" y="4007756"/>
            <a:ext cx="6008687" cy="896347"/>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tx2"/>
                </a:solidFill>
                <a:latin typeface="+mj-lt"/>
              </a:defRPr>
            </a:lvl1pPr>
            <a:lvl2pPr marL="266700" indent="0">
              <a:buNone/>
              <a:defRPr/>
            </a:lvl2pPr>
          </a:lstStyle>
          <a:p>
            <a:pPr lvl="0"/>
            <a:endParaRPr lang="en-US" dirty="0"/>
          </a:p>
        </p:txBody>
      </p:sp>
      <p:sp>
        <p:nvSpPr>
          <p:cNvPr id="89" name="Text Placeholder 88">
            <a:extLst>
              <a:ext uri="{FF2B5EF4-FFF2-40B4-BE49-F238E27FC236}">
                <a16:creationId xmlns:a16="http://schemas.microsoft.com/office/drawing/2014/main" id="{22D0734C-534D-4AAB-B46F-E3DC9C987D32}"/>
              </a:ext>
            </a:extLst>
          </p:cNvPr>
          <p:cNvSpPr>
            <a:spLocks noGrp="1"/>
          </p:cNvSpPr>
          <p:nvPr>
            <p:ph type="body" sz="quarter" idx="24"/>
          </p:nvPr>
        </p:nvSpPr>
        <p:spPr>
          <a:xfrm>
            <a:off x="5981700" y="5116370"/>
            <a:ext cx="5779496" cy="896347"/>
          </a:xfrm>
          <a:custGeom>
            <a:avLst/>
            <a:gdLst>
              <a:gd name="connsiteX0" fmla="*/ 0 w 6008687"/>
              <a:gd name="connsiteY0" fmla="*/ 0 h 978906"/>
              <a:gd name="connsiteX1" fmla="*/ 6008687 w 6008687"/>
              <a:gd name="connsiteY1" fmla="*/ 0 h 978906"/>
              <a:gd name="connsiteX2" fmla="*/ 6008687 w 6008687"/>
              <a:gd name="connsiteY2" fmla="*/ 489453 h 978906"/>
              <a:gd name="connsiteX3" fmla="*/ 6008687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6008687" y="0"/>
                </a:lnTo>
                <a:lnTo>
                  <a:pt x="6008687" y="489453"/>
                </a:lnTo>
                <a:lnTo>
                  <a:pt x="6008687" y="978906"/>
                </a:lnTo>
                <a:lnTo>
                  <a:pt x="0" y="978906"/>
                </a:lnTo>
                <a:close/>
              </a:path>
            </a:pathLst>
          </a:custGeom>
          <a:solidFill>
            <a:schemeClr val="accent2"/>
          </a:solidFill>
        </p:spPr>
        <p:txBody>
          <a:bodyPr vert="horz" wrap="square" lIns="792000" tIns="45720" rIns="288000" bIns="45720" rtlCol="0" anchor="ctr" anchorCtr="0">
            <a:noAutofit/>
          </a:bodyPr>
          <a:lstStyle>
            <a:lvl1pPr marL="0" indent="0">
              <a:buNone/>
              <a:defRPr lang="en-US" sz="1800" dirty="0" smtClean="0">
                <a:solidFill>
                  <a:schemeClr val="bg1"/>
                </a:solidFill>
                <a:latin typeface="+mj-lt"/>
              </a:defRPr>
            </a:lvl1pPr>
          </a:lstStyle>
          <a:p>
            <a:pPr marL="266700" lvl="0" indent="-266700"/>
            <a:endParaRPr lang="en-US" dirty="0"/>
          </a:p>
        </p:txBody>
      </p:sp>
      <p:sp>
        <p:nvSpPr>
          <p:cNvPr id="88" name="Text Placeholder 87">
            <a:extLst>
              <a:ext uri="{FF2B5EF4-FFF2-40B4-BE49-F238E27FC236}">
                <a16:creationId xmlns:a16="http://schemas.microsoft.com/office/drawing/2014/main" id="{E3E31F3B-3F47-424E-9E3A-E3D439B3A60D}"/>
              </a:ext>
            </a:extLst>
          </p:cNvPr>
          <p:cNvSpPr>
            <a:spLocks noGrp="1"/>
          </p:cNvSpPr>
          <p:nvPr>
            <p:ph type="body" sz="quarter" idx="23"/>
          </p:nvPr>
        </p:nvSpPr>
        <p:spPr>
          <a:xfrm>
            <a:off x="457196" y="5116370"/>
            <a:ext cx="6008687" cy="896347"/>
          </a:xfrm>
          <a:custGeom>
            <a:avLst/>
            <a:gdLst>
              <a:gd name="connsiteX0" fmla="*/ 0 w 6008687"/>
              <a:gd name="connsiteY0" fmla="*/ 0 h 978906"/>
              <a:gd name="connsiteX1" fmla="*/ 5519234 w 6008687"/>
              <a:gd name="connsiteY1" fmla="*/ 0 h 978906"/>
              <a:gd name="connsiteX2" fmla="*/ 6008687 w 6008687"/>
              <a:gd name="connsiteY2" fmla="*/ 489453 h 978906"/>
              <a:gd name="connsiteX3" fmla="*/ 5519234 w 6008687"/>
              <a:gd name="connsiteY3" fmla="*/ 978906 h 978906"/>
              <a:gd name="connsiteX4" fmla="*/ 0 w 6008687"/>
              <a:gd name="connsiteY4" fmla="*/ 978906 h 97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8687" h="978906">
                <a:moveTo>
                  <a:pt x="0" y="0"/>
                </a:moveTo>
                <a:lnTo>
                  <a:pt x="5519234" y="0"/>
                </a:lnTo>
                <a:lnTo>
                  <a:pt x="6008687" y="489453"/>
                </a:lnTo>
                <a:lnTo>
                  <a:pt x="5519234" y="978906"/>
                </a:lnTo>
                <a:lnTo>
                  <a:pt x="0" y="978906"/>
                </a:lnTo>
                <a:close/>
              </a:path>
            </a:pathLst>
          </a:custGeom>
          <a:gradFill flip="none" rotWithShape="1">
            <a:gsLst>
              <a:gs pos="0">
                <a:schemeClr val="accent1">
                  <a:alpha val="0"/>
                </a:schemeClr>
              </a:gs>
              <a:gs pos="65000">
                <a:schemeClr val="accent1"/>
              </a:gs>
            </a:gsLst>
            <a:lin ang="0" scaled="1"/>
            <a:tileRect/>
          </a:gradFill>
        </p:spPr>
        <p:txBody>
          <a:bodyPr wrap="square" lIns="288000" rIns="288000" anchor="ctr" anchorCtr="0">
            <a:noAutofit/>
          </a:bodyPr>
          <a:lstStyle>
            <a:lvl1pPr marL="0" indent="0">
              <a:buNone/>
              <a:defRPr sz="1800">
                <a:solidFill>
                  <a:schemeClr val="tx2"/>
                </a:solidFill>
                <a:latin typeface="+mj-lt"/>
              </a:defRPr>
            </a:lvl1pPr>
            <a:lvl2pPr marL="266700" indent="0">
              <a:buNone/>
              <a:defRPr/>
            </a:lvl2pPr>
          </a:lstStyle>
          <a:p>
            <a:pPr lvl="0"/>
            <a:endParaRPr lang="en-US" dirty="0"/>
          </a:p>
        </p:txBody>
      </p:sp>
      <p:sp>
        <p:nvSpPr>
          <p:cNvPr id="25" name="Text Placeholder 2">
            <a:extLst>
              <a:ext uri="{FF2B5EF4-FFF2-40B4-BE49-F238E27FC236}">
                <a16:creationId xmlns:a16="http://schemas.microsoft.com/office/drawing/2014/main" id="{8D7F8775-4EFF-497B-A127-D347C4E65B28}"/>
              </a:ext>
            </a:extLst>
          </p:cNvPr>
          <p:cNvSpPr>
            <a:spLocks noGrp="1"/>
          </p:cNvSpPr>
          <p:nvPr>
            <p:ph type="body" sz="quarter" idx="25"/>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28" name="Freeform: Shape 27">
            <a:extLst>
              <a:ext uri="{FF2B5EF4-FFF2-40B4-BE49-F238E27FC236}">
                <a16:creationId xmlns:a16="http://schemas.microsoft.com/office/drawing/2014/main" id="{919C3E27-EA49-4C1F-88F7-145D73459B6F}"/>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0" name="Freeform: Shape 29">
            <a:extLst>
              <a:ext uri="{FF2B5EF4-FFF2-40B4-BE49-F238E27FC236}">
                <a16:creationId xmlns:a16="http://schemas.microsoft.com/office/drawing/2014/main" id="{5950CD98-A671-4A84-BAA9-FF4FA6646D38}"/>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293884503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Number List 3">
    <p:bg>
      <p:bgPr>
        <a:solidFill>
          <a:schemeClr val="bg1"/>
        </a:solidFill>
        <a:effectLst/>
      </p:bgPr>
    </p:bg>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0117C252-9AE2-459C-9692-4C928EFCD04E}"/>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3927805"/>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3927805"/>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076208"/>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076208"/>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482"/>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nvPr>
        </p:nvSpPr>
        <p:spPr>
          <a:xfrm>
            <a:off x="460744" y="1486906"/>
            <a:ext cx="11300452"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4" name="Slide Number Placeholder 5">
            <a:extLst>
              <a:ext uri="{FF2B5EF4-FFF2-40B4-BE49-F238E27FC236}">
                <a16:creationId xmlns:a16="http://schemas.microsoft.com/office/drawing/2014/main" id="{DCB57D75-5F5E-C041-8A1B-7856968E19BD}"/>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5" name="Footer Placeholder 3">
            <a:extLst>
              <a:ext uri="{FF2B5EF4-FFF2-40B4-BE49-F238E27FC236}">
                <a16:creationId xmlns:a16="http://schemas.microsoft.com/office/drawing/2014/main" id="{F912066A-675D-A44C-89A2-612CCDF7B6E9}"/>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b="0"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2" name="Slide Number Placeholder 5">
            <a:extLst>
              <a:ext uri="{FF2B5EF4-FFF2-40B4-BE49-F238E27FC236}">
                <a16:creationId xmlns:a16="http://schemas.microsoft.com/office/drawing/2014/main" id="{185B11D0-B444-4F17-867D-8E310083C2D6}"/>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6" name="Rectangle 35">
            <a:extLst>
              <a:ext uri="{FF2B5EF4-FFF2-40B4-BE49-F238E27FC236}">
                <a16:creationId xmlns:a16="http://schemas.microsoft.com/office/drawing/2014/main" id="{28A0BFCF-F96D-42FD-95BC-E15A6578D4F7}"/>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283354"/>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482"/>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wrap="square" lIns="936000" anchor="ctr" anchorCtr="0">
            <a:noAutofit/>
          </a:bodyPr>
          <a:lstStyle>
            <a:lvl1pPr marL="0" indent="0">
              <a:buNone/>
              <a:defRPr sz="1400" b="0">
                <a:solidFill>
                  <a:schemeClr val="tx2"/>
                </a:solidFill>
                <a:latin typeface="+mj-lt"/>
              </a:defRPr>
            </a:lvl1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134951"/>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3986548"/>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3</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27" name="Freeform: Shape 26">
            <a:extLst>
              <a:ext uri="{FF2B5EF4-FFF2-40B4-BE49-F238E27FC236}">
                <a16:creationId xmlns:a16="http://schemas.microsoft.com/office/drawing/2014/main" id="{20DE3D9A-5745-456B-8E35-49AEDDA27D34}"/>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8" name="Freeform: Shape 27">
            <a:extLst>
              <a:ext uri="{FF2B5EF4-FFF2-40B4-BE49-F238E27FC236}">
                <a16:creationId xmlns:a16="http://schemas.microsoft.com/office/drawing/2014/main" id="{ACB7353E-1508-4EB2-B032-CFE0208BB6BA}"/>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144310371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Number List 4">
    <p:bg>
      <p:bgPr>
        <a:solidFill>
          <a:schemeClr val="bg1"/>
        </a:solidFill>
        <a:effectLst/>
      </p:bgPr>
    </p:bg>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D25F7AE7-6644-470A-90CF-47B6F9F313F5}"/>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7" name="Text Placeholder 96">
            <a:extLst>
              <a:ext uri="{FF2B5EF4-FFF2-40B4-BE49-F238E27FC236}">
                <a16:creationId xmlns:a16="http://schemas.microsoft.com/office/drawing/2014/main" id="{53DE74C9-5BE2-4781-868E-3C8C617C7341}"/>
              </a:ext>
            </a:extLst>
          </p:cNvPr>
          <p:cNvSpPr>
            <a:spLocks noGrp="1"/>
          </p:cNvSpPr>
          <p:nvPr>
            <p:ph type="body" sz="quarter" idx="23" hasCustomPrompt="1"/>
          </p:nvPr>
        </p:nvSpPr>
        <p:spPr>
          <a:xfrm>
            <a:off x="436861" y="4779402"/>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6"/>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8" name="Text Placeholder 97">
            <a:extLst>
              <a:ext uri="{FF2B5EF4-FFF2-40B4-BE49-F238E27FC236}">
                <a16:creationId xmlns:a16="http://schemas.microsoft.com/office/drawing/2014/main" id="{25D64D6E-71F8-4B7E-903B-6FCF3E94297A}"/>
              </a:ext>
            </a:extLst>
          </p:cNvPr>
          <p:cNvSpPr>
            <a:spLocks noGrp="1"/>
          </p:cNvSpPr>
          <p:nvPr>
            <p:ph type="body" sz="quarter" idx="24" hasCustomPrompt="1"/>
          </p:nvPr>
        </p:nvSpPr>
        <p:spPr>
          <a:xfrm>
            <a:off x="3891363" y="4779402"/>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3927805"/>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3927805"/>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076208"/>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076208"/>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482"/>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nvPr>
        </p:nvSpPr>
        <p:spPr>
          <a:xfrm>
            <a:off x="460744" y="1486906"/>
            <a:ext cx="11300452"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4" name="Slide Number Placeholder 5">
            <a:extLst>
              <a:ext uri="{FF2B5EF4-FFF2-40B4-BE49-F238E27FC236}">
                <a16:creationId xmlns:a16="http://schemas.microsoft.com/office/drawing/2014/main" id="{DCB57D75-5F5E-C041-8A1B-7856968E19BD}"/>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5" name="Footer Placeholder 3">
            <a:extLst>
              <a:ext uri="{FF2B5EF4-FFF2-40B4-BE49-F238E27FC236}">
                <a16:creationId xmlns:a16="http://schemas.microsoft.com/office/drawing/2014/main" id="{F912066A-675D-A44C-89A2-612CCDF7B6E9}"/>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b="0"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2" name="Slide Number Placeholder 5">
            <a:extLst>
              <a:ext uri="{FF2B5EF4-FFF2-40B4-BE49-F238E27FC236}">
                <a16:creationId xmlns:a16="http://schemas.microsoft.com/office/drawing/2014/main" id="{185B11D0-B444-4F17-867D-8E310083C2D6}"/>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6" name="Rectangle 35">
            <a:extLst>
              <a:ext uri="{FF2B5EF4-FFF2-40B4-BE49-F238E27FC236}">
                <a16:creationId xmlns:a16="http://schemas.microsoft.com/office/drawing/2014/main" id="{28A0BFCF-F96D-42FD-95BC-E15A6578D4F7}"/>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283354"/>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482"/>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wrap="square" lIns="936000" anchor="ctr" anchorCtr="0">
            <a:noAutofit/>
          </a:bodyPr>
          <a:lstStyle>
            <a:lvl1pPr marL="0" indent="0">
              <a:buNone/>
              <a:defRPr sz="1400" b="0">
                <a:solidFill>
                  <a:schemeClr val="tx2"/>
                </a:solidFill>
                <a:latin typeface="+mj-lt"/>
              </a:defRPr>
            </a:lvl1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134951"/>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3986548"/>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3</a:t>
            </a:r>
          </a:p>
        </p:txBody>
      </p:sp>
      <p:sp>
        <p:nvSpPr>
          <p:cNvPr id="96" name="Text Placeholder 6">
            <a:extLst>
              <a:ext uri="{FF2B5EF4-FFF2-40B4-BE49-F238E27FC236}">
                <a16:creationId xmlns:a16="http://schemas.microsoft.com/office/drawing/2014/main" id="{2612354C-D3A8-4F0B-A62B-2D17249DFDBA}"/>
              </a:ext>
            </a:extLst>
          </p:cNvPr>
          <p:cNvSpPr>
            <a:spLocks noGrp="1"/>
          </p:cNvSpPr>
          <p:nvPr>
            <p:ph type="body" sz="quarter" idx="22" hasCustomPrompt="1"/>
          </p:nvPr>
        </p:nvSpPr>
        <p:spPr>
          <a:xfrm>
            <a:off x="496415" y="4838145"/>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4</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30" name="Freeform: Shape 29">
            <a:extLst>
              <a:ext uri="{FF2B5EF4-FFF2-40B4-BE49-F238E27FC236}">
                <a16:creationId xmlns:a16="http://schemas.microsoft.com/office/drawing/2014/main" id="{3E471F1E-DBD6-42B4-BC7F-68658494AEC6}"/>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5" name="Freeform: Shape 34">
            <a:extLst>
              <a:ext uri="{FF2B5EF4-FFF2-40B4-BE49-F238E27FC236}">
                <a16:creationId xmlns:a16="http://schemas.microsoft.com/office/drawing/2014/main" id="{C2B1C5B1-DD5C-46BD-9171-3F3551A3196C}"/>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135199950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Number List 5">
    <p:bg>
      <p:bgPr>
        <a:solidFill>
          <a:schemeClr val="bg1"/>
        </a:solidFill>
        <a:effectLst/>
      </p:bgPr>
    </p:bg>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C73C2D05-90CD-4A84-9996-5A713D7C0452}"/>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7" name="Text Placeholder 96">
            <a:extLst>
              <a:ext uri="{FF2B5EF4-FFF2-40B4-BE49-F238E27FC236}">
                <a16:creationId xmlns:a16="http://schemas.microsoft.com/office/drawing/2014/main" id="{53DE74C9-5BE2-4781-868E-3C8C617C7341}"/>
              </a:ext>
            </a:extLst>
          </p:cNvPr>
          <p:cNvSpPr>
            <a:spLocks noGrp="1"/>
          </p:cNvSpPr>
          <p:nvPr>
            <p:ph type="body" sz="quarter" idx="23" hasCustomPrompt="1"/>
          </p:nvPr>
        </p:nvSpPr>
        <p:spPr>
          <a:xfrm>
            <a:off x="436861" y="4779402"/>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6"/>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8" name="Text Placeholder 97">
            <a:extLst>
              <a:ext uri="{FF2B5EF4-FFF2-40B4-BE49-F238E27FC236}">
                <a16:creationId xmlns:a16="http://schemas.microsoft.com/office/drawing/2014/main" id="{25D64D6E-71F8-4B7E-903B-6FCF3E94297A}"/>
              </a:ext>
            </a:extLst>
          </p:cNvPr>
          <p:cNvSpPr>
            <a:spLocks noGrp="1"/>
          </p:cNvSpPr>
          <p:nvPr>
            <p:ph type="body" sz="quarter" idx="24" hasCustomPrompt="1"/>
          </p:nvPr>
        </p:nvSpPr>
        <p:spPr>
          <a:xfrm>
            <a:off x="3891363" y="4779402"/>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3" name="Text Placeholder 92">
            <a:extLst>
              <a:ext uri="{FF2B5EF4-FFF2-40B4-BE49-F238E27FC236}">
                <a16:creationId xmlns:a16="http://schemas.microsoft.com/office/drawing/2014/main" id="{F4593608-4C2B-4E16-9A18-8ED3107178C5}"/>
              </a:ext>
            </a:extLst>
          </p:cNvPr>
          <p:cNvSpPr>
            <a:spLocks noGrp="1"/>
          </p:cNvSpPr>
          <p:nvPr>
            <p:ph type="body" sz="quarter" idx="20" hasCustomPrompt="1"/>
          </p:nvPr>
        </p:nvSpPr>
        <p:spPr>
          <a:xfrm>
            <a:off x="439888" y="3927805"/>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2"/>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4" name="Text Placeholder 93">
            <a:extLst>
              <a:ext uri="{FF2B5EF4-FFF2-40B4-BE49-F238E27FC236}">
                <a16:creationId xmlns:a16="http://schemas.microsoft.com/office/drawing/2014/main" id="{08E8F908-BDF4-4339-A814-E14D772FACDA}"/>
              </a:ext>
            </a:extLst>
          </p:cNvPr>
          <p:cNvSpPr>
            <a:spLocks noGrp="1"/>
          </p:cNvSpPr>
          <p:nvPr>
            <p:ph type="body" sz="quarter" idx="21" hasCustomPrompt="1"/>
          </p:nvPr>
        </p:nvSpPr>
        <p:spPr>
          <a:xfrm>
            <a:off x="3891363" y="3927805"/>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0" name="Text Placeholder 89">
            <a:extLst>
              <a:ext uri="{FF2B5EF4-FFF2-40B4-BE49-F238E27FC236}">
                <a16:creationId xmlns:a16="http://schemas.microsoft.com/office/drawing/2014/main" id="{20368A86-6E81-491C-BFBF-5C275DEBF038}"/>
              </a:ext>
            </a:extLst>
          </p:cNvPr>
          <p:cNvSpPr>
            <a:spLocks noGrp="1"/>
          </p:cNvSpPr>
          <p:nvPr>
            <p:ph type="body" sz="quarter" idx="17" hasCustomPrompt="1"/>
          </p:nvPr>
        </p:nvSpPr>
        <p:spPr>
          <a:xfrm>
            <a:off x="430807" y="3076208"/>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1"/>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91" name="Text Placeholder 90">
            <a:extLst>
              <a:ext uri="{FF2B5EF4-FFF2-40B4-BE49-F238E27FC236}">
                <a16:creationId xmlns:a16="http://schemas.microsoft.com/office/drawing/2014/main" id="{BECE3F49-908D-458F-81F6-7DDD8C953D04}"/>
              </a:ext>
            </a:extLst>
          </p:cNvPr>
          <p:cNvSpPr>
            <a:spLocks noGrp="1"/>
          </p:cNvSpPr>
          <p:nvPr>
            <p:ph type="body" sz="quarter" idx="18" hasCustomPrompt="1"/>
          </p:nvPr>
        </p:nvSpPr>
        <p:spPr>
          <a:xfrm>
            <a:off x="3891363" y="3076208"/>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79" name="Text Placeholder 78">
            <a:extLst>
              <a:ext uri="{FF2B5EF4-FFF2-40B4-BE49-F238E27FC236}">
                <a16:creationId xmlns:a16="http://schemas.microsoft.com/office/drawing/2014/main" id="{6698C8E7-ED6D-4D45-AE7B-9892EF4D20EB}"/>
              </a:ext>
            </a:extLst>
          </p:cNvPr>
          <p:cNvSpPr>
            <a:spLocks noGrp="1"/>
          </p:cNvSpPr>
          <p:nvPr>
            <p:ph type="body" sz="quarter" idx="14" hasCustomPrompt="1"/>
          </p:nvPr>
        </p:nvSpPr>
        <p:spPr>
          <a:xfrm>
            <a:off x="442915" y="2224482"/>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3"/>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23" name="Text Placeholder 22">
            <a:extLst>
              <a:ext uri="{FF2B5EF4-FFF2-40B4-BE49-F238E27FC236}">
                <a16:creationId xmlns:a16="http://schemas.microsoft.com/office/drawing/2014/main" id="{CEA69D30-915D-5248-AAAA-DE2EB53DDA45}"/>
              </a:ext>
            </a:extLst>
          </p:cNvPr>
          <p:cNvSpPr>
            <a:spLocks noGrp="1"/>
          </p:cNvSpPr>
          <p:nvPr>
            <p:ph type="body" sz="quarter" idx="12" hasCustomPrompt="1"/>
          </p:nvPr>
        </p:nvSpPr>
        <p:spPr>
          <a:xfrm>
            <a:off x="460744" y="1486906"/>
            <a:ext cx="11300452"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29" name="Graphic 28">
            <a:extLst>
              <a:ext uri="{FF2B5EF4-FFF2-40B4-BE49-F238E27FC236}">
                <a16:creationId xmlns:a16="http://schemas.microsoft.com/office/drawing/2014/main" id="{99EF38A9-A58B-0841-8A42-7AECC0BA473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4" name="Slide Number Placeholder 5">
            <a:extLst>
              <a:ext uri="{FF2B5EF4-FFF2-40B4-BE49-F238E27FC236}">
                <a16:creationId xmlns:a16="http://schemas.microsoft.com/office/drawing/2014/main" id="{DCB57D75-5F5E-C041-8A1B-7856968E19BD}"/>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5" name="Footer Placeholder 3">
            <a:extLst>
              <a:ext uri="{FF2B5EF4-FFF2-40B4-BE49-F238E27FC236}">
                <a16:creationId xmlns:a16="http://schemas.microsoft.com/office/drawing/2014/main" id="{F912066A-675D-A44C-89A2-612CCDF7B6E9}"/>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2" name="Title 3">
            <a:extLst>
              <a:ext uri="{FF2B5EF4-FFF2-40B4-BE49-F238E27FC236}">
                <a16:creationId xmlns:a16="http://schemas.microsoft.com/office/drawing/2014/main" id="{E57E5345-E452-489A-8185-02EF050D6493}"/>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b="0"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2" name="Slide Number Placeholder 5">
            <a:extLst>
              <a:ext uri="{FF2B5EF4-FFF2-40B4-BE49-F238E27FC236}">
                <a16:creationId xmlns:a16="http://schemas.microsoft.com/office/drawing/2014/main" id="{185B11D0-B444-4F17-867D-8E310083C2D6}"/>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6" name="Rectangle 35">
            <a:extLst>
              <a:ext uri="{FF2B5EF4-FFF2-40B4-BE49-F238E27FC236}">
                <a16:creationId xmlns:a16="http://schemas.microsoft.com/office/drawing/2014/main" id="{28A0BFCF-F96D-42FD-95BC-E15A6578D4F7}"/>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7" name="Text Placeholder 6">
            <a:extLst>
              <a:ext uri="{FF2B5EF4-FFF2-40B4-BE49-F238E27FC236}">
                <a16:creationId xmlns:a16="http://schemas.microsoft.com/office/drawing/2014/main" id="{1F2B1F00-E356-43EE-9586-361C083A197F}"/>
              </a:ext>
            </a:extLst>
          </p:cNvPr>
          <p:cNvSpPr>
            <a:spLocks noGrp="1"/>
          </p:cNvSpPr>
          <p:nvPr>
            <p:ph type="body" sz="quarter" idx="13" hasCustomPrompt="1"/>
          </p:nvPr>
        </p:nvSpPr>
        <p:spPr>
          <a:xfrm>
            <a:off x="496415" y="2283354"/>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1</a:t>
            </a:r>
          </a:p>
        </p:txBody>
      </p:sp>
      <p:sp>
        <p:nvSpPr>
          <p:cNvPr id="84" name="Text Placeholder 83">
            <a:extLst>
              <a:ext uri="{FF2B5EF4-FFF2-40B4-BE49-F238E27FC236}">
                <a16:creationId xmlns:a16="http://schemas.microsoft.com/office/drawing/2014/main" id="{6AF2132A-3834-40CD-8D2D-64F97FD66E9E}"/>
              </a:ext>
            </a:extLst>
          </p:cNvPr>
          <p:cNvSpPr>
            <a:spLocks noGrp="1"/>
          </p:cNvSpPr>
          <p:nvPr>
            <p:ph type="body" sz="quarter" idx="15" hasCustomPrompt="1"/>
          </p:nvPr>
        </p:nvSpPr>
        <p:spPr>
          <a:xfrm>
            <a:off x="3891363" y="2224482"/>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wrap="square" lIns="936000" anchor="ctr" anchorCtr="0">
            <a:noAutofit/>
          </a:bodyPr>
          <a:lstStyle>
            <a:lvl1pPr marL="0" indent="0">
              <a:buNone/>
              <a:defRPr sz="1400" b="0">
                <a:solidFill>
                  <a:schemeClr val="tx2"/>
                </a:solidFill>
                <a:latin typeface="+mj-lt"/>
              </a:defRPr>
            </a:lvl1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86" name="Text Placeholder 6">
            <a:extLst>
              <a:ext uri="{FF2B5EF4-FFF2-40B4-BE49-F238E27FC236}">
                <a16:creationId xmlns:a16="http://schemas.microsoft.com/office/drawing/2014/main" id="{E1BCCBD5-9278-4EC4-A369-A1894C7206C6}"/>
              </a:ext>
            </a:extLst>
          </p:cNvPr>
          <p:cNvSpPr>
            <a:spLocks noGrp="1"/>
          </p:cNvSpPr>
          <p:nvPr>
            <p:ph type="body" sz="quarter" idx="16" hasCustomPrompt="1"/>
          </p:nvPr>
        </p:nvSpPr>
        <p:spPr>
          <a:xfrm>
            <a:off x="484307" y="3134951"/>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2</a:t>
            </a:r>
          </a:p>
        </p:txBody>
      </p:sp>
      <p:sp>
        <p:nvSpPr>
          <p:cNvPr id="92" name="Text Placeholder 6">
            <a:extLst>
              <a:ext uri="{FF2B5EF4-FFF2-40B4-BE49-F238E27FC236}">
                <a16:creationId xmlns:a16="http://schemas.microsoft.com/office/drawing/2014/main" id="{A01ACD5E-F42A-40E5-8B7C-00A5C575E5F3}"/>
              </a:ext>
            </a:extLst>
          </p:cNvPr>
          <p:cNvSpPr>
            <a:spLocks noGrp="1"/>
          </p:cNvSpPr>
          <p:nvPr>
            <p:ph type="body" sz="quarter" idx="19" hasCustomPrompt="1"/>
          </p:nvPr>
        </p:nvSpPr>
        <p:spPr>
          <a:xfrm>
            <a:off x="496415" y="3986548"/>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3</a:t>
            </a:r>
          </a:p>
        </p:txBody>
      </p:sp>
      <p:sp>
        <p:nvSpPr>
          <p:cNvPr id="96" name="Text Placeholder 6">
            <a:extLst>
              <a:ext uri="{FF2B5EF4-FFF2-40B4-BE49-F238E27FC236}">
                <a16:creationId xmlns:a16="http://schemas.microsoft.com/office/drawing/2014/main" id="{2612354C-D3A8-4F0B-A62B-2D17249DFDBA}"/>
              </a:ext>
            </a:extLst>
          </p:cNvPr>
          <p:cNvSpPr>
            <a:spLocks noGrp="1"/>
          </p:cNvSpPr>
          <p:nvPr>
            <p:ph type="body" sz="quarter" idx="22" hasCustomPrompt="1"/>
          </p:nvPr>
        </p:nvSpPr>
        <p:spPr>
          <a:xfrm>
            <a:off x="496415" y="4838145"/>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4</a:t>
            </a:r>
          </a:p>
        </p:txBody>
      </p:sp>
      <p:sp>
        <p:nvSpPr>
          <p:cNvPr id="100" name="Text Placeholder 99">
            <a:extLst>
              <a:ext uri="{FF2B5EF4-FFF2-40B4-BE49-F238E27FC236}">
                <a16:creationId xmlns:a16="http://schemas.microsoft.com/office/drawing/2014/main" id="{F26204A4-94F4-4D0B-A32D-54BA8095E0EA}"/>
              </a:ext>
            </a:extLst>
          </p:cNvPr>
          <p:cNvSpPr>
            <a:spLocks noGrp="1"/>
          </p:cNvSpPr>
          <p:nvPr>
            <p:ph type="body" sz="quarter" idx="26" hasCustomPrompt="1"/>
          </p:nvPr>
        </p:nvSpPr>
        <p:spPr>
          <a:xfrm>
            <a:off x="433834" y="5631000"/>
            <a:ext cx="4058747" cy="673097"/>
          </a:xfrm>
          <a:custGeom>
            <a:avLst/>
            <a:gdLst>
              <a:gd name="connsiteX0" fmla="*/ 0 w 4058747"/>
              <a:gd name="connsiteY0" fmla="*/ 0 h 673097"/>
              <a:gd name="connsiteX1" fmla="*/ 4058747 w 4058747"/>
              <a:gd name="connsiteY1" fmla="*/ 0 h 673097"/>
              <a:gd name="connsiteX2" fmla="*/ 3728276 w 4058747"/>
              <a:gd name="connsiteY2" fmla="*/ 673097 h 673097"/>
              <a:gd name="connsiteX3" fmla="*/ 0 w 4058747"/>
              <a:gd name="connsiteY3" fmla="*/ 673097 h 673097"/>
            </a:gdLst>
            <a:ahLst/>
            <a:cxnLst>
              <a:cxn ang="0">
                <a:pos x="connsiteX0" y="connsiteY0"/>
              </a:cxn>
              <a:cxn ang="0">
                <a:pos x="connsiteX1" y="connsiteY1"/>
              </a:cxn>
              <a:cxn ang="0">
                <a:pos x="connsiteX2" y="connsiteY2"/>
              </a:cxn>
              <a:cxn ang="0">
                <a:pos x="connsiteX3" y="connsiteY3"/>
              </a:cxn>
            </a:cxnLst>
            <a:rect l="l" t="t" r="r" b="b"/>
            <a:pathLst>
              <a:path w="4058747" h="673097">
                <a:moveTo>
                  <a:pt x="0" y="0"/>
                </a:moveTo>
                <a:lnTo>
                  <a:pt x="4058747" y="0"/>
                </a:lnTo>
                <a:lnTo>
                  <a:pt x="3728276" y="673097"/>
                </a:lnTo>
                <a:lnTo>
                  <a:pt x="0" y="673097"/>
                </a:lnTo>
                <a:close/>
              </a:path>
            </a:pathLst>
          </a:custGeom>
          <a:solidFill>
            <a:schemeClr val="accent5"/>
          </a:solidFill>
        </p:spPr>
        <p:txBody>
          <a:bodyPr wrap="square" lIns="792000" anchor="ctr" anchorCtr="0">
            <a:noAutofit/>
          </a:bodyPr>
          <a:lstStyle>
            <a:lvl1pPr marL="0" indent="0">
              <a:buNone/>
              <a:defRPr sz="1800" b="0">
                <a:solidFill>
                  <a:schemeClr val="bg1"/>
                </a:solidFill>
                <a:latin typeface="+mj-lt"/>
              </a:defRPr>
            </a:lvl1pPr>
            <a:lvl2pPr marL="266700" indent="0">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scing</a:t>
            </a:r>
            <a:r>
              <a:rPr lang="en-US" dirty="0"/>
              <a:t> </a:t>
            </a:r>
            <a:r>
              <a:rPr lang="en-US" dirty="0" err="1"/>
              <a:t>elit</a:t>
            </a:r>
            <a:endParaRPr lang="en-US" dirty="0"/>
          </a:p>
        </p:txBody>
      </p:sp>
      <p:sp>
        <p:nvSpPr>
          <p:cNvPr id="101" name="Text Placeholder 100">
            <a:extLst>
              <a:ext uri="{FF2B5EF4-FFF2-40B4-BE49-F238E27FC236}">
                <a16:creationId xmlns:a16="http://schemas.microsoft.com/office/drawing/2014/main" id="{BC8A2927-6011-4622-A038-F2F7EAC093BE}"/>
              </a:ext>
            </a:extLst>
          </p:cNvPr>
          <p:cNvSpPr>
            <a:spLocks noGrp="1"/>
          </p:cNvSpPr>
          <p:nvPr>
            <p:ph type="body" sz="quarter" idx="27" hasCustomPrompt="1"/>
          </p:nvPr>
        </p:nvSpPr>
        <p:spPr>
          <a:xfrm>
            <a:off x="3891363" y="5631000"/>
            <a:ext cx="7852580" cy="673355"/>
          </a:xfrm>
          <a:custGeom>
            <a:avLst/>
            <a:gdLst>
              <a:gd name="connsiteX0" fmla="*/ 0 w 7852580"/>
              <a:gd name="connsiteY0" fmla="*/ 0 h 673355"/>
              <a:gd name="connsiteX1" fmla="*/ 7852580 w 7852580"/>
              <a:gd name="connsiteY1" fmla="*/ 0 h 673355"/>
              <a:gd name="connsiteX2" fmla="*/ 7852580 w 7852580"/>
              <a:gd name="connsiteY2" fmla="*/ 673355 h 673355"/>
              <a:gd name="connsiteX3" fmla="*/ 262449 w 7852580"/>
              <a:gd name="connsiteY3" fmla="*/ 673355 h 673355"/>
              <a:gd name="connsiteX4" fmla="*/ 593045 w 7852580"/>
              <a:gd name="connsiteY4" fmla="*/ 2 h 673355"/>
              <a:gd name="connsiteX5" fmla="*/ 0 w 7852580"/>
              <a:gd name="connsiteY5" fmla="*/ 2 h 67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2580" h="673355">
                <a:moveTo>
                  <a:pt x="0" y="0"/>
                </a:moveTo>
                <a:lnTo>
                  <a:pt x="7852580" y="0"/>
                </a:lnTo>
                <a:lnTo>
                  <a:pt x="7852580" y="673355"/>
                </a:lnTo>
                <a:lnTo>
                  <a:pt x="262449" y="673355"/>
                </a:lnTo>
                <a:lnTo>
                  <a:pt x="593045" y="2"/>
                </a:lnTo>
                <a:lnTo>
                  <a:pt x="0" y="2"/>
                </a:lnTo>
                <a:close/>
              </a:path>
            </a:pathLst>
          </a:custGeom>
          <a:gradFill>
            <a:gsLst>
              <a:gs pos="0">
                <a:schemeClr val="bg2">
                  <a:alpha val="17000"/>
                </a:schemeClr>
              </a:gs>
              <a:gs pos="100000">
                <a:schemeClr val="bg2">
                  <a:alpha val="0"/>
                </a:schemeClr>
              </a:gs>
            </a:gsLst>
            <a:lin ang="0" scaled="1"/>
          </a:gradFill>
        </p:spPr>
        <p:txBody>
          <a:bodyPr vert="horz" wrap="square" lIns="936000" tIns="45720" rIns="91440" bIns="45720" rtlCol="0" anchor="ctr" anchorCtr="0">
            <a:noAutofit/>
          </a:bodyPr>
          <a:lstStyle>
            <a:lvl1pPr>
              <a:defRPr lang="en-US" sz="1400" b="0" dirty="0">
                <a:solidFill>
                  <a:schemeClr val="tx2"/>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99" name="Text Placeholder 6">
            <a:extLst>
              <a:ext uri="{FF2B5EF4-FFF2-40B4-BE49-F238E27FC236}">
                <a16:creationId xmlns:a16="http://schemas.microsoft.com/office/drawing/2014/main" id="{7EA2F73C-E0F4-45B1-AB8F-530A19B43516}"/>
              </a:ext>
            </a:extLst>
          </p:cNvPr>
          <p:cNvSpPr>
            <a:spLocks noGrp="1"/>
          </p:cNvSpPr>
          <p:nvPr>
            <p:ph type="body" sz="quarter" idx="25" hasCustomPrompt="1"/>
          </p:nvPr>
        </p:nvSpPr>
        <p:spPr>
          <a:xfrm>
            <a:off x="496415" y="5689743"/>
            <a:ext cx="502822" cy="555611"/>
          </a:xfrm>
        </p:spPr>
        <p:txBody>
          <a:bodyPr vert="horz" wrap="square" lIns="0" tIns="45720" rIns="0" bIns="180000" rtlCol="0" anchor="ctr" anchorCtr="0">
            <a:noAutofit/>
          </a:bodyPr>
          <a:lstStyle>
            <a:lvl1pPr marL="0" indent="0" algn="ctr">
              <a:buNone/>
              <a:defRPr lang="en-US" sz="4400" b="0" dirty="0" smtClean="0">
                <a:solidFill>
                  <a:schemeClr val="bg1"/>
                </a:solidFill>
                <a:latin typeface="+mj-lt"/>
                <a:ea typeface="+mn-ea"/>
                <a:cs typeface="+mn-cs"/>
              </a:defRPr>
            </a:lvl1pPr>
          </a:lstStyle>
          <a:p>
            <a:pPr marL="0" lvl="0" algn="ctr">
              <a:spcAft>
                <a:spcPts val="1200"/>
              </a:spcAft>
            </a:pPr>
            <a:r>
              <a:rPr lang="en-US" dirty="0"/>
              <a:t>5</a:t>
            </a:r>
          </a:p>
        </p:txBody>
      </p:sp>
      <p:sp>
        <p:nvSpPr>
          <p:cNvPr id="104" name="Text Placeholder 2">
            <a:extLst>
              <a:ext uri="{FF2B5EF4-FFF2-40B4-BE49-F238E27FC236}">
                <a16:creationId xmlns:a16="http://schemas.microsoft.com/office/drawing/2014/main" id="{A9970848-F35F-47D3-8AA3-859BE30E9780}"/>
              </a:ext>
            </a:extLst>
          </p:cNvPr>
          <p:cNvSpPr>
            <a:spLocks noGrp="1"/>
          </p:cNvSpPr>
          <p:nvPr>
            <p:ph type="body" sz="quarter" idx="29"/>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38" name="Freeform: Shape 37">
            <a:extLst>
              <a:ext uri="{FF2B5EF4-FFF2-40B4-BE49-F238E27FC236}">
                <a16:creationId xmlns:a16="http://schemas.microsoft.com/office/drawing/2014/main" id="{FCE79156-B96F-4F0A-B2E6-29388CAA0C89}"/>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9" name="Freeform: Shape 38">
            <a:extLst>
              <a:ext uri="{FF2B5EF4-FFF2-40B4-BE49-F238E27FC236}">
                <a16:creationId xmlns:a16="http://schemas.microsoft.com/office/drawing/2014/main" id="{95460F8E-68BE-4EED-81CC-C73F28ABEB64}"/>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49321319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rofile Slide - White">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80487D53-597F-4F97-AFD7-4642703C2DA0}"/>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Picture Placeholder 16">
            <a:extLst>
              <a:ext uri="{FF2B5EF4-FFF2-40B4-BE49-F238E27FC236}">
                <a16:creationId xmlns:a16="http://schemas.microsoft.com/office/drawing/2014/main" id="{E879880F-2137-47AB-9566-C8A09E1C8E11}"/>
              </a:ext>
            </a:extLst>
          </p:cNvPr>
          <p:cNvSpPr>
            <a:spLocks noGrp="1"/>
          </p:cNvSpPr>
          <p:nvPr>
            <p:ph type="pic" sz="quarter" idx="15"/>
          </p:nvPr>
        </p:nvSpPr>
        <p:spPr>
          <a:xfrm>
            <a:off x="1340056" y="2397091"/>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2">
              <a:extLst>
                <a:ext uri="{96DAC541-7B7A-43D3-8B79-37D633B846F1}">
                  <asvg:svgBlip xmlns:asvg="http://schemas.microsoft.com/office/drawing/2016/SVG/main" r:embed="rId3"/>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dirty="0"/>
              <a:t>Click icon to add picture</a:t>
            </a:r>
            <a:endParaRPr lang="en-GB" dirty="0"/>
          </a:p>
        </p:txBody>
      </p:sp>
      <p:sp>
        <p:nvSpPr>
          <p:cNvPr id="18" name="Picture Placeholder 17">
            <a:extLst>
              <a:ext uri="{FF2B5EF4-FFF2-40B4-BE49-F238E27FC236}">
                <a16:creationId xmlns:a16="http://schemas.microsoft.com/office/drawing/2014/main" id="{14CCA4F3-8BB7-4518-8D07-F4EBBBD39FF1}"/>
              </a:ext>
            </a:extLst>
          </p:cNvPr>
          <p:cNvSpPr>
            <a:spLocks noGrp="1"/>
          </p:cNvSpPr>
          <p:nvPr>
            <p:ph type="pic" sz="quarter" idx="16"/>
          </p:nvPr>
        </p:nvSpPr>
        <p:spPr>
          <a:xfrm>
            <a:off x="4104950" y="2397091"/>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2">
              <a:extLst>
                <a:ext uri="{96DAC541-7B7A-43D3-8B79-37D633B846F1}">
                  <asvg:svgBlip xmlns:asvg="http://schemas.microsoft.com/office/drawing/2016/SVG/main" r:embed="rId3"/>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dirty="0"/>
              <a:t>Click icon to add picture</a:t>
            </a:r>
            <a:endParaRPr lang="en-GB" dirty="0"/>
          </a:p>
        </p:txBody>
      </p:sp>
      <p:sp>
        <p:nvSpPr>
          <p:cNvPr id="20" name="Picture Placeholder 19">
            <a:extLst>
              <a:ext uri="{FF2B5EF4-FFF2-40B4-BE49-F238E27FC236}">
                <a16:creationId xmlns:a16="http://schemas.microsoft.com/office/drawing/2014/main" id="{85A37B0B-0741-485F-996D-2A2215AD59C6}"/>
              </a:ext>
            </a:extLst>
          </p:cNvPr>
          <p:cNvSpPr>
            <a:spLocks noGrp="1"/>
          </p:cNvSpPr>
          <p:nvPr>
            <p:ph type="pic" sz="quarter" idx="17"/>
          </p:nvPr>
        </p:nvSpPr>
        <p:spPr>
          <a:xfrm>
            <a:off x="6869844" y="2397091"/>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2">
              <a:extLst>
                <a:ext uri="{96DAC541-7B7A-43D3-8B79-37D633B846F1}">
                  <asvg:svgBlip xmlns:asvg="http://schemas.microsoft.com/office/drawing/2016/SVG/main" r:embed="rId3"/>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dirty="0"/>
              <a:t>Click icon to add picture</a:t>
            </a:r>
            <a:endParaRPr lang="en-GB" dirty="0"/>
          </a:p>
        </p:txBody>
      </p:sp>
      <p:sp>
        <p:nvSpPr>
          <p:cNvPr id="21" name="Picture Placeholder 20">
            <a:extLst>
              <a:ext uri="{FF2B5EF4-FFF2-40B4-BE49-F238E27FC236}">
                <a16:creationId xmlns:a16="http://schemas.microsoft.com/office/drawing/2014/main" id="{DDB37BA3-47E7-413A-B0E7-2CD9DCDEE8BB}"/>
              </a:ext>
            </a:extLst>
          </p:cNvPr>
          <p:cNvSpPr>
            <a:spLocks noGrp="1"/>
          </p:cNvSpPr>
          <p:nvPr>
            <p:ph type="pic" sz="quarter" idx="18"/>
          </p:nvPr>
        </p:nvSpPr>
        <p:spPr>
          <a:xfrm>
            <a:off x="9634738" y="2397091"/>
            <a:ext cx="1236048" cy="1740087"/>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2">
              <a:extLst>
                <a:ext uri="{96DAC541-7B7A-43D3-8B79-37D633B846F1}">
                  <asvg:svgBlip xmlns:asvg="http://schemas.microsoft.com/office/drawing/2016/SVG/main" r:embed="rId3"/>
                </a:ext>
              </a:extLst>
            </a:blip>
            <a:srcRect/>
            <a:stretch>
              <a:fillRect/>
            </a:stretch>
          </a:blipFill>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dirty="0"/>
              <a:t>Click icon to add picture</a:t>
            </a:r>
            <a:endParaRPr lang="en-GB" dirty="0"/>
          </a:p>
        </p:txBody>
      </p:sp>
      <p:pic>
        <p:nvPicPr>
          <p:cNvPr id="32" name="Graphic 31">
            <a:extLst>
              <a:ext uri="{FF2B5EF4-FFF2-40B4-BE49-F238E27FC236}">
                <a16:creationId xmlns:a16="http://schemas.microsoft.com/office/drawing/2014/main" id="{3B7DAD36-421A-5249-8BCD-4F8131E6D044}"/>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7298" y="6396668"/>
            <a:ext cx="931790" cy="271466"/>
          </a:xfrm>
          <a:prstGeom prst="rect">
            <a:avLst/>
          </a:prstGeom>
        </p:spPr>
      </p:pic>
      <p:sp>
        <p:nvSpPr>
          <p:cNvPr id="19" name="Slide Number Placeholder 5">
            <a:extLst>
              <a:ext uri="{FF2B5EF4-FFF2-40B4-BE49-F238E27FC236}">
                <a16:creationId xmlns:a16="http://schemas.microsoft.com/office/drawing/2014/main" id="{95FD441D-6813-334F-9ACF-AAC2475C7E48}"/>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7" name="Footer Placeholder 3">
            <a:extLst>
              <a:ext uri="{FF2B5EF4-FFF2-40B4-BE49-F238E27FC236}">
                <a16:creationId xmlns:a16="http://schemas.microsoft.com/office/drawing/2014/main" id="{BA91B997-92CA-9742-9413-F98BA703443D}"/>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0" name="Title 3">
            <a:extLst>
              <a:ext uri="{FF2B5EF4-FFF2-40B4-BE49-F238E27FC236}">
                <a16:creationId xmlns:a16="http://schemas.microsoft.com/office/drawing/2014/main" id="{E38D729D-5227-49D7-9785-1DC1DF806F1D}"/>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3" name="Text Placeholder 22">
            <a:extLst>
              <a:ext uri="{FF2B5EF4-FFF2-40B4-BE49-F238E27FC236}">
                <a16:creationId xmlns:a16="http://schemas.microsoft.com/office/drawing/2014/main" id="{EB6EBEF1-2298-410B-9293-C27A9A420B8C}"/>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4" name="Text Placeholder 21">
            <a:extLst>
              <a:ext uri="{FF2B5EF4-FFF2-40B4-BE49-F238E27FC236}">
                <a16:creationId xmlns:a16="http://schemas.microsoft.com/office/drawing/2014/main" id="{EDF3697C-568B-4AA1-9EF3-9113E2541E25}"/>
              </a:ext>
            </a:extLst>
          </p:cNvPr>
          <p:cNvSpPr>
            <a:spLocks noGrp="1"/>
          </p:cNvSpPr>
          <p:nvPr>
            <p:ph type="body" sz="quarter" idx="19" hasCustomPrompt="1"/>
          </p:nvPr>
        </p:nvSpPr>
        <p:spPr>
          <a:xfrm>
            <a:off x="745057" y="4264179"/>
            <a:ext cx="2448000" cy="1946122"/>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tx2"/>
                </a:solidFill>
              </a:defRPr>
            </a:lvl2pPr>
            <a:lvl3pPr marL="0" indent="0" algn="ctr">
              <a:lnSpc>
                <a:spcPct val="100000"/>
              </a:lnSpc>
              <a:spcBef>
                <a:spcPts val="1200"/>
              </a:spcBef>
              <a:buFont typeface="Arial" panose="020B0604020202020204" pitchFamily="34" charset="0"/>
              <a:buNone/>
              <a:defRPr>
                <a:solidFill>
                  <a:schemeClr val="tx2"/>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6" name="Text Placeholder 21">
            <a:extLst>
              <a:ext uri="{FF2B5EF4-FFF2-40B4-BE49-F238E27FC236}">
                <a16:creationId xmlns:a16="http://schemas.microsoft.com/office/drawing/2014/main" id="{20E879FB-0ECA-4094-A26D-0870481E4630}"/>
              </a:ext>
            </a:extLst>
          </p:cNvPr>
          <p:cNvSpPr>
            <a:spLocks noGrp="1"/>
          </p:cNvSpPr>
          <p:nvPr>
            <p:ph type="body" sz="quarter" idx="20" hasCustomPrompt="1"/>
          </p:nvPr>
        </p:nvSpPr>
        <p:spPr>
          <a:xfrm>
            <a:off x="3506292" y="4264179"/>
            <a:ext cx="2448000" cy="1946122"/>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tx2"/>
                </a:solidFill>
              </a:defRPr>
            </a:lvl2pPr>
            <a:lvl3pPr marL="0" indent="0" algn="ctr">
              <a:lnSpc>
                <a:spcPct val="100000"/>
              </a:lnSpc>
              <a:spcBef>
                <a:spcPts val="1200"/>
              </a:spcBef>
              <a:buFont typeface="Arial" panose="020B0604020202020204" pitchFamily="34" charset="0"/>
              <a:buNone/>
              <a:defRPr>
                <a:solidFill>
                  <a:schemeClr val="tx2"/>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7" name="Text Placeholder 21">
            <a:extLst>
              <a:ext uri="{FF2B5EF4-FFF2-40B4-BE49-F238E27FC236}">
                <a16:creationId xmlns:a16="http://schemas.microsoft.com/office/drawing/2014/main" id="{CB7EAE9F-C1C2-4E54-947F-1DAF3E582D80}"/>
              </a:ext>
            </a:extLst>
          </p:cNvPr>
          <p:cNvSpPr>
            <a:spLocks noGrp="1"/>
          </p:cNvSpPr>
          <p:nvPr>
            <p:ph type="body" sz="quarter" idx="21" hasCustomPrompt="1"/>
          </p:nvPr>
        </p:nvSpPr>
        <p:spPr>
          <a:xfrm>
            <a:off x="6267527" y="4264179"/>
            <a:ext cx="2448000" cy="1946122"/>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tx2"/>
                </a:solidFill>
              </a:defRPr>
            </a:lvl2pPr>
            <a:lvl3pPr marL="0" indent="0" algn="ctr">
              <a:lnSpc>
                <a:spcPct val="100000"/>
              </a:lnSpc>
              <a:spcBef>
                <a:spcPts val="1200"/>
              </a:spcBef>
              <a:buFont typeface="Arial" panose="020B0604020202020204" pitchFamily="34" charset="0"/>
              <a:buNone/>
              <a:defRPr>
                <a:solidFill>
                  <a:schemeClr val="tx2"/>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38" name="Text Placeholder 21">
            <a:extLst>
              <a:ext uri="{FF2B5EF4-FFF2-40B4-BE49-F238E27FC236}">
                <a16:creationId xmlns:a16="http://schemas.microsoft.com/office/drawing/2014/main" id="{A12F1173-5541-4125-8BBE-11308C34246A}"/>
              </a:ext>
            </a:extLst>
          </p:cNvPr>
          <p:cNvSpPr>
            <a:spLocks noGrp="1"/>
          </p:cNvSpPr>
          <p:nvPr>
            <p:ph type="body" sz="quarter" idx="22" hasCustomPrompt="1"/>
          </p:nvPr>
        </p:nvSpPr>
        <p:spPr>
          <a:xfrm>
            <a:off x="9028762" y="4264179"/>
            <a:ext cx="2448000" cy="1946122"/>
          </a:xfrm>
          <a:prstGeom prst="rect">
            <a:avLst/>
          </a:prstGeom>
        </p:spPr>
        <p:txBody>
          <a:bodyPr>
            <a:noAutofit/>
          </a:bodyPr>
          <a:lstStyle>
            <a:lvl1pPr marL="0" indent="0" algn="ctr">
              <a:lnSpc>
                <a:spcPct val="100000"/>
              </a:lnSpc>
              <a:buNone/>
              <a:defRPr sz="1600" b="1">
                <a:solidFill>
                  <a:schemeClr val="accent1"/>
                </a:solidFill>
                <a:latin typeface="+mj-lt"/>
              </a:defRPr>
            </a:lvl1pPr>
            <a:lvl2pPr marL="0" indent="0" algn="ctr">
              <a:lnSpc>
                <a:spcPct val="100000"/>
              </a:lnSpc>
              <a:spcBef>
                <a:spcPts val="200"/>
              </a:spcBef>
              <a:buFont typeface="Arial" panose="020B0604020202020204" pitchFamily="34" charset="0"/>
              <a:buNone/>
              <a:defRPr sz="1400">
                <a:solidFill>
                  <a:schemeClr val="tx2"/>
                </a:solidFill>
              </a:defRPr>
            </a:lvl2pPr>
            <a:lvl3pPr marL="0" indent="0" algn="ctr">
              <a:lnSpc>
                <a:spcPct val="100000"/>
              </a:lnSpc>
              <a:spcBef>
                <a:spcPts val="1200"/>
              </a:spcBef>
              <a:buFont typeface="Arial" panose="020B0604020202020204" pitchFamily="34" charset="0"/>
              <a:buNone/>
              <a:defRPr>
                <a:solidFill>
                  <a:schemeClr val="tx2"/>
                </a:solidFill>
              </a:defRPr>
            </a:lvl3pPr>
          </a:lstStyle>
          <a:p>
            <a:pPr lvl="0"/>
            <a:r>
              <a:rPr lang="en-US" dirty="0"/>
              <a:t>Name</a:t>
            </a:r>
          </a:p>
          <a:p>
            <a:pPr lvl="1"/>
            <a:r>
              <a:rPr lang="en-US" dirty="0"/>
              <a:t>Designation</a:t>
            </a:r>
          </a:p>
          <a:p>
            <a:pPr lvl="2"/>
            <a:r>
              <a:rPr lang="en-US" dirty="0"/>
              <a:t>Lorem ipsum dolor sit amet, consectetuer adipiscing elit. Maecenas porttitor congue massa. Fusce posuere, magna sed pulvinar ultricies, </a:t>
            </a:r>
            <a:r>
              <a:rPr lang="en-US" dirty="0" err="1"/>
              <a:t>purus</a:t>
            </a:r>
            <a:r>
              <a:rPr lang="en-US" dirty="0"/>
              <a:t> </a:t>
            </a:r>
            <a:r>
              <a:rPr lang="en-US" dirty="0" err="1"/>
              <a:t>lectus</a:t>
            </a:r>
            <a:endParaRPr lang="en-US" dirty="0"/>
          </a:p>
        </p:txBody>
      </p:sp>
      <p:sp>
        <p:nvSpPr>
          <p:cNvPr id="40" name="Text Placeholder 2">
            <a:extLst>
              <a:ext uri="{FF2B5EF4-FFF2-40B4-BE49-F238E27FC236}">
                <a16:creationId xmlns:a16="http://schemas.microsoft.com/office/drawing/2014/main" id="{C942C6F7-BF76-41F2-9314-4E67256E96B0}"/>
              </a:ext>
            </a:extLst>
          </p:cNvPr>
          <p:cNvSpPr>
            <a:spLocks noGrp="1"/>
          </p:cNvSpPr>
          <p:nvPr>
            <p:ph type="body" sz="quarter" idx="23"/>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22" name="Rectangle 21">
            <a:extLst>
              <a:ext uri="{FF2B5EF4-FFF2-40B4-BE49-F238E27FC236}">
                <a16:creationId xmlns:a16="http://schemas.microsoft.com/office/drawing/2014/main" id="{2174E6F3-834D-466B-90E1-E0AC0A9201E5}"/>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6" name="Freeform: Shape 25">
            <a:extLst>
              <a:ext uri="{FF2B5EF4-FFF2-40B4-BE49-F238E27FC236}">
                <a16:creationId xmlns:a16="http://schemas.microsoft.com/office/drawing/2014/main" id="{EDD6F617-9647-465D-AF6F-DC346B767469}"/>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8" name="Freeform: Shape 27">
            <a:extLst>
              <a:ext uri="{FF2B5EF4-FFF2-40B4-BE49-F238E27FC236}">
                <a16:creationId xmlns:a16="http://schemas.microsoft.com/office/drawing/2014/main" id="{ACB36714-818D-4C9A-A027-DF7559699983}"/>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270250672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Header only - White">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429A718C-8EA9-4538-BF62-1949A8E15399}"/>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3" name="Slide Number Placeholder 5">
            <a:extLst>
              <a:ext uri="{FF2B5EF4-FFF2-40B4-BE49-F238E27FC236}">
                <a16:creationId xmlns:a16="http://schemas.microsoft.com/office/drawing/2014/main" id="{816849DA-228E-214B-8089-5274FDBBFCAF}"/>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4" name="Footer Placeholder 3">
            <a:extLst>
              <a:ext uri="{FF2B5EF4-FFF2-40B4-BE49-F238E27FC236}">
                <a16:creationId xmlns:a16="http://schemas.microsoft.com/office/drawing/2014/main" id="{B258CF8F-6FBF-4340-A67F-94C4A387DB3E}"/>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2" name="Title 3">
            <a:extLst>
              <a:ext uri="{FF2B5EF4-FFF2-40B4-BE49-F238E27FC236}">
                <a16:creationId xmlns:a16="http://schemas.microsoft.com/office/drawing/2014/main" id="{647A549A-FC78-4BF2-8AA4-4CBCED8E7B1B}"/>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17" name="Text Placeholder 2">
            <a:extLst>
              <a:ext uri="{FF2B5EF4-FFF2-40B4-BE49-F238E27FC236}">
                <a16:creationId xmlns:a16="http://schemas.microsoft.com/office/drawing/2014/main" id="{E23FFC3F-8A83-4C4D-A0C9-08E98B59130D}"/>
              </a:ext>
            </a:extLst>
          </p:cNvPr>
          <p:cNvSpPr>
            <a:spLocks noGrp="1"/>
          </p:cNvSpPr>
          <p:nvPr>
            <p:ph type="body" sz="quarter" idx="14"/>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20" name="Rectangle 19">
            <a:extLst>
              <a:ext uri="{FF2B5EF4-FFF2-40B4-BE49-F238E27FC236}">
                <a16:creationId xmlns:a16="http://schemas.microsoft.com/office/drawing/2014/main" id="{CF0A051F-2529-469D-B839-67D614047EC9}"/>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1" name="Freeform: Shape 20">
            <a:extLst>
              <a:ext uri="{FF2B5EF4-FFF2-40B4-BE49-F238E27FC236}">
                <a16:creationId xmlns:a16="http://schemas.microsoft.com/office/drawing/2014/main" id="{207D8720-3D60-4190-9DDE-9EDFBA572D38}"/>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3" name="Freeform: Shape 22">
            <a:extLst>
              <a:ext uri="{FF2B5EF4-FFF2-40B4-BE49-F238E27FC236}">
                <a16:creationId xmlns:a16="http://schemas.microsoft.com/office/drawing/2014/main" id="{B40B7391-998E-44BB-BB77-DAB3F7DB4F6A}"/>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73007058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Slide White with Corner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4FE41B66-E82D-4657-A737-E4FA8AC65A18}"/>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0" name="Slide Number Placeholder 5">
            <a:extLst>
              <a:ext uri="{FF2B5EF4-FFF2-40B4-BE49-F238E27FC236}">
                <a16:creationId xmlns:a16="http://schemas.microsoft.com/office/drawing/2014/main" id="{19672E01-4D64-BA4B-A9E8-01086F147FB0}"/>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1" name="Footer Placeholder 3">
            <a:extLst>
              <a:ext uri="{FF2B5EF4-FFF2-40B4-BE49-F238E27FC236}">
                <a16:creationId xmlns:a16="http://schemas.microsoft.com/office/drawing/2014/main" id="{ACDF4571-CDA4-1541-995D-8792DD496EB7}"/>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9" name="Rectangle 8">
            <a:extLst>
              <a:ext uri="{FF2B5EF4-FFF2-40B4-BE49-F238E27FC236}">
                <a16:creationId xmlns:a16="http://schemas.microsoft.com/office/drawing/2014/main" id="{AD9AC699-128E-45D5-B4BD-EAC43A48A49E}"/>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2" name="Freeform: Shape 11">
            <a:extLst>
              <a:ext uri="{FF2B5EF4-FFF2-40B4-BE49-F238E27FC236}">
                <a16:creationId xmlns:a16="http://schemas.microsoft.com/office/drawing/2014/main" id="{B272390D-159B-4196-85C8-AA23F030744B}"/>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3" name="Freeform: Shape 12">
            <a:extLst>
              <a:ext uri="{FF2B5EF4-FFF2-40B4-BE49-F238E27FC236}">
                <a16:creationId xmlns:a16="http://schemas.microsoft.com/office/drawing/2014/main" id="{C6685164-D677-427B-80C8-FE067C72B49A}"/>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387185688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Slide White No Corners">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ADBF1773-246E-4C31-9EA7-4FD8C7D51459}"/>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 name="Graphic 21">
            <a:extLst>
              <a:ext uri="{FF2B5EF4-FFF2-40B4-BE49-F238E27FC236}">
                <a16:creationId xmlns:a16="http://schemas.microsoft.com/office/drawing/2014/main" id="{99F3A524-93C3-4449-BDB4-13AC8C0D9F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0" name="Slide Number Placeholder 5">
            <a:extLst>
              <a:ext uri="{FF2B5EF4-FFF2-40B4-BE49-F238E27FC236}">
                <a16:creationId xmlns:a16="http://schemas.microsoft.com/office/drawing/2014/main" id="{19672E01-4D64-BA4B-A9E8-01086F147FB0}"/>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1" name="Footer Placeholder 3">
            <a:extLst>
              <a:ext uri="{FF2B5EF4-FFF2-40B4-BE49-F238E27FC236}">
                <a16:creationId xmlns:a16="http://schemas.microsoft.com/office/drawing/2014/main" id="{ACDF4571-CDA4-1541-995D-8792DD496EB7}"/>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7" name="Rectangle 6">
            <a:extLst>
              <a:ext uri="{FF2B5EF4-FFF2-40B4-BE49-F238E27FC236}">
                <a16:creationId xmlns:a16="http://schemas.microsoft.com/office/drawing/2014/main" id="{0FCA5AE9-16F5-49C5-B31D-EEE1E47188CC}"/>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100482104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rofile - Option 1 White">
    <p:spTree>
      <p:nvGrpSpPr>
        <p:cNvPr id="1" name=""/>
        <p:cNvGrpSpPr/>
        <p:nvPr/>
      </p:nvGrpSpPr>
      <p:grpSpPr>
        <a:xfrm>
          <a:off x="0" y="0"/>
          <a:ext cx="0" cy="0"/>
          <a:chOff x="0" y="0"/>
          <a:chExt cx="0" cy="0"/>
        </a:xfrm>
      </p:grpSpPr>
      <p:sp>
        <p:nvSpPr>
          <p:cNvPr id="38" name="Freeform: Shape 37">
            <a:extLst>
              <a:ext uri="{FF2B5EF4-FFF2-40B4-BE49-F238E27FC236}">
                <a16:creationId xmlns:a16="http://schemas.microsoft.com/office/drawing/2014/main" id="{6B4F6363-4D60-4208-8FEE-B7F12EDD1C51}"/>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8" name="Straight Connector 27">
            <a:extLst>
              <a:ext uri="{FF2B5EF4-FFF2-40B4-BE49-F238E27FC236}">
                <a16:creationId xmlns:a16="http://schemas.microsoft.com/office/drawing/2014/main" id="{B3F65727-F472-4831-85B6-268C41ADA733}"/>
              </a:ext>
            </a:extLst>
          </p:cNvPr>
          <p:cNvCxnSpPr>
            <a:cxnSpLocks/>
          </p:cNvCxnSpPr>
          <p:nvPr/>
        </p:nvCxnSpPr>
        <p:spPr>
          <a:xfrm>
            <a:off x="457197" y="921289"/>
            <a:ext cx="11304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3B7DAD36-421A-5249-8BCD-4F8131E6D0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3" name="Rectangle 2">
            <a:extLst>
              <a:ext uri="{FF2B5EF4-FFF2-40B4-BE49-F238E27FC236}">
                <a16:creationId xmlns:a16="http://schemas.microsoft.com/office/drawing/2014/main" id="{87833BBB-E396-A344-B471-B947315AAE46}"/>
              </a:ext>
            </a:extLst>
          </p:cNvPr>
          <p:cNvSpPr/>
          <p:nvPr/>
        </p:nvSpPr>
        <p:spPr>
          <a:xfrm>
            <a:off x="347658" y="336514"/>
            <a:ext cx="1521570" cy="584775"/>
          </a:xfrm>
          <a:prstGeom prst="rect">
            <a:avLst/>
          </a:prstGeom>
        </p:spPr>
        <p:txBody>
          <a:bodyPr wrap="none">
            <a:noAutofit/>
          </a:bodyPr>
          <a:lstStyle/>
          <a:p>
            <a: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pPr>
            <a:r>
              <a:rPr lang="en-US" sz="3200" b="0" kern="1200" dirty="0">
                <a:solidFill>
                  <a:schemeClr val="tx2"/>
                </a:solidFill>
                <a:latin typeface="+mj-lt"/>
                <a:cs typeface="Calibri" panose="020F0502020204030204" pitchFamily="34" charset="0"/>
              </a:rPr>
              <a:t>Profile:</a:t>
            </a:r>
          </a:p>
        </p:txBody>
      </p:sp>
      <p:sp>
        <p:nvSpPr>
          <p:cNvPr id="44" name="Rectangle 43">
            <a:extLst>
              <a:ext uri="{FF2B5EF4-FFF2-40B4-BE49-F238E27FC236}">
                <a16:creationId xmlns:a16="http://schemas.microsoft.com/office/drawing/2014/main" id="{540B555E-319A-C849-A622-CA9E805CFF47}"/>
              </a:ext>
            </a:extLst>
          </p:cNvPr>
          <p:cNvSpPr/>
          <p:nvPr/>
        </p:nvSpPr>
        <p:spPr>
          <a:xfrm>
            <a:off x="365446" y="3314545"/>
            <a:ext cx="4025461" cy="307777"/>
          </a:xfrm>
          <a:prstGeom prst="rect">
            <a:avLst/>
          </a:prstGeom>
        </p:spPr>
        <p:txBody>
          <a:bodyPr wrap="non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Focus industries and consulting expertise</a:t>
            </a:r>
          </a:p>
        </p:txBody>
      </p:sp>
      <p:sp>
        <p:nvSpPr>
          <p:cNvPr id="47" name="Rectangle 46">
            <a:extLst>
              <a:ext uri="{FF2B5EF4-FFF2-40B4-BE49-F238E27FC236}">
                <a16:creationId xmlns:a16="http://schemas.microsoft.com/office/drawing/2014/main" id="{D96DC9A5-9A55-5247-A440-C6F3E635C064}"/>
              </a:ext>
            </a:extLst>
          </p:cNvPr>
          <p:cNvSpPr/>
          <p:nvPr/>
        </p:nvSpPr>
        <p:spPr>
          <a:xfrm>
            <a:off x="4415970" y="3314545"/>
            <a:ext cx="2941831" cy="523220"/>
          </a:xfrm>
          <a:prstGeom prst="rect">
            <a:avLst/>
          </a:prstGeom>
        </p:spPr>
        <p:txBody>
          <a:bodyPr wrap="non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Project experience (selection)</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accent1"/>
              </a:solidFill>
              <a:latin typeface="+mj-lt"/>
              <a:cs typeface="Calibri" panose="020F0502020204030204" pitchFamily="34" charset="0"/>
            </a:endParaRPr>
          </a:p>
        </p:txBody>
      </p:sp>
      <p:sp>
        <p:nvSpPr>
          <p:cNvPr id="49" name="Rectangle 48">
            <a:extLst>
              <a:ext uri="{FF2B5EF4-FFF2-40B4-BE49-F238E27FC236}">
                <a16:creationId xmlns:a16="http://schemas.microsoft.com/office/drawing/2014/main" id="{A56B113D-ED25-E54F-8A13-BA592DCF1171}"/>
              </a:ext>
            </a:extLst>
          </p:cNvPr>
          <p:cNvSpPr/>
          <p:nvPr/>
        </p:nvSpPr>
        <p:spPr>
          <a:xfrm>
            <a:off x="9044498" y="3257393"/>
            <a:ext cx="2941831" cy="307777"/>
          </a:xfrm>
          <a:prstGeom prst="rect">
            <a:avLst/>
          </a:prstGeom>
        </p:spPr>
        <p:txBody>
          <a:bodyPr wrap="square">
            <a:noAutofit/>
          </a:bodyPr>
          <a:lstStyle/>
          <a:p>
            <a:pPr lvl="0" indent="0">
              <a:lnSpc>
                <a:spcPct val="100000"/>
              </a:lnSpc>
              <a:spcBef>
                <a:spcPts val="0"/>
              </a:spcBef>
              <a:spcAft>
                <a:spcPts val="0"/>
              </a:spcAft>
              <a:buClr>
                <a:schemeClr val="bg1"/>
              </a:buClr>
              <a:buSzPct val="100000"/>
              <a:buFont typeface="Arial" panose="020B0604020202020204" pitchFamily="34" charset="0"/>
              <a:buNone/>
            </a:pPr>
            <a:r>
              <a:rPr lang="en-US" sz="1400" b="1" dirty="0">
                <a:solidFill>
                  <a:schemeClr val="accent1"/>
                </a:solidFill>
                <a:latin typeface="+mj-lt"/>
                <a:cs typeface="Calibri" panose="020F0502020204030204" pitchFamily="34" charset="0"/>
              </a:rPr>
              <a:t>Certifications/attainments</a:t>
            </a:r>
          </a:p>
        </p:txBody>
      </p:sp>
      <p:sp>
        <p:nvSpPr>
          <p:cNvPr id="6" name="Rectangle 5">
            <a:extLst>
              <a:ext uri="{FF2B5EF4-FFF2-40B4-BE49-F238E27FC236}">
                <a16:creationId xmlns:a16="http://schemas.microsoft.com/office/drawing/2014/main" id="{2F33084D-ACDD-6849-8479-977F2DBF36CB}"/>
              </a:ext>
            </a:extLst>
          </p:cNvPr>
          <p:cNvSpPr/>
          <p:nvPr/>
        </p:nvSpPr>
        <p:spPr>
          <a:xfrm rot="5400000">
            <a:off x="4276567" y="-2413181"/>
            <a:ext cx="1759270" cy="9400989"/>
          </a:xfrm>
          <a:prstGeom prst="rect">
            <a:avLst/>
          </a:prstGeom>
          <a:gradFill>
            <a:gsLst>
              <a:gs pos="0">
                <a:schemeClr val="accent1">
                  <a:alpha val="5000"/>
                </a:schemeClr>
              </a:gs>
              <a:gs pos="74000">
                <a:schemeClr val="accent1">
                  <a:alpha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7" name="Picture Placeholder 16">
            <a:extLst>
              <a:ext uri="{FF2B5EF4-FFF2-40B4-BE49-F238E27FC236}">
                <a16:creationId xmlns:a16="http://schemas.microsoft.com/office/drawing/2014/main" id="{E879880F-2137-47AB-9566-C8A09E1C8E11}"/>
              </a:ext>
            </a:extLst>
          </p:cNvPr>
          <p:cNvSpPr>
            <a:spLocks noGrp="1"/>
          </p:cNvSpPr>
          <p:nvPr>
            <p:ph type="pic" sz="quarter" idx="15" hasCustomPrompt="1"/>
          </p:nvPr>
        </p:nvSpPr>
        <p:spPr>
          <a:xfrm>
            <a:off x="539419" y="1492782"/>
            <a:ext cx="1723430" cy="1582892"/>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a:ln w="31750">
            <a:noFill/>
          </a:ln>
          <a:effectLst/>
        </p:spPr>
        <p:txBody>
          <a:bodyPr wrap="square" lIns="72000" anchor="ctr" anchorCtr="0">
            <a:noAutofit/>
          </a:bodyPr>
          <a:lstStyle>
            <a:lvl1pPr marL="0" indent="0" algn="ctr">
              <a:buNone/>
              <a:defRPr b="0">
                <a:solidFill>
                  <a:schemeClr val="tx2"/>
                </a:solidFill>
                <a:latin typeface="+mn-lt"/>
              </a:defRPr>
            </a:lvl1pPr>
          </a:lstStyle>
          <a:p>
            <a:r>
              <a:rPr lang="en-GB" dirty="0"/>
              <a:t>Insert</a:t>
            </a:r>
          </a:p>
        </p:txBody>
      </p:sp>
      <p:cxnSp>
        <p:nvCxnSpPr>
          <p:cNvPr id="58" name="Straight Connector 57">
            <a:extLst>
              <a:ext uri="{FF2B5EF4-FFF2-40B4-BE49-F238E27FC236}">
                <a16:creationId xmlns:a16="http://schemas.microsoft.com/office/drawing/2014/main" id="{2DF5872F-F6BC-7841-B29A-4A0024AAA7BE}"/>
              </a:ext>
            </a:extLst>
          </p:cNvPr>
          <p:cNvCxnSpPr>
            <a:cxnSpLocks/>
          </p:cNvCxnSpPr>
          <p:nvPr/>
        </p:nvCxnSpPr>
        <p:spPr>
          <a:xfrm>
            <a:off x="466722" y="3166948"/>
            <a:ext cx="11304000" cy="0"/>
          </a:xfrm>
          <a:prstGeom prst="line">
            <a:avLst/>
          </a:prstGeom>
          <a:ln w="22225" cap="sq">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2BF8E54-FBBB-2045-AC58-610D9878529C}"/>
              </a:ext>
            </a:extLst>
          </p:cNvPr>
          <p:cNvSpPr/>
          <p:nvPr/>
        </p:nvSpPr>
        <p:spPr>
          <a:xfrm>
            <a:off x="9044498" y="4402673"/>
            <a:ext cx="2941831" cy="523220"/>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Industry experience</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accent1"/>
              </a:solidFill>
              <a:latin typeface="+mj-lt"/>
              <a:cs typeface="Calibri" panose="020F0502020204030204" pitchFamily="34" charset="0"/>
            </a:endParaRPr>
          </a:p>
        </p:txBody>
      </p:sp>
      <p:sp>
        <p:nvSpPr>
          <p:cNvPr id="35" name="Rectangle 34">
            <a:extLst>
              <a:ext uri="{FF2B5EF4-FFF2-40B4-BE49-F238E27FC236}">
                <a16:creationId xmlns:a16="http://schemas.microsoft.com/office/drawing/2014/main" id="{21971B91-92A2-5A4E-A8C3-5DB4829D97D6}"/>
              </a:ext>
            </a:extLst>
          </p:cNvPr>
          <p:cNvSpPr/>
          <p:nvPr/>
        </p:nvSpPr>
        <p:spPr>
          <a:xfrm>
            <a:off x="2418836" y="1458851"/>
            <a:ext cx="3677164" cy="523220"/>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tx2"/>
                </a:solidFill>
                <a:latin typeface="+mj-lt"/>
                <a:cs typeface="Calibri" panose="020F0502020204030204" pitchFamily="34" charset="0"/>
              </a:rPr>
              <a:t>Professional experience</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tx2"/>
              </a:solidFill>
              <a:latin typeface="+mj-lt"/>
              <a:cs typeface="Calibri" panose="020F0502020204030204" pitchFamily="34" charset="0"/>
            </a:endParaRPr>
          </a:p>
        </p:txBody>
      </p:sp>
      <p:sp>
        <p:nvSpPr>
          <p:cNvPr id="37" name="Rectangle 36">
            <a:extLst>
              <a:ext uri="{FF2B5EF4-FFF2-40B4-BE49-F238E27FC236}">
                <a16:creationId xmlns:a16="http://schemas.microsoft.com/office/drawing/2014/main" id="{F45DF948-8092-334C-9F4C-C15A7407E3D9}"/>
              </a:ext>
            </a:extLst>
          </p:cNvPr>
          <p:cNvSpPr/>
          <p:nvPr/>
        </p:nvSpPr>
        <p:spPr>
          <a:xfrm>
            <a:off x="5559205" y="1458851"/>
            <a:ext cx="3677164" cy="523220"/>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tx2"/>
                </a:solidFill>
                <a:latin typeface="+mj-lt"/>
                <a:cs typeface="Calibri" panose="020F0502020204030204" pitchFamily="34" charset="0"/>
              </a:rPr>
              <a:t>Education</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tx2"/>
              </a:solidFill>
              <a:latin typeface="+mj-lt"/>
              <a:cs typeface="Calibri" panose="020F0502020204030204" pitchFamily="34" charset="0"/>
            </a:endParaRPr>
          </a:p>
        </p:txBody>
      </p:sp>
      <p:sp>
        <p:nvSpPr>
          <p:cNvPr id="39" name="Rectangle 38">
            <a:extLst>
              <a:ext uri="{FF2B5EF4-FFF2-40B4-BE49-F238E27FC236}">
                <a16:creationId xmlns:a16="http://schemas.microsoft.com/office/drawing/2014/main" id="{95F41CA3-5513-FF4A-9A62-21ABC26BA626}"/>
              </a:ext>
            </a:extLst>
          </p:cNvPr>
          <p:cNvSpPr/>
          <p:nvPr/>
        </p:nvSpPr>
        <p:spPr>
          <a:xfrm>
            <a:off x="9510045" y="1458851"/>
            <a:ext cx="2248820" cy="523220"/>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tx2"/>
                </a:solidFill>
                <a:latin typeface="+mj-lt"/>
                <a:cs typeface="Calibri" panose="020F0502020204030204" pitchFamily="34" charset="0"/>
              </a:rPr>
              <a:t>Languages</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tx2"/>
              </a:solidFill>
              <a:latin typeface="+mj-lt"/>
              <a:cs typeface="Calibri" panose="020F0502020204030204" pitchFamily="34" charset="0"/>
            </a:endParaRPr>
          </a:p>
        </p:txBody>
      </p:sp>
      <p:sp>
        <p:nvSpPr>
          <p:cNvPr id="5" name="Picture Placeholder 4">
            <a:extLst>
              <a:ext uri="{FF2B5EF4-FFF2-40B4-BE49-F238E27FC236}">
                <a16:creationId xmlns:a16="http://schemas.microsoft.com/office/drawing/2014/main" id="{6E6BED42-C452-A943-BC58-DEFB5FF0C467}"/>
              </a:ext>
            </a:extLst>
          </p:cNvPr>
          <p:cNvSpPr>
            <a:spLocks noGrp="1"/>
          </p:cNvSpPr>
          <p:nvPr>
            <p:ph type="pic" sz="quarter" idx="35" hasCustomPrompt="1"/>
          </p:nvPr>
        </p:nvSpPr>
        <p:spPr>
          <a:xfrm>
            <a:off x="9940922" y="184652"/>
            <a:ext cx="1808166" cy="633495"/>
          </a:xfrm>
          <a:prstGeom prst="rect">
            <a:avLst/>
          </a:prstGeom>
        </p:spPr>
        <p:txBody>
          <a:bodyPr anchor="ctr" anchorCtr="0">
            <a:noAutofit/>
          </a:bodyPr>
          <a:lstStyle>
            <a:lvl1pPr marL="0" indent="0" algn="ctr">
              <a:buFont typeface="Arial" panose="020B0604020202020204" pitchFamily="34" charset="0"/>
              <a:buNone/>
              <a:defRPr b="0">
                <a:solidFill>
                  <a:schemeClr val="tx2"/>
                </a:solidFill>
                <a:latin typeface="+mn-lt"/>
              </a:defRPr>
            </a:lvl1pPr>
          </a:lstStyle>
          <a:p>
            <a:r>
              <a:rPr lang="en-US" dirty="0"/>
              <a:t>Insert logo</a:t>
            </a:r>
          </a:p>
        </p:txBody>
      </p:sp>
      <p:sp>
        <p:nvSpPr>
          <p:cNvPr id="42" name="Slide Number Placeholder 5">
            <a:extLst>
              <a:ext uri="{FF2B5EF4-FFF2-40B4-BE49-F238E27FC236}">
                <a16:creationId xmlns:a16="http://schemas.microsoft.com/office/drawing/2014/main" id="{3AA1ED5E-FC72-F74E-B1E0-0DEAD288D5A6}"/>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43" name="Footer Placeholder 3">
            <a:extLst>
              <a:ext uri="{FF2B5EF4-FFF2-40B4-BE49-F238E27FC236}">
                <a16:creationId xmlns:a16="http://schemas.microsoft.com/office/drawing/2014/main" id="{4DACD81E-0F9C-6B44-9D15-A80EFB90CEC3}"/>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3" name="Title 3">
            <a:extLst>
              <a:ext uri="{FF2B5EF4-FFF2-40B4-BE49-F238E27FC236}">
                <a16:creationId xmlns:a16="http://schemas.microsoft.com/office/drawing/2014/main" id="{3578EB5A-E0BD-4218-90DF-665F221F1945}"/>
              </a:ext>
            </a:extLst>
          </p:cNvPr>
          <p:cNvSpPr>
            <a:spLocks noGrp="1"/>
          </p:cNvSpPr>
          <p:nvPr>
            <p:ph type="title" hasCustomPrompt="1"/>
          </p:nvPr>
        </p:nvSpPr>
        <p:spPr>
          <a:xfrm>
            <a:off x="1873075" y="343569"/>
            <a:ext cx="8067846" cy="534829"/>
          </a:xfrm>
        </p:spPr>
        <p:txBody>
          <a:bodyPr vert="horz" lIns="0" tIns="45720" rIns="91440" bIns="45720" rtlCol="0" anchor="t" anchorCtr="0">
            <a:noAutofit/>
          </a:bodyPr>
          <a:lstStyle>
            <a:lvl1pPr>
              <a:defRPr lang="en-US" dirty="0">
                <a:solidFill>
                  <a:schemeClr val="tx2"/>
                </a:solidFill>
              </a:defRPr>
            </a:lvl1pPr>
          </a:lstStyle>
          <a:p>
            <a:pPr lvl="0"/>
            <a:r>
              <a:rPr lang="en-US" dirty="0"/>
              <a:t>Insert Name Surname</a:t>
            </a:r>
          </a:p>
        </p:txBody>
      </p:sp>
      <p:sp>
        <p:nvSpPr>
          <p:cNvPr id="34" name="Text Placeholder 22">
            <a:extLst>
              <a:ext uri="{FF2B5EF4-FFF2-40B4-BE49-F238E27FC236}">
                <a16:creationId xmlns:a16="http://schemas.microsoft.com/office/drawing/2014/main" id="{A75B5BF4-47D5-4A18-8F1F-A3991A179758}"/>
              </a:ext>
            </a:extLst>
          </p:cNvPr>
          <p:cNvSpPr>
            <a:spLocks noGrp="1"/>
          </p:cNvSpPr>
          <p:nvPr>
            <p:ph type="body" sz="quarter" idx="12" hasCustomPrompt="1"/>
          </p:nvPr>
        </p:nvSpPr>
        <p:spPr>
          <a:xfrm>
            <a:off x="460744" y="952599"/>
            <a:ext cx="11288344" cy="343252"/>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Insert Job title</a:t>
            </a:r>
          </a:p>
        </p:txBody>
      </p:sp>
      <p:sp>
        <p:nvSpPr>
          <p:cNvPr id="45" name="Text Placeholder 4">
            <a:extLst>
              <a:ext uri="{FF2B5EF4-FFF2-40B4-BE49-F238E27FC236}">
                <a16:creationId xmlns:a16="http://schemas.microsoft.com/office/drawing/2014/main" id="{E84A35F3-573F-493A-9BB5-CDB1871AE18F}"/>
              </a:ext>
            </a:extLst>
          </p:cNvPr>
          <p:cNvSpPr>
            <a:spLocks noGrp="1"/>
          </p:cNvSpPr>
          <p:nvPr>
            <p:ph type="body" sz="quarter" idx="32"/>
          </p:nvPr>
        </p:nvSpPr>
        <p:spPr>
          <a:xfrm>
            <a:off x="2509098" y="1749519"/>
            <a:ext cx="2913134" cy="1278706"/>
          </a:xfrm>
          <a:prstGeom prst="rect">
            <a:avLst/>
          </a:prstGeom>
        </p:spPr>
        <p:txBody>
          <a:bodyPr>
            <a:noAutofit/>
          </a:bodyPr>
          <a:lstStyle>
            <a:lvl1pPr>
              <a:spcBef>
                <a:spcPts val="0"/>
              </a:spcBef>
              <a:spcAft>
                <a:spcPts val="200"/>
              </a:spcAft>
              <a:buClr>
                <a:schemeClr val="accent1"/>
              </a:buClr>
              <a:defRPr lang="en-US" sz="1200" kern="1200" dirty="0">
                <a:solidFill>
                  <a:schemeClr val="tx2"/>
                </a:solidFill>
                <a:latin typeface="+mn-lt"/>
                <a:ea typeface="Cambria" panose="02040503050406030204" pitchFamily="18" charset="0"/>
                <a:cs typeface="Calibri" panose="020F0502020204030204" pitchFamily="34" charset="0"/>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46" name="Text Placeholder 4">
            <a:extLst>
              <a:ext uri="{FF2B5EF4-FFF2-40B4-BE49-F238E27FC236}">
                <a16:creationId xmlns:a16="http://schemas.microsoft.com/office/drawing/2014/main" id="{1A7CF413-A654-4EB4-B519-46AA63AE393D}"/>
              </a:ext>
            </a:extLst>
          </p:cNvPr>
          <p:cNvSpPr>
            <a:spLocks noGrp="1"/>
          </p:cNvSpPr>
          <p:nvPr>
            <p:ph type="body" sz="quarter" idx="33"/>
          </p:nvPr>
        </p:nvSpPr>
        <p:spPr>
          <a:xfrm>
            <a:off x="5649467" y="1749519"/>
            <a:ext cx="3744465" cy="1278706"/>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48" name="Text Placeholder 4">
            <a:extLst>
              <a:ext uri="{FF2B5EF4-FFF2-40B4-BE49-F238E27FC236}">
                <a16:creationId xmlns:a16="http://schemas.microsoft.com/office/drawing/2014/main" id="{0B4F379B-BC2F-4858-8C07-5C827C0314C8}"/>
              </a:ext>
            </a:extLst>
          </p:cNvPr>
          <p:cNvSpPr>
            <a:spLocks noGrp="1"/>
          </p:cNvSpPr>
          <p:nvPr>
            <p:ph type="body" sz="quarter" idx="34" hasCustomPrompt="1"/>
          </p:nvPr>
        </p:nvSpPr>
        <p:spPr>
          <a:xfrm>
            <a:off x="9600308" y="1749519"/>
            <a:ext cx="1957017" cy="1278706"/>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GB"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GB" dirty="0"/>
              <a:t>Text</a:t>
            </a:r>
          </a:p>
        </p:txBody>
      </p:sp>
      <p:sp>
        <p:nvSpPr>
          <p:cNvPr id="53" name="Text Placeholder 4">
            <a:extLst>
              <a:ext uri="{FF2B5EF4-FFF2-40B4-BE49-F238E27FC236}">
                <a16:creationId xmlns:a16="http://schemas.microsoft.com/office/drawing/2014/main" id="{78E42CAB-23DC-47DC-8ECF-2DEDFC9864A5}"/>
              </a:ext>
            </a:extLst>
          </p:cNvPr>
          <p:cNvSpPr>
            <a:spLocks noGrp="1"/>
          </p:cNvSpPr>
          <p:nvPr>
            <p:ph type="body" sz="quarter" idx="29"/>
          </p:nvPr>
        </p:nvSpPr>
        <p:spPr>
          <a:xfrm>
            <a:off x="455708" y="3605213"/>
            <a:ext cx="3744465" cy="2595396"/>
          </a:xfrm>
          <a:prstGeom prst="rect">
            <a:avLst/>
          </a:prstGeom>
        </p:spPr>
        <p:txBody>
          <a:bodyPr>
            <a:noAutofit/>
          </a:bodyPr>
          <a:lstStyle>
            <a:lvl1pPr>
              <a:spcBef>
                <a:spcPts val="0"/>
              </a:spcBef>
              <a:spcAft>
                <a:spcPts val="200"/>
              </a:spcAft>
              <a:buClr>
                <a:schemeClr val="accent1"/>
              </a:buClr>
              <a:defRPr sz="1200" b="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55" name="Text Placeholder 4">
            <a:extLst>
              <a:ext uri="{FF2B5EF4-FFF2-40B4-BE49-F238E27FC236}">
                <a16:creationId xmlns:a16="http://schemas.microsoft.com/office/drawing/2014/main" id="{428F7AE9-B31F-43B5-8A13-DF6E9F2B3E70}"/>
              </a:ext>
            </a:extLst>
          </p:cNvPr>
          <p:cNvSpPr>
            <a:spLocks noGrp="1"/>
          </p:cNvSpPr>
          <p:nvPr>
            <p:ph type="body" sz="quarter" idx="30"/>
          </p:nvPr>
        </p:nvSpPr>
        <p:spPr>
          <a:xfrm>
            <a:off x="4516097" y="3605213"/>
            <a:ext cx="4310279" cy="2587040"/>
          </a:xfrm>
          <a:prstGeom prst="rect">
            <a:avLst/>
          </a:prstGeom>
        </p:spPr>
        <p:txBody>
          <a:bodyPr vert="horz" lIns="91440" tIns="45720" rIns="91440" bIns="45720" rtlCol="0">
            <a:noAutofit/>
          </a:bodyPr>
          <a:lstStyle>
            <a:lvl1pPr>
              <a:defRPr lang="en-US" sz="1200" b="0" dirty="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56" name="Text Placeholder 4">
            <a:extLst>
              <a:ext uri="{FF2B5EF4-FFF2-40B4-BE49-F238E27FC236}">
                <a16:creationId xmlns:a16="http://schemas.microsoft.com/office/drawing/2014/main" id="{F7B782AE-DD52-464C-8442-459CF5365BF6}"/>
              </a:ext>
            </a:extLst>
          </p:cNvPr>
          <p:cNvSpPr>
            <a:spLocks noGrp="1"/>
          </p:cNvSpPr>
          <p:nvPr>
            <p:ph type="body" sz="quarter" idx="31"/>
          </p:nvPr>
        </p:nvSpPr>
        <p:spPr>
          <a:xfrm>
            <a:off x="9143257" y="3605214"/>
            <a:ext cx="2414068" cy="727592"/>
          </a:xfrm>
          <a:prstGeom prst="rect">
            <a:avLst/>
          </a:prstGeom>
        </p:spPr>
        <p:txBody>
          <a:bodyPr>
            <a:noAutofit/>
          </a:bodyPr>
          <a:lstStyle>
            <a:lvl1pPr>
              <a:spcBef>
                <a:spcPts val="0"/>
              </a:spcBef>
              <a:spcAft>
                <a:spcPts val="200"/>
              </a:spcAft>
              <a:buClr>
                <a:schemeClr val="accent1"/>
              </a:buClr>
              <a:defRPr sz="1200">
                <a:solidFill>
                  <a:schemeClr val="tx2"/>
                </a:solidFill>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57" name="Tabellenplatzhalter 50">
            <a:extLst>
              <a:ext uri="{FF2B5EF4-FFF2-40B4-BE49-F238E27FC236}">
                <a16:creationId xmlns:a16="http://schemas.microsoft.com/office/drawing/2014/main" id="{D3BB84CF-4D3F-4BAF-AA82-4E42433C2F43}"/>
              </a:ext>
            </a:extLst>
          </p:cNvPr>
          <p:cNvSpPr>
            <a:spLocks noGrp="1"/>
          </p:cNvSpPr>
          <p:nvPr>
            <p:ph type="tbl" sz="quarter" idx="20" hasCustomPrompt="1"/>
          </p:nvPr>
        </p:nvSpPr>
        <p:spPr>
          <a:xfrm>
            <a:off x="9136249" y="4765799"/>
            <a:ext cx="2414068" cy="1274389"/>
          </a:xfrm>
          <a:prstGeom prst="rect">
            <a:avLst/>
          </a:prstGeom>
        </p:spPr>
        <p:txBody>
          <a:bodyPr anchor="ctr" anchorCtr="0">
            <a:noAutofit/>
          </a:bodyPr>
          <a:lstStyle>
            <a:lvl1pPr algn="ctr">
              <a:defRPr sz="1100" b="0">
                <a:solidFill>
                  <a:schemeClr val="tx1"/>
                </a:solidFill>
                <a:latin typeface="+mn-lt"/>
              </a:defRPr>
            </a:lvl1pPr>
          </a:lstStyle>
          <a:p>
            <a:r>
              <a:rPr lang="en-US" noProof="0" dirty="0"/>
              <a:t>Table</a:t>
            </a:r>
          </a:p>
        </p:txBody>
      </p:sp>
      <p:sp>
        <p:nvSpPr>
          <p:cNvPr id="60" name="Text Placeholder 2">
            <a:extLst>
              <a:ext uri="{FF2B5EF4-FFF2-40B4-BE49-F238E27FC236}">
                <a16:creationId xmlns:a16="http://schemas.microsoft.com/office/drawing/2014/main" id="{1FF613CA-D767-4CEF-9488-BC7BAD49C942}"/>
              </a:ext>
            </a:extLst>
          </p:cNvPr>
          <p:cNvSpPr>
            <a:spLocks noGrp="1"/>
          </p:cNvSpPr>
          <p:nvPr>
            <p:ph type="body" sz="quarter" idx="36"/>
          </p:nvPr>
        </p:nvSpPr>
        <p:spPr>
          <a:xfrm>
            <a:off x="457200" y="98303"/>
            <a:ext cx="5846011" cy="228600"/>
          </a:xfrm>
          <a:prstGeom prst="rect">
            <a:avLst/>
          </a:prstGeom>
        </p:spPr>
        <p:txBody>
          <a:bodyPr lIns="0">
            <a:noAutofit/>
          </a:bodyPr>
          <a:lstStyle>
            <a:lvl1pPr marL="0" indent="0">
              <a:buNone/>
              <a:defRPr sz="1000">
                <a:solidFill>
                  <a:schemeClr val="tx2"/>
                </a:solidFill>
                <a:latin typeface="+mn-lt"/>
                <a:ea typeface="Cambria" panose="02040503050406030204" pitchFamily="18" charset="0"/>
              </a:defRPr>
            </a:lvl1pPr>
          </a:lstStyle>
          <a:p>
            <a:pPr lvl="0"/>
            <a:r>
              <a:rPr lang="en-US" dirty="0"/>
              <a:t>Click to edit Master text styles</a:t>
            </a:r>
          </a:p>
        </p:txBody>
      </p:sp>
      <p:sp>
        <p:nvSpPr>
          <p:cNvPr id="36" name="Rectangle 35">
            <a:extLst>
              <a:ext uri="{FF2B5EF4-FFF2-40B4-BE49-F238E27FC236}">
                <a16:creationId xmlns:a16="http://schemas.microsoft.com/office/drawing/2014/main" id="{74D0F1EE-038A-408D-8E1E-3FC455A38DB1}"/>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194451909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Option 11">
    <p:bg>
      <p:bgPr>
        <a:solidFill>
          <a:schemeClr val="bg1"/>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52F038EE-63DB-4468-A7FF-D4C488C62278}"/>
              </a:ext>
            </a:extLst>
          </p:cNvPr>
          <p:cNvSpPr/>
          <p:nvPr userDrawn="1"/>
        </p:nvSpPr>
        <p:spPr>
          <a:xfrm rot="16200000">
            <a:off x="9386887" y="4069666"/>
            <a:ext cx="2805111" cy="2805111"/>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6">
            <a:extLst>
              <a:ext uri="{FF2B5EF4-FFF2-40B4-BE49-F238E27FC236}">
                <a16:creationId xmlns:a16="http://schemas.microsoft.com/office/drawing/2014/main" id="{D0C92DC8-8F9B-FD4C-A423-93681EAA05B2}"/>
              </a:ext>
            </a:extLst>
          </p:cNvPr>
          <p:cNvSpPr>
            <a:spLocks noGrp="1"/>
          </p:cNvSpPr>
          <p:nvPr>
            <p:ph type="pic" sz="quarter" idx="17" hasCustomPrompt="1"/>
          </p:nvPr>
        </p:nvSpPr>
        <p:spPr>
          <a:xfrm>
            <a:off x="4064357" y="1202822"/>
            <a:ext cx="8127643" cy="5655179"/>
          </a:xfrm>
          <a:custGeom>
            <a:avLst/>
            <a:gdLst>
              <a:gd name="connsiteX0" fmla="*/ 8127643 w 8127643"/>
              <a:gd name="connsiteY0" fmla="*/ 0 h 5655179"/>
              <a:gd name="connsiteX1" fmla="*/ 8127643 w 8127643"/>
              <a:gd name="connsiteY1" fmla="*/ 4020543 h 5655179"/>
              <a:gd name="connsiteX2" fmla="*/ 5775413 w 8127643"/>
              <a:gd name="connsiteY2" fmla="*/ 5655179 h 5655179"/>
              <a:gd name="connsiteX3" fmla="*/ 0 w 8127643"/>
              <a:gd name="connsiteY3" fmla="*/ 5655179 h 5655179"/>
            </a:gdLst>
            <a:ahLst/>
            <a:cxnLst>
              <a:cxn ang="0">
                <a:pos x="connsiteX0" y="connsiteY0"/>
              </a:cxn>
              <a:cxn ang="0">
                <a:pos x="connsiteX1" y="connsiteY1"/>
              </a:cxn>
              <a:cxn ang="0">
                <a:pos x="connsiteX2" y="connsiteY2"/>
              </a:cxn>
              <a:cxn ang="0">
                <a:pos x="connsiteX3" y="connsiteY3"/>
              </a:cxn>
            </a:cxnLst>
            <a:rect l="l" t="t" r="r" b="b"/>
            <a:pathLst>
              <a:path w="8127643" h="5655179">
                <a:moveTo>
                  <a:pt x="8127643" y="0"/>
                </a:moveTo>
                <a:lnTo>
                  <a:pt x="8127643" y="4020543"/>
                </a:lnTo>
                <a:lnTo>
                  <a:pt x="5775413" y="5655179"/>
                </a:lnTo>
                <a:lnTo>
                  <a:pt x="0" y="5655179"/>
                </a:lnTo>
                <a:close/>
              </a:path>
            </a:pathLst>
          </a:custGeom>
          <a:solidFill>
            <a:schemeClr val="bg2"/>
          </a:solidFill>
        </p:spPr>
        <p:txBody>
          <a:bodyPr wrap="square" tIns="2376000" anchor="ctr" anchorCtr="0">
            <a:noAutofit/>
          </a:bodyPr>
          <a:lstStyle>
            <a:lvl1pPr marL="0" marR="0" indent="0" algn="ctr"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lang="en-GB" sz="1800">
                <a:solidFill>
                  <a:schemeClr val="bg1"/>
                </a:solidFill>
              </a:defRPr>
            </a:lvl1pPr>
          </a:lstStyle>
          <a:p>
            <a:pPr marL="0" marR="0" lvl="0" indent="0" algn="ctr"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en-GB" dirty="0"/>
              <a:t>Insert Picture</a:t>
            </a:r>
            <a:br>
              <a:rPr lang="en-GB" dirty="0"/>
            </a:br>
            <a:r>
              <a:rPr lang="en-GB" dirty="0"/>
              <a:t>Here</a:t>
            </a:r>
          </a:p>
          <a:p>
            <a:pPr marL="0" lvl="0" indent="0" algn="ctr">
              <a:buFont typeface="Arial" panose="020B0604020202020204" pitchFamily="34" charset="0"/>
              <a:buNone/>
            </a:pPr>
            <a:endParaRPr lang="en-GB" dirty="0"/>
          </a:p>
        </p:txBody>
      </p:sp>
      <p:pic>
        <p:nvPicPr>
          <p:cNvPr id="13" name="Graphic 12">
            <a:extLst>
              <a:ext uri="{FF2B5EF4-FFF2-40B4-BE49-F238E27FC236}">
                <a16:creationId xmlns:a16="http://schemas.microsoft.com/office/drawing/2014/main" id="{A0324D3F-C030-485A-A8C3-01CA627A791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9" name="Text Placeholder 10">
            <a:extLst>
              <a:ext uri="{FF2B5EF4-FFF2-40B4-BE49-F238E27FC236}">
                <a16:creationId xmlns:a16="http://schemas.microsoft.com/office/drawing/2014/main" id="{873B3ECE-66FA-8F4A-9BA4-70589FB28FAA}"/>
              </a:ext>
            </a:extLst>
          </p:cNvPr>
          <p:cNvSpPr>
            <a:spLocks noGrp="1"/>
          </p:cNvSpPr>
          <p:nvPr>
            <p:ph type="body" sz="quarter" idx="19"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20" name="Text Placeholder 10">
            <a:extLst>
              <a:ext uri="{FF2B5EF4-FFF2-40B4-BE49-F238E27FC236}">
                <a16:creationId xmlns:a16="http://schemas.microsoft.com/office/drawing/2014/main" id="{36A979B9-FB94-CB41-BC9E-B6C559E0F5C4}"/>
              </a:ext>
            </a:extLst>
          </p:cNvPr>
          <p:cNvSpPr>
            <a:spLocks noGrp="1"/>
          </p:cNvSpPr>
          <p:nvPr>
            <p:ph type="body" sz="quarter" idx="20" hasCustomPrompt="1"/>
          </p:nvPr>
        </p:nvSpPr>
        <p:spPr>
          <a:xfrm>
            <a:off x="457198" y="1181779"/>
            <a:ext cx="6443999" cy="381000"/>
          </a:xfrm>
          <a:prstGeom prst="rect">
            <a:avLst/>
          </a:prstGeom>
        </p:spPr>
        <p:txBody>
          <a:bodyPr lIns="0" anchor="t">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0" name="Footer Placeholder 3">
            <a:extLst>
              <a:ext uri="{FF2B5EF4-FFF2-40B4-BE49-F238E27FC236}">
                <a16:creationId xmlns:a16="http://schemas.microsoft.com/office/drawing/2014/main" id="{1EA545EF-3BBC-2B43-B7B5-3EDDA30C4DAA}"/>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1" name="Title 1">
            <a:extLst>
              <a:ext uri="{FF2B5EF4-FFF2-40B4-BE49-F238E27FC236}">
                <a16:creationId xmlns:a16="http://schemas.microsoft.com/office/drawing/2014/main" id="{49D50170-9A03-4DF0-ADB1-B9E0F3635F8B}"/>
              </a:ext>
            </a:extLst>
          </p:cNvPr>
          <p:cNvSpPr>
            <a:spLocks noGrp="1"/>
          </p:cNvSpPr>
          <p:nvPr>
            <p:ph type="title" hasCustomPrompt="1"/>
          </p:nvPr>
        </p:nvSpPr>
        <p:spPr>
          <a:xfrm>
            <a:off x="457199" y="1880257"/>
            <a:ext cx="6443998" cy="990000"/>
          </a:xfrm>
        </p:spPr>
        <p:txBody>
          <a:bodyPr vert="horz" lIns="0" tIns="0" rIns="0" bIns="0" rtlCol="0" anchor="b">
            <a:noAutofit/>
          </a:bodyPr>
          <a:lstStyle>
            <a:lvl1pPr>
              <a:defRPr lang="en-GB" sz="4000" b="0" smtClean="0">
                <a:solidFill>
                  <a:schemeClr val="tx2"/>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Tree>
    <p:extLst>
      <p:ext uri="{BB962C8B-B14F-4D97-AF65-F5344CB8AC3E}">
        <p14:creationId xmlns:p14="http://schemas.microsoft.com/office/powerpoint/2010/main" val="409283279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file - Option 2 White">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D0715125-3DF7-40C1-AEC0-53BCA4753F84}"/>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8" name="Straight Connector 27">
            <a:extLst>
              <a:ext uri="{FF2B5EF4-FFF2-40B4-BE49-F238E27FC236}">
                <a16:creationId xmlns:a16="http://schemas.microsoft.com/office/drawing/2014/main" id="{B3F65727-F472-4831-85B6-268C41ADA733}"/>
              </a:ext>
            </a:extLst>
          </p:cNvPr>
          <p:cNvCxnSpPr>
            <a:cxnSpLocks/>
          </p:cNvCxnSpPr>
          <p:nvPr/>
        </p:nvCxnSpPr>
        <p:spPr>
          <a:xfrm>
            <a:off x="457197" y="921289"/>
            <a:ext cx="11304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3B7DAD36-421A-5249-8BCD-4F8131E6D04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 name="TextBox 1">
            <a:extLst>
              <a:ext uri="{FF2B5EF4-FFF2-40B4-BE49-F238E27FC236}">
                <a16:creationId xmlns:a16="http://schemas.microsoft.com/office/drawing/2014/main" id="{AE141CCC-0C11-5145-9DC5-DC17B7B22FDA}"/>
              </a:ext>
            </a:extLst>
          </p:cNvPr>
          <p:cNvSpPr txBox="1"/>
          <p:nvPr/>
        </p:nvSpPr>
        <p:spPr>
          <a:xfrm>
            <a:off x="4730292" y="-922264"/>
            <a:ext cx="1975308" cy="994627"/>
          </a:xfrm>
          <a:prstGeom prst="rect">
            <a:avLst/>
          </a:prstGeom>
        </p:spPr>
        <p:txBody>
          <a:bodyPr vert="horz" wrap="square" lIns="0" tIns="45720" rIns="91440" bIns="45720" rtlCol="0" anchor="t">
            <a:noAutofit/>
          </a:bodyPr>
          <a:lstStyle/>
          <a:p>
            <a:pPr algn="l"/>
            <a:endParaRPr lang="en-US" dirty="0"/>
          </a:p>
        </p:txBody>
      </p:sp>
      <p:sp>
        <p:nvSpPr>
          <p:cNvPr id="3" name="Rectangle 2">
            <a:extLst>
              <a:ext uri="{FF2B5EF4-FFF2-40B4-BE49-F238E27FC236}">
                <a16:creationId xmlns:a16="http://schemas.microsoft.com/office/drawing/2014/main" id="{87833BBB-E396-A344-B471-B947315AAE46}"/>
              </a:ext>
            </a:extLst>
          </p:cNvPr>
          <p:cNvSpPr/>
          <p:nvPr/>
        </p:nvSpPr>
        <p:spPr>
          <a:xfrm>
            <a:off x="347658" y="336514"/>
            <a:ext cx="1521570" cy="584775"/>
          </a:xfrm>
          <a:prstGeom prst="rect">
            <a:avLst/>
          </a:prstGeom>
        </p:spPr>
        <p:txBody>
          <a:bodyPr wrap="none">
            <a:noAutofit/>
          </a:bodyPr>
          <a:lstStyle/>
          <a:p>
            <a: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pPr>
            <a:r>
              <a:rPr lang="en-US" sz="3200" b="0" kern="1200" dirty="0">
                <a:solidFill>
                  <a:schemeClr val="tx2"/>
                </a:solidFill>
                <a:latin typeface="+mj-lt"/>
                <a:cs typeface="Calibri" panose="020F0502020204030204" pitchFamily="34" charset="0"/>
              </a:rPr>
              <a:t>Profile:</a:t>
            </a:r>
          </a:p>
        </p:txBody>
      </p:sp>
      <p:sp>
        <p:nvSpPr>
          <p:cNvPr id="44" name="Rectangle 43">
            <a:extLst>
              <a:ext uri="{FF2B5EF4-FFF2-40B4-BE49-F238E27FC236}">
                <a16:creationId xmlns:a16="http://schemas.microsoft.com/office/drawing/2014/main" id="{540B555E-319A-C849-A622-CA9E805CFF47}"/>
              </a:ext>
            </a:extLst>
          </p:cNvPr>
          <p:cNvSpPr/>
          <p:nvPr/>
        </p:nvSpPr>
        <p:spPr>
          <a:xfrm>
            <a:off x="365446" y="3314545"/>
            <a:ext cx="4025461" cy="307777"/>
          </a:xfrm>
          <a:prstGeom prst="rect">
            <a:avLst/>
          </a:prstGeom>
        </p:spPr>
        <p:txBody>
          <a:bodyPr wrap="non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Focus industries and consulting expertise</a:t>
            </a:r>
          </a:p>
        </p:txBody>
      </p:sp>
      <p:sp>
        <p:nvSpPr>
          <p:cNvPr id="47" name="Rectangle 46">
            <a:extLst>
              <a:ext uri="{FF2B5EF4-FFF2-40B4-BE49-F238E27FC236}">
                <a16:creationId xmlns:a16="http://schemas.microsoft.com/office/drawing/2014/main" id="{D96DC9A5-9A55-5247-A440-C6F3E635C064}"/>
              </a:ext>
            </a:extLst>
          </p:cNvPr>
          <p:cNvSpPr/>
          <p:nvPr/>
        </p:nvSpPr>
        <p:spPr>
          <a:xfrm>
            <a:off x="4415970" y="3314545"/>
            <a:ext cx="2941831" cy="523220"/>
          </a:xfrm>
          <a:prstGeom prst="rect">
            <a:avLst/>
          </a:prstGeom>
        </p:spPr>
        <p:txBody>
          <a:bodyPr wrap="non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Project experience (selection)</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accent1"/>
              </a:solidFill>
              <a:latin typeface="+mj-lt"/>
              <a:cs typeface="Calibri" panose="020F0502020204030204" pitchFamily="34" charset="0"/>
            </a:endParaRPr>
          </a:p>
        </p:txBody>
      </p:sp>
      <p:sp>
        <p:nvSpPr>
          <p:cNvPr id="49" name="Rectangle 48">
            <a:extLst>
              <a:ext uri="{FF2B5EF4-FFF2-40B4-BE49-F238E27FC236}">
                <a16:creationId xmlns:a16="http://schemas.microsoft.com/office/drawing/2014/main" id="{A56B113D-ED25-E54F-8A13-BA592DCF1171}"/>
              </a:ext>
            </a:extLst>
          </p:cNvPr>
          <p:cNvSpPr/>
          <p:nvPr/>
        </p:nvSpPr>
        <p:spPr>
          <a:xfrm>
            <a:off x="9044498" y="3257393"/>
            <a:ext cx="2941831" cy="523220"/>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Certifications/attainments</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accent1"/>
              </a:solidFill>
              <a:latin typeface="+mj-lt"/>
              <a:cs typeface="Calibri" panose="020F0502020204030204" pitchFamily="34" charset="0"/>
            </a:endParaRPr>
          </a:p>
        </p:txBody>
      </p:sp>
      <p:sp>
        <p:nvSpPr>
          <p:cNvPr id="50" name="Tabellenplatzhalter 50">
            <a:extLst>
              <a:ext uri="{FF2B5EF4-FFF2-40B4-BE49-F238E27FC236}">
                <a16:creationId xmlns:a16="http://schemas.microsoft.com/office/drawing/2014/main" id="{0C79C2C0-C248-5440-B1D7-933AA34B1052}"/>
              </a:ext>
            </a:extLst>
          </p:cNvPr>
          <p:cNvSpPr>
            <a:spLocks noGrp="1"/>
          </p:cNvSpPr>
          <p:nvPr>
            <p:ph type="tbl" sz="quarter" idx="20" hasCustomPrompt="1"/>
          </p:nvPr>
        </p:nvSpPr>
        <p:spPr>
          <a:xfrm>
            <a:off x="9136249" y="4765799"/>
            <a:ext cx="2414068" cy="1274389"/>
          </a:xfrm>
          <a:prstGeom prst="rect">
            <a:avLst/>
          </a:prstGeom>
        </p:spPr>
        <p:txBody>
          <a:bodyPr anchor="ctr" anchorCtr="0">
            <a:noAutofit/>
          </a:bodyPr>
          <a:lstStyle>
            <a:lvl1pPr algn="ctr">
              <a:defRPr sz="1100" b="0">
                <a:solidFill>
                  <a:schemeClr val="tx1"/>
                </a:solidFill>
                <a:latin typeface="+mn-lt"/>
              </a:defRPr>
            </a:lvl1pPr>
          </a:lstStyle>
          <a:p>
            <a:r>
              <a:rPr lang="en-US" noProof="0" dirty="0"/>
              <a:t>Table</a:t>
            </a:r>
          </a:p>
        </p:txBody>
      </p:sp>
      <p:sp>
        <p:nvSpPr>
          <p:cNvPr id="24" name="Rectangle 23">
            <a:extLst>
              <a:ext uri="{FF2B5EF4-FFF2-40B4-BE49-F238E27FC236}">
                <a16:creationId xmlns:a16="http://schemas.microsoft.com/office/drawing/2014/main" id="{42BF8E54-FBBB-2045-AC58-610D9878529C}"/>
              </a:ext>
            </a:extLst>
          </p:cNvPr>
          <p:cNvSpPr/>
          <p:nvPr/>
        </p:nvSpPr>
        <p:spPr>
          <a:xfrm>
            <a:off x="9044498" y="4402673"/>
            <a:ext cx="2941831" cy="307777"/>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Industry experience</a:t>
            </a:r>
          </a:p>
        </p:txBody>
      </p:sp>
      <p:sp>
        <p:nvSpPr>
          <p:cNvPr id="35" name="Rectangle 34">
            <a:extLst>
              <a:ext uri="{FF2B5EF4-FFF2-40B4-BE49-F238E27FC236}">
                <a16:creationId xmlns:a16="http://schemas.microsoft.com/office/drawing/2014/main" id="{21971B91-92A2-5A4E-A8C3-5DB4829D97D6}"/>
              </a:ext>
            </a:extLst>
          </p:cNvPr>
          <p:cNvSpPr/>
          <p:nvPr/>
        </p:nvSpPr>
        <p:spPr>
          <a:xfrm>
            <a:off x="2109743" y="1458851"/>
            <a:ext cx="3677164" cy="523220"/>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Professional experience</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accent1"/>
              </a:solidFill>
              <a:latin typeface="+mj-lt"/>
              <a:cs typeface="Calibri" panose="020F0502020204030204" pitchFamily="34" charset="0"/>
            </a:endParaRPr>
          </a:p>
        </p:txBody>
      </p:sp>
      <p:sp>
        <p:nvSpPr>
          <p:cNvPr id="37" name="Rectangle 36">
            <a:extLst>
              <a:ext uri="{FF2B5EF4-FFF2-40B4-BE49-F238E27FC236}">
                <a16:creationId xmlns:a16="http://schemas.microsoft.com/office/drawing/2014/main" id="{F45DF948-8092-334C-9F4C-C15A7407E3D9}"/>
              </a:ext>
            </a:extLst>
          </p:cNvPr>
          <p:cNvSpPr/>
          <p:nvPr/>
        </p:nvSpPr>
        <p:spPr>
          <a:xfrm>
            <a:off x="5546326" y="1458851"/>
            <a:ext cx="3677164" cy="523220"/>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Education</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accent1"/>
              </a:solidFill>
              <a:latin typeface="+mj-lt"/>
              <a:cs typeface="Calibri" panose="020F0502020204030204" pitchFamily="34" charset="0"/>
            </a:endParaRPr>
          </a:p>
        </p:txBody>
      </p:sp>
      <p:sp>
        <p:nvSpPr>
          <p:cNvPr id="39" name="Rectangle 38">
            <a:extLst>
              <a:ext uri="{FF2B5EF4-FFF2-40B4-BE49-F238E27FC236}">
                <a16:creationId xmlns:a16="http://schemas.microsoft.com/office/drawing/2014/main" id="{95F41CA3-5513-FF4A-9A62-21ABC26BA626}"/>
              </a:ext>
            </a:extLst>
          </p:cNvPr>
          <p:cNvSpPr/>
          <p:nvPr/>
        </p:nvSpPr>
        <p:spPr>
          <a:xfrm>
            <a:off x="9510045" y="1458851"/>
            <a:ext cx="2248820" cy="523220"/>
          </a:xfrm>
          <a:prstGeom prst="rect">
            <a:avLst/>
          </a:prstGeom>
        </p:spPr>
        <p:txBody>
          <a:bodyPr wrap="square">
            <a:noAutofit/>
          </a:bodyPr>
          <a:lstStyle/>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r>
              <a:rPr lang="en-US" sz="1400" b="1" kern="1200" dirty="0">
                <a:solidFill>
                  <a:schemeClr val="accent1"/>
                </a:solidFill>
                <a:latin typeface="+mj-lt"/>
                <a:cs typeface="Calibri" panose="020F0502020204030204" pitchFamily="34" charset="0"/>
              </a:rPr>
              <a:t>Languages</a:t>
            </a:r>
          </a:p>
          <a:p>
            <a:pPr marL="0" lvl="0" indent="0" algn="l" defTabSz="914400" rtl="0" eaLnBrk="1" latinLnBrk="0" hangingPunct="1">
              <a:lnSpc>
                <a:spcPct val="100000"/>
              </a:lnSpc>
              <a:spcBef>
                <a:spcPts val="0"/>
              </a:spcBef>
              <a:spcAft>
                <a:spcPts val="0"/>
              </a:spcAft>
              <a:buClr>
                <a:schemeClr val="bg1"/>
              </a:buClr>
              <a:buSzPct val="100000"/>
              <a:buFont typeface="Arial" panose="020B0604020202020204" pitchFamily="34" charset="0"/>
              <a:buNone/>
            </a:pPr>
            <a:endParaRPr lang="en-US" sz="1400" b="1" kern="1200" dirty="0">
              <a:solidFill>
                <a:schemeClr val="accent1"/>
              </a:solidFill>
              <a:latin typeface="+mj-lt"/>
              <a:cs typeface="Calibri" panose="020F0502020204030204" pitchFamily="34" charset="0"/>
            </a:endParaRPr>
          </a:p>
        </p:txBody>
      </p:sp>
      <p:sp>
        <p:nvSpPr>
          <p:cNvPr id="41" name="Picture Placeholder 16">
            <a:extLst>
              <a:ext uri="{FF2B5EF4-FFF2-40B4-BE49-F238E27FC236}">
                <a16:creationId xmlns:a16="http://schemas.microsoft.com/office/drawing/2014/main" id="{614D7300-6843-2243-A6BF-042F56AD7DC1}"/>
              </a:ext>
            </a:extLst>
          </p:cNvPr>
          <p:cNvSpPr>
            <a:spLocks noGrp="1"/>
          </p:cNvSpPr>
          <p:nvPr>
            <p:ph type="pic" sz="quarter" idx="36"/>
          </p:nvPr>
        </p:nvSpPr>
        <p:spPr>
          <a:xfrm>
            <a:off x="734748" y="1532587"/>
            <a:ext cx="1063380" cy="1497008"/>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4">
              <a:extLst>
                <a:ext uri="{96DAC541-7B7A-43D3-8B79-37D633B846F1}">
                  <asvg:svgBlip xmlns:asvg="http://schemas.microsoft.com/office/drawing/2016/SVG/main" r:embed="rId5"/>
                </a:ext>
              </a:extLst>
            </a:blip>
            <a:srcRect/>
            <a:stretch>
              <a:fillRect/>
            </a:stretch>
          </a:blipFill>
          <a:ln w="15875">
            <a:solidFill>
              <a:schemeClr val="accent2"/>
            </a:solidFill>
          </a:ln>
          <a:effectLst>
            <a:innerShdw blurRad="88900" dist="50800" dir="13500000">
              <a:prstClr val="black">
                <a:alpha val="50000"/>
              </a:prstClr>
            </a:innerShdw>
          </a:effectLst>
        </p:spPr>
        <p:txBody>
          <a:bodyPr wrap="square" anchor="ctr" anchorCtr="0">
            <a:noAutofit/>
          </a:bodyPr>
          <a:lstStyle>
            <a:lvl1pPr marL="0" indent="0" algn="ctr">
              <a:buNone/>
              <a:defRPr b="0">
                <a:solidFill>
                  <a:schemeClr val="tx2"/>
                </a:solidFill>
                <a:latin typeface="+mn-lt"/>
              </a:defRPr>
            </a:lvl1pPr>
          </a:lstStyle>
          <a:p>
            <a:r>
              <a:rPr lang="en-US" dirty="0"/>
              <a:t>Click icon to add picture</a:t>
            </a:r>
            <a:endParaRPr lang="en-GB" dirty="0"/>
          </a:p>
        </p:txBody>
      </p:sp>
      <p:sp>
        <p:nvSpPr>
          <p:cNvPr id="42" name="Slide Number Placeholder 5">
            <a:extLst>
              <a:ext uri="{FF2B5EF4-FFF2-40B4-BE49-F238E27FC236}">
                <a16:creationId xmlns:a16="http://schemas.microsoft.com/office/drawing/2014/main" id="{372BFE6A-DA21-A741-8FF9-AC0A4BBF6A7F}"/>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43" name="Footer Placeholder 3">
            <a:extLst>
              <a:ext uri="{FF2B5EF4-FFF2-40B4-BE49-F238E27FC236}">
                <a16:creationId xmlns:a16="http://schemas.microsoft.com/office/drawing/2014/main" id="{A324CE4F-5825-504E-A35E-0CF45D197641}"/>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3" name="Title 3">
            <a:extLst>
              <a:ext uri="{FF2B5EF4-FFF2-40B4-BE49-F238E27FC236}">
                <a16:creationId xmlns:a16="http://schemas.microsoft.com/office/drawing/2014/main" id="{23E66FF2-826D-4FDE-B6E1-F6D4DB40F989}"/>
              </a:ext>
            </a:extLst>
          </p:cNvPr>
          <p:cNvSpPr>
            <a:spLocks noGrp="1"/>
          </p:cNvSpPr>
          <p:nvPr>
            <p:ph type="title" hasCustomPrompt="1"/>
          </p:nvPr>
        </p:nvSpPr>
        <p:spPr>
          <a:xfrm>
            <a:off x="1873075" y="343569"/>
            <a:ext cx="8067846" cy="534829"/>
          </a:xfrm>
        </p:spPr>
        <p:txBody>
          <a:bodyPr vert="horz" lIns="0" tIns="45720" rIns="91440" bIns="45720" rtlCol="0" anchor="t" anchorCtr="0">
            <a:noAutofit/>
          </a:bodyPr>
          <a:lstStyle>
            <a:lvl1pPr>
              <a:defRPr lang="en-US" dirty="0">
                <a:solidFill>
                  <a:schemeClr val="tx2"/>
                </a:solidFill>
              </a:defRPr>
            </a:lvl1pPr>
          </a:lstStyle>
          <a:p>
            <a:pPr lvl="0"/>
            <a:r>
              <a:rPr lang="en-US" dirty="0"/>
              <a:t>Insert Name Surname</a:t>
            </a:r>
          </a:p>
        </p:txBody>
      </p:sp>
      <p:sp>
        <p:nvSpPr>
          <p:cNvPr id="34" name="Text Placeholder 22">
            <a:extLst>
              <a:ext uri="{FF2B5EF4-FFF2-40B4-BE49-F238E27FC236}">
                <a16:creationId xmlns:a16="http://schemas.microsoft.com/office/drawing/2014/main" id="{0D024FDE-41F6-4BA8-BACC-5A3476DCE82B}"/>
              </a:ext>
            </a:extLst>
          </p:cNvPr>
          <p:cNvSpPr>
            <a:spLocks noGrp="1"/>
          </p:cNvSpPr>
          <p:nvPr>
            <p:ph type="body" sz="quarter" idx="12" hasCustomPrompt="1"/>
          </p:nvPr>
        </p:nvSpPr>
        <p:spPr>
          <a:xfrm>
            <a:off x="460744" y="952599"/>
            <a:ext cx="11288344" cy="343252"/>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Insert Job title</a:t>
            </a:r>
          </a:p>
        </p:txBody>
      </p:sp>
      <p:sp>
        <p:nvSpPr>
          <p:cNvPr id="46" name="Text Placeholder 4">
            <a:extLst>
              <a:ext uri="{FF2B5EF4-FFF2-40B4-BE49-F238E27FC236}">
                <a16:creationId xmlns:a16="http://schemas.microsoft.com/office/drawing/2014/main" id="{24D409EF-7749-4308-94ED-9D06C741D61D}"/>
              </a:ext>
            </a:extLst>
          </p:cNvPr>
          <p:cNvSpPr>
            <a:spLocks noGrp="1"/>
          </p:cNvSpPr>
          <p:nvPr>
            <p:ph type="body" sz="quarter" idx="32"/>
          </p:nvPr>
        </p:nvSpPr>
        <p:spPr>
          <a:xfrm>
            <a:off x="2200005" y="1749519"/>
            <a:ext cx="3234880" cy="1278706"/>
          </a:xfrm>
          <a:prstGeom prst="rect">
            <a:avLst/>
          </a:prstGeom>
        </p:spPr>
        <p:txBody>
          <a:bodyPr>
            <a:noAutofit/>
          </a:bodyPr>
          <a:lstStyle>
            <a:lvl1pPr marL="0" marR="0" indent="0" algn="l" defTabSz="914400" rtl="0" eaLnBrk="1" fontAlgn="auto" latinLnBrk="0" hangingPunct="1">
              <a:lnSpc>
                <a:spcPct val="100000"/>
              </a:lnSpc>
              <a:spcBef>
                <a:spcPts val="0"/>
              </a:spcBef>
              <a:spcAft>
                <a:spcPts val="200"/>
              </a:spcAft>
              <a:buClr>
                <a:schemeClr val="accent1"/>
              </a:buClr>
              <a:buSzPct val="100000"/>
              <a:buFontTx/>
              <a:buNone/>
              <a:tabLst/>
              <a:defRPr sz="1200" b="0">
                <a:solidFill>
                  <a:schemeClr val="tx2"/>
                </a:solidFill>
                <a:latin typeface="+mn-lt"/>
              </a:defRPr>
            </a:lvl1pPr>
            <a:lvl2pPr marL="0" indent="0">
              <a:buNone/>
              <a:defRPr/>
            </a:lvl2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marR="0" lvl="2" indent="-269875" algn="l" defTabSz="914400" rtl="0" eaLnBrk="1" fontAlgn="auto" latinLnBrk="0" hangingPunct="1">
              <a:lnSpc>
                <a:spcPct val="100000"/>
              </a:lnSpc>
              <a:spcBef>
                <a:spcPts val="1200"/>
              </a:spcBef>
              <a:spcAft>
                <a:spcPts val="600"/>
              </a:spcAft>
              <a:buClr>
                <a:schemeClr val="accent1"/>
              </a:buClr>
              <a:buSzPct val="100000"/>
              <a:buFont typeface="Arial" panose="020B0604020202020204" pitchFamily="34" charset="0"/>
              <a:buChar char="■"/>
              <a:tabLst/>
              <a:defRPr/>
            </a:pPr>
            <a:r>
              <a:rPr lang="en-US" dirty="0"/>
              <a:t>Click to edit Master text styles</a:t>
            </a:r>
          </a:p>
        </p:txBody>
      </p:sp>
      <p:sp>
        <p:nvSpPr>
          <p:cNvPr id="48" name="Text Placeholder 4">
            <a:extLst>
              <a:ext uri="{FF2B5EF4-FFF2-40B4-BE49-F238E27FC236}">
                <a16:creationId xmlns:a16="http://schemas.microsoft.com/office/drawing/2014/main" id="{B10B6D2B-4D18-464A-8B9B-13A55F3C053A}"/>
              </a:ext>
            </a:extLst>
          </p:cNvPr>
          <p:cNvSpPr>
            <a:spLocks noGrp="1"/>
          </p:cNvSpPr>
          <p:nvPr>
            <p:ph type="body" sz="quarter" idx="33"/>
          </p:nvPr>
        </p:nvSpPr>
        <p:spPr>
          <a:xfrm>
            <a:off x="5636588" y="1749519"/>
            <a:ext cx="3744465" cy="1278706"/>
          </a:xfrm>
          <a:prstGeom prst="rect">
            <a:avLst/>
          </a:prstGeom>
        </p:spPr>
        <p:txBody>
          <a:bodyPr>
            <a:noAutofit/>
          </a:bodyPr>
          <a:lstStyle>
            <a:lvl1pPr>
              <a:spcBef>
                <a:spcPts val="0"/>
              </a:spcBef>
              <a:spcAft>
                <a:spcPts val="200"/>
              </a:spcAft>
              <a:buClr>
                <a:schemeClr val="accent1"/>
              </a:buClr>
              <a:defRPr sz="1200" b="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53" name="Text Placeholder 4">
            <a:extLst>
              <a:ext uri="{FF2B5EF4-FFF2-40B4-BE49-F238E27FC236}">
                <a16:creationId xmlns:a16="http://schemas.microsoft.com/office/drawing/2014/main" id="{92D99582-B633-4866-BF9F-1E0A59CC947C}"/>
              </a:ext>
            </a:extLst>
          </p:cNvPr>
          <p:cNvSpPr>
            <a:spLocks noGrp="1"/>
          </p:cNvSpPr>
          <p:nvPr>
            <p:ph type="body" sz="quarter" idx="34" hasCustomPrompt="1"/>
          </p:nvPr>
        </p:nvSpPr>
        <p:spPr>
          <a:xfrm>
            <a:off x="9600308" y="1749519"/>
            <a:ext cx="1957017" cy="1278706"/>
          </a:xfrm>
          <a:prstGeom prst="rect">
            <a:avLst/>
          </a:prstGeom>
        </p:spPr>
        <p:txBody>
          <a:bodyPr>
            <a:noAutofit/>
          </a:bodyPr>
          <a:lstStyle>
            <a:lvl1pPr>
              <a:spcBef>
                <a:spcPts val="0"/>
              </a:spcBef>
              <a:spcAft>
                <a:spcPts val="200"/>
              </a:spcAft>
              <a:buClr>
                <a:schemeClr val="accent1"/>
              </a:buClr>
              <a:defRPr sz="1200" b="0">
                <a:solidFill>
                  <a:schemeClr val="tx2"/>
                </a:solidFill>
                <a:latin typeface="+mn-lt"/>
              </a:defRPr>
            </a:lvl1pPr>
            <a:lvl3pPr>
              <a:defRPr lang="en-GB"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GB" dirty="0"/>
              <a:t>Text</a:t>
            </a:r>
          </a:p>
        </p:txBody>
      </p:sp>
      <p:sp>
        <p:nvSpPr>
          <p:cNvPr id="55" name="Text Placeholder 4">
            <a:extLst>
              <a:ext uri="{FF2B5EF4-FFF2-40B4-BE49-F238E27FC236}">
                <a16:creationId xmlns:a16="http://schemas.microsoft.com/office/drawing/2014/main" id="{AAFF2DD8-64E0-4DEB-8753-9105546A5015}"/>
              </a:ext>
            </a:extLst>
          </p:cNvPr>
          <p:cNvSpPr>
            <a:spLocks noGrp="1"/>
          </p:cNvSpPr>
          <p:nvPr>
            <p:ph type="body" sz="quarter" idx="29"/>
          </p:nvPr>
        </p:nvSpPr>
        <p:spPr>
          <a:xfrm>
            <a:off x="455708" y="3605213"/>
            <a:ext cx="3744465" cy="2595396"/>
          </a:xfrm>
          <a:prstGeom prst="rect">
            <a:avLst/>
          </a:prstGeom>
        </p:spPr>
        <p:txBody>
          <a:bodyPr>
            <a:noAutofit/>
          </a:bodyPr>
          <a:lstStyle>
            <a:lvl1pPr>
              <a:spcBef>
                <a:spcPts val="0"/>
              </a:spcBef>
              <a:spcAft>
                <a:spcPts val="200"/>
              </a:spcAft>
              <a:buClr>
                <a:schemeClr val="accent1"/>
              </a:buClr>
              <a:defRPr sz="1200" b="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56" name="Text Placeholder 4">
            <a:extLst>
              <a:ext uri="{FF2B5EF4-FFF2-40B4-BE49-F238E27FC236}">
                <a16:creationId xmlns:a16="http://schemas.microsoft.com/office/drawing/2014/main" id="{8873C269-D1AD-44E9-846B-A599756B51F0}"/>
              </a:ext>
            </a:extLst>
          </p:cNvPr>
          <p:cNvSpPr>
            <a:spLocks noGrp="1"/>
          </p:cNvSpPr>
          <p:nvPr>
            <p:ph type="body" sz="quarter" idx="30"/>
          </p:nvPr>
        </p:nvSpPr>
        <p:spPr>
          <a:xfrm>
            <a:off x="4516097" y="3605213"/>
            <a:ext cx="4310279" cy="2587040"/>
          </a:xfrm>
          <a:prstGeom prst="rect">
            <a:avLst/>
          </a:prstGeom>
        </p:spPr>
        <p:txBody>
          <a:bodyPr>
            <a:noAutofit/>
          </a:bodyPr>
          <a:lstStyle>
            <a:lvl1pPr>
              <a:spcBef>
                <a:spcPts val="0"/>
              </a:spcBef>
              <a:spcAft>
                <a:spcPts val="200"/>
              </a:spcAft>
              <a:buClr>
                <a:schemeClr val="accent1"/>
              </a:buClr>
              <a:defRPr sz="1200" b="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57" name="Text Placeholder 4">
            <a:extLst>
              <a:ext uri="{FF2B5EF4-FFF2-40B4-BE49-F238E27FC236}">
                <a16:creationId xmlns:a16="http://schemas.microsoft.com/office/drawing/2014/main" id="{3E55D7C2-72D1-4BA1-B324-7EFB8EB58622}"/>
              </a:ext>
            </a:extLst>
          </p:cNvPr>
          <p:cNvSpPr>
            <a:spLocks noGrp="1"/>
          </p:cNvSpPr>
          <p:nvPr>
            <p:ph type="body" sz="quarter" idx="31"/>
          </p:nvPr>
        </p:nvSpPr>
        <p:spPr>
          <a:xfrm>
            <a:off x="9143257" y="3605214"/>
            <a:ext cx="2414068" cy="727592"/>
          </a:xfrm>
          <a:prstGeom prst="rect">
            <a:avLst/>
          </a:prstGeom>
        </p:spPr>
        <p:txBody>
          <a:bodyPr>
            <a:noAutofit/>
          </a:bodyPr>
          <a:lstStyle>
            <a:lvl1pPr>
              <a:spcBef>
                <a:spcPts val="0"/>
              </a:spcBef>
              <a:spcAft>
                <a:spcPts val="200"/>
              </a:spcAft>
              <a:buClr>
                <a:schemeClr val="accent1"/>
              </a:buClr>
              <a:defRPr sz="1200" b="0">
                <a:solidFill>
                  <a:schemeClr val="tx2"/>
                </a:solidFill>
                <a:latin typeface="+mn-lt"/>
              </a:defRPr>
            </a:lvl1pPr>
            <a:lvl3pPr>
              <a:defRPr lang="en-US" sz="1200" kern="1200" dirty="0">
                <a:solidFill>
                  <a:schemeClr val="tx2"/>
                </a:solidFill>
                <a:latin typeface="+mn-lt"/>
                <a:ea typeface="Cambria" panose="02040503050406030204" pitchFamily="18" charset="0"/>
                <a:cs typeface="Calibri" panose="020F0502020204030204" pitchFamily="34" charset="0"/>
              </a:defRPr>
            </a:lvl3pPr>
          </a:lstStyle>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Click to edit Master text styles</a:t>
            </a:r>
          </a:p>
        </p:txBody>
      </p:sp>
      <p:sp>
        <p:nvSpPr>
          <p:cNvPr id="59" name="Text Placeholder 2">
            <a:extLst>
              <a:ext uri="{FF2B5EF4-FFF2-40B4-BE49-F238E27FC236}">
                <a16:creationId xmlns:a16="http://schemas.microsoft.com/office/drawing/2014/main" id="{8A5EE136-05F4-4382-ADA7-54663738D9A9}"/>
              </a:ext>
            </a:extLst>
          </p:cNvPr>
          <p:cNvSpPr>
            <a:spLocks noGrp="1"/>
          </p:cNvSpPr>
          <p:nvPr>
            <p:ph type="body" sz="quarter" idx="37"/>
          </p:nvPr>
        </p:nvSpPr>
        <p:spPr>
          <a:xfrm>
            <a:off x="457200" y="98303"/>
            <a:ext cx="5846011" cy="228600"/>
          </a:xfrm>
          <a:prstGeom prst="rect">
            <a:avLst/>
          </a:prstGeom>
        </p:spPr>
        <p:txBody>
          <a:bodyPr lIns="0">
            <a:noAutofit/>
          </a:bodyPr>
          <a:lstStyle>
            <a:lvl1pPr marL="0" indent="0">
              <a:buNone/>
              <a:defRPr sz="1000">
                <a:solidFill>
                  <a:schemeClr val="tx2"/>
                </a:solidFill>
                <a:latin typeface="+mn-lt"/>
                <a:ea typeface="Cambria" panose="02040503050406030204" pitchFamily="18" charset="0"/>
              </a:defRPr>
            </a:lvl1pPr>
          </a:lstStyle>
          <a:p>
            <a:pPr lvl="0"/>
            <a:r>
              <a:rPr lang="en-US"/>
              <a:t>Click to edit Master text styles</a:t>
            </a:r>
          </a:p>
        </p:txBody>
      </p:sp>
      <p:sp>
        <p:nvSpPr>
          <p:cNvPr id="30" name="Picture Placeholder 4">
            <a:extLst>
              <a:ext uri="{FF2B5EF4-FFF2-40B4-BE49-F238E27FC236}">
                <a16:creationId xmlns:a16="http://schemas.microsoft.com/office/drawing/2014/main" id="{49D8B231-9DFF-47F8-81E6-5DC4C4678E19}"/>
              </a:ext>
            </a:extLst>
          </p:cNvPr>
          <p:cNvSpPr>
            <a:spLocks noGrp="1"/>
          </p:cNvSpPr>
          <p:nvPr>
            <p:ph type="pic" sz="quarter" idx="35" hasCustomPrompt="1"/>
          </p:nvPr>
        </p:nvSpPr>
        <p:spPr>
          <a:xfrm>
            <a:off x="9940922" y="184652"/>
            <a:ext cx="1808166" cy="633495"/>
          </a:xfrm>
          <a:prstGeom prst="rect">
            <a:avLst/>
          </a:prstGeom>
        </p:spPr>
        <p:txBody>
          <a:bodyPr vert="horz" lIns="91440" tIns="45720" rIns="91440" bIns="45720" rtlCol="0" anchor="ctr" anchorCtr="0">
            <a:noAutofit/>
          </a:bodyPr>
          <a:lstStyle>
            <a:lvl1pPr>
              <a:defRPr lang="en-US" b="0" dirty="0">
                <a:solidFill>
                  <a:schemeClr val="tx2"/>
                </a:solidFill>
                <a:latin typeface="+mn-lt"/>
              </a:defRPr>
            </a:lvl1pPr>
          </a:lstStyle>
          <a:p>
            <a:pPr lvl="0" algn="ctr"/>
            <a:r>
              <a:rPr lang="en-US" dirty="0"/>
              <a:t>Insert logo</a:t>
            </a:r>
          </a:p>
        </p:txBody>
      </p:sp>
      <p:sp>
        <p:nvSpPr>
          <p:cNvPr id="36" name="Rectangle 35">
            <a:extLst>
              <a:ext uri="{FF2B5EF4-FFF2-40B4-BE49-F238E27FC236}">
                <a16:creationId xmlns:a16="http://schemas.microsoft.com/office/drawing/2014/main" id="{EE10FE73-6EC6-4238-91F1-C1BA6B22F90E}"/>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83843633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Quotation Slide">
    <p:bg>
      <p:bgPr>
        <a:solidFill>
          <a:schemeClr val="bg1"/>
        </a:soli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21DB09EE-E3C0-42FD-A544-DC5343F278E7}"/>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a:extLst>
              <a:ext uri="{FF2B5EF4-FFF2-40B4-BE49-F238E27FC236}">
                <a16:creationId xmlns:a16="http://schemas.microsoft.com/office/drawing/2014/main" id="{4998ACE1-B2BD-4559-A3EA-6495E2577FB9}"/>
              </a:ext>
            </a:extLst>
          </p:cNvPr>
          <p:cNvSpPr>
            <a:spLocks noGrp="1"/>
          </p:cNvSpPr>
          <p:nvPr userDrawn="1">
            <p:ph type="title" hasCustomPrompt="1"/>
          </p:nvPr>
        </p:nvSpPr>
        <p:spPr>
          <a:xfrm>
            <a:off x="3211394" y="2777213"/>
            <a:ext cx="5769213" cy="990000"/>
          </a:xfrm>
        </p:spPr>
        <p:txBody>
          <a:bodyPr anchor="ctr" anchorCtr="0">
            <a:noAutofit/>
          </a:bodyPr>
          <a:lstStyle>
            <a:lvl1pPr algn="ctr">
              <a:lnSpc>
                <a:spcPct val="90000"/>
              </a:lnSpc>
              <a:defRPr>
                <a:solidFill>
                  <a:schemeClr val="tx2"/>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userDrawn="1">
            <p:ph type="body" sz="quarter" idx="10" hasCustomPrompt="1"/>
          </p:nvPr>
        </p:nvSpPr>
        <p:spPr>
          <a:xfrm>
            <a:off x="4349870" y="5038617"/>
            <a:ext cx="4630737" cy="385323"/>
          </a:xfrm>
        </p:spPr>
        <p:txBody>
          <a:bodyPr>
            <a:noAutofit/>
          </a:bodyPr>
          <a:lstStyle>
            <a:lvl1pPr marL="0" indent="0" algn="r">
              <a:buNone/>
              <a:defRPr sz="1800" b="0">
                <a:solidFill>
                  <a:schemeClr val="tx2"/>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userDrawn="1"/>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userDrawn="1"/>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userDrawn="1"/>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userDrawn="1"/>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7" name="Footer Placeholder 3">
            <a:extLst>
              <a:ext uri="{FF2B5EF4-FFF2-40B4-BE49-F238E27FC236}">
                <a16:creationId xmlns:a16="http://schemas.microsoft.com/office/drawing/2014/main" id="{760EDE0F-165C-BF47-9455-29CA1212094C}"/>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3" name="Slide Number Placeholder 5">
            <a:extLst>
              <a:ext uri="{FF2B5EF4-FFF2-40B4-BE49-F238E27FC236}">
                <a16:creationId xmlns:a16="http://schemas.microsoft.com/office/drawing/2014/main" id="{157B105B-282E-4FD3-A7AF-37B9A2AACA8B}"/>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Tree>
    <p:extLst>
      <p:ext uri="{BB962C8B-B14F-4D97-AF65-F5344CB8AC3E}">
        <p14:creationId xmlns:p14="http://schemas.microsoft.com/office/powerpoint/2010/main" val="170768774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ation Slide with Headshot">
    <p:bg>
      <p:bgPr>
        <a:solidFill>
          <a:schemeClr val="bg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A8ECDA57-4871-4435-81EA-BBB8E5FB2618}"/>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a:extLst>
              <a:ext uri="{FF2B5EF4-FFF2-40B4-BE49-F238E27FC236}">
                <a16:creationId xmlns:a16="http://schemas.microsoft.com/office/drawing/2014/main" id="{4998ACE1-B2BD-4559-A3EA-6495E2577FB9}"/>
              </a:ext>
            </a:extLst>
          </p:cNvPr>
          <p:cNvSpPr>
            <a:spLocks noGrp="1"/>
          </p:cNvSpPr>
          <p:nvPr userDrawn="1">
            <p:ph type="title" hasCustomPrompt="1"/>
          </p:nvPr>
        </p:nvSpPr>
        <p:spPr>
          <a:xfrm>
            <a:off x="3211394" y="3451217"/>
            <a:ext cx="5769213" cy="990000"/>
          </a:xfrm>
        </p:spPr>
        <p:txBody>
          <a:bodyPr anchor="ctr" anchorCtr="0">
            <a:noAutofit/>
          </a:bodyPr>
          <a:lstStyle>
            <a:lvl1pPr algn="ctr">
              <a:lnSpc>
                <a:spcPct val="90000"/>
              </a:lnSpc>
              <a:defRPr>
                <a:solidFill>
                  <a:schemeClr val="tx2"/>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userDrawn="1">
            <p:ph type="body" sz="quarter" idx="10" hasCustomPrompt="1"/>
          </p:nvPr>
        </p:nvSpPr>
        <p:spPr>
          <a:xfrm>
            <a:off x="4349870" y="5038617"/>
            <a:ext cx="4630737" cy="385323"/>
          </a:xfrm>
        </p:spPr>
        <p:txBody>
          <a:bodyPr>
            <a:noAutofit/>
          </a:bodyPr>
          <a:lstStyle>
            <a:lvl1pPr marL="0" indent="0" algn="r">
              <a:buNone/>
              <a:defRPr sz="1800" b="0">
                <a:solidFill>
                  <a:schemeClr val="tx2"/>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userDrawn="1"/>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userDrawn="1"/>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userDrawn="1"/>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userDrawn="1"/>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7" name="Footer Placeholder 3">
            <a:extLst>
              <a:ext uri="{FF2B5EF4-FFF2-40B4-BE49-F238E27FC236}">
                <a16:creationId xmlns:a16="http://schemas.microsoft.com/office/drawing/2014/main" id="{760EDE0F-165C-BF47-9455-29CA1212094C}"/>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3" name="Slide Number Placeholder 5">
            <a:extLst>
              <a:ext uri="{FF2B5EF4-FFF2-40B4-BE49-F238E27FC236}">
                <a16:creationId xmlns:a16="http://schemas.microsoft.com/office/drawing/2014/main" id="{157B105B-282E-4FD3-A7AF-37B9A2AACA8B}"/>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5" name="Picture Placeholder 16">
            <a:extLst>
              <a:ext uri="{FF2B5EF4-FFF2-40B4-BE49-F238E27FC236}">
                <a16:creationId xmlns:a16="http://schemas.microsoft.com/office/drawing/2014/main" id="{20BDA3C6-2C55-4EC0-92A0-2FA57310BA25}"/>
              </a:ext>
            </a:extLst>
          </p:cNvPr>
          <p:cNvSpPr>
            <a:spLocks noGrp="1"/>
          </p:cNvSpPr>
          <p:nvPr>
            <p:ph type="pic" sz="quarter" idx="15" hasCustomPrompt="1"/>
          </p:nvPr>
        </p:nvSpPr>
        <p:spPr>
          <a:xfrm>
            <a:off x="5481011" y="1617885"/>
            <a:ext cx="1224430" cy="1298310"/>
          </a:xfrm>
          <a:prstGeom prst="rect">
            <a:avLst/>
          </a:prstGeom>
          <a:blipFill dpi="0" rotWithShape="1">
            <a:blip r:embed="rId4">
              <a:extLst>
                <a:ext uri="{96DAC541-7B7A-43D3-8B79-37D633B846F1}">
                  <asvg:svgBlip xmlns:asvg="http://schemas.microsoft.com/office/drawing/2016/SVG/main" r:embed="rId5"/>
                </a:ext>
              </a:extLst>
            </a:blip>
            <a:srcRect/>
            <a:stretch>
              <a:fillRect/>
            </a:stretch>
          </a:blipFill>
          <a:ln w="31750">
            <a:noFill/>
          </a:ln>
          <a:effectLst/>
        </p:spPr>
        <p:txBody>
          <a:bodyPr wrap="square" lIns="72000" anchor="t" anchorCtr="0">
            <a:noAutofit/>
          </a:bodyPr>
          <a:lstStyle>
            <a:lvl1pPr marL="0" indent="0" algn="l">
              <a:buNone/>
              <a:defRPr>
                <a:solidFill>
                  <a:schemeClr val="tx2"/>
                </a:solidFill>
              </a:defRPr>
            </a:lvl1pPr>
          </a:lstStyle>
          <a:p>
            <a:r>
              <a:rPr lang="en-GB" dirty="0"/>
              <a:t>Insert</a:t>
            </a:r>
          </a:p>
        </p:txBody>
      </p:sp>
    </p:spTree>
    <p:extLst>
      <p:ext uri="{BB962C8B-B14F-4D97-AF65-F5344CB8AC3E}">
        <p14:creationId xmlns:p14="http://schemas.microsoft.com/office/powerpoint/2010/main" val="420037964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ation Slide with Hexagon Headshot">
    <p:bg>
      <p:bgPr>
        <a:solidFill>
          <a:schemeClr val="bg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025C197D-310C-47A9-8449-B4DBCA42512D}"/>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a:extLst>
              <a:ext uri="{FF2B5EF4-FFF2-40B4-BE49-F238E27FC236}">
                <a16:creationId xmlns:a16="http://schemas.microsoft.com/office/drawing/2014/main" id="{4998ACE1-B2BD-4559-A3EA-6495E2577FB9}"/>
              </a:ext>
            </a:extLst>
          </p:cNvPr>
          <p:cNvSpPr>
            <a:spLocks noGrp="1"/>
          </p:cNvSpPr>
          <p:nvPr userDrawn="1">
            <p:ph type="title" hasCustomPrompt="1"/>
          </p:nvPr>
        </p:nvSpPr>
        <p:spPr>
          <a:xfrm>
            <a:off x="3211394" y="3451217"/>
            <a:ext cx="5769213" cy="990000"/>
          </a:xfrm>
        </p:spPr>
        <p:txBody>
          <a:bodyPr anchor="ctr" anchorCtr="0">
            <a:noAutofit/>
          </a:bodyPr>
          <a:lstStyle>
            <a:lvl1pPr algn="ctr">
              <a:lnSpc>
                <a:spcPct val="90000"/>
              </a:lnSpc>
              <a:defRPr>
                <a:solidFill>
                  <a:schemeClr val="tx2"/>
                </a:solidFill>
              </a:defRPr>
            </a:lvl1pPr>
          </a:lstStyle>
          <a:p>
            <a:r>
              <a:rPr lang="en-US" dirty="0"/>
              <a:t>Insert Quote here</a:t>
            </a:r>
            <a:endParaRPr lang="en-GB" dirty="0"/>
          </a:p>
        </p:txBody>
      </p:sp>
      <p:sp>
        <p:nvSpPr>
          <p:cNvPr id="7" name="Text Placeholder 6">
            <a:extLst>
              <a:ext uri="{FF2B5EF4-FFF2-40B4-BE49-F238E27FC236}">
                <a16:creationId xmlns:a16="http://schemas.microsoft.com/office/drawing/2014/main" id="{10CAB139-38DB-4D98-BB96-288968D1C2A3}"/>
              </a:ext>
            </a:extLst>
          </p:cNvPr>
          <p:cNvSpPr>
            <a:spLocks noGrp="1"/>
          </p:cNvSpPr>
          <p:nvPr userDrawn="1">
            <p:ph type="body" sz="quarter" idx="10" hasCustomPrompt="1"/>
          </p:nvPr>
        </p:nvSpPr>
        <p:spPr>
          <a:xfrm>
            <a:off x="4349870" y="5038617"/>
            <a:ext cx="4630737" cy="385323"/>
          </a:xfrm>
        </p:spPr>
        <p:txBody>
          <a:bodyPr>
            <a:noAutofit/>
          </a:bodyPr>
          <a:lstStyle>
            <a:lvl1pPr marL="0" indent="0" algn="r">
              <a:buNone/>
              <a:defRPr sz="1800" b="0">
                <a:solidFill>
                  <a:schemeClr val="tx2"/>
                </a:solidFill>
              </a:defRPr>
            </a:lvl1pPr>
            <a:lvl2pPr marL="266700" indent="0">
              <a:buNone/>
              <a:defRPr/>
            </a:lvl2pPr>
          </a:lstStyle>
          <a:p>
            <a:pPr lvl="0"/>
            <a:r>
              <a:rPr lang="en-US" dirty="0"/>
              <a:t>- Insert </a:t>
            </a:r>
            <a:r>
              <a:rPr lang="en-US" dirty="0" err="1"/>
              <a:t>quotee</a:t>
            </a:r>
            <a:r>
              <a:rPr lang="en-US" dirty="0"/>
              <a:t> name here</a:t>
            </a:r>
          </a:p>
        </p:txBody>
      </p:sp>
      <p:sp>
        <p:nvSpPr>
          <p:cNvPr id="22" name="Freeform: Shape 20">
            <a:extLst>
              <a:ext uri="{FF2B5EF4-FFF2-40B4-BE49-F238E27FC236}">
                <a16:creationId xmlns:a16="http://schemas.microsoft.com/office/drawing/2014/main" id="{4E56F746-5128-8344-92EF-C8553DF728B0}"/>
              </a:ext>
            </a:extLst>
          </p:cNvPr>
          <p:cNvSpPr/>
          <p:nvPr userDrawn="1"/>
        </p:nvSpPr>
        <p:spPr>
          <a:xfrm>
            <a:off x="0" y="4885278"/>
            <a:ext cx="4279900" cy="1972722"/>
          </a:xfrm>
          <a:custGeom>
            <a:avLst/>
            <a:gdLst>
              <a:gd name="connsiteX0" fmla="*/ 0 w 4791075"/>
              <a:gd name="connsiteY0" fmla="*/ 1114425 h 2209800"/>
              <a:gd name="connsiteX1" fmla="*/ 1619250 w 4791075"/>
              <a:gd name="connsiteY1" fmla="*/ 0 h 2209800"/>
              <a:gd name="connsiteX2" fmla="*/ 4791075 w 4791075"/>
              <a:gd name="connsiteY2" fmla="*/ 2209800 h 2209800"/>
              <a:gd name="connsiteX3" fmla="*/ 19050 w 4791075"/>
              <a:gd name="connsiteY3" fmla="*/ 2209800 h 2209800"/>
              <a:gd name="connsiteX4" fmla="*/ 0 w 4791075"/>
              <a:gd name="connsiteY4" fmla="*/ 1114425 h 2209800"/>
              <a:gd name="connsiteX0" fmla="*/ 3175 w 4794250"/>
              <a:gd name="connsiteY0" fmla="*/ 1114425 h 2209800"/>
              <a:gd name="connsiteX1" fmla="*/ 1622425 w 4794250"/>
              <a:gd name="connsiteY1" fmla="*/ 0 h 2209800"/>
              <a:gd name="connsiteX2" fmla="*/ 4794250 w 4794250"/>
              <a:gd name="connsiteY2" fmla="*/ 2209800 h 2209800"/>
              <a:gd name="connsiteX3" fmla="*/ 0 w 4794250"/>
              <a:gd name="connsiteY3" fmla="*/ 2209800 h 2209800"/>
              <a:gd name="connsiteX4" fmla="*/ 3175 w 4794250"/>
              <a:gd name="connsiteY4" fmla="*/ 1114425 h 220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4250" h="2209800">
                <a:moveTo>
                  <a:pt x="3175" y="1114425"/>
                </a:moveTo>
                <a:lnTo>
                  <a:pt x="1622425" y="0"/>
                </a:lnTo>
                <a:lnTo>
                  <a:pt x="4794250" y="2209800"/>
                </a:lnTo>
                <a:lnTo>
                  <a:pt x="0" y="2209800"/>
                </a:lnTo>
                <a:cubicBezTo>
                  <a:pt x="1058" y="1844675"/>
                  <a:pt x="2117" y="1479550"/>
                  <a:pt x="3175" y="1114425"/>
                </a:cubicBez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noProof="0" dirty="0">
              <a:solidFill>
                <a:schemeClr val="lt1"/>
              </a:solidFill>
            </a:endParaRPr>
          </a:p>
        </p:txBody>
      </p:sp>
      <p:sp>
        <p:nvSpPr>
          <p:cNvPr id="34" name="Freeform 33">
            <a:extLst>
              <a:ext uri="{FF2B5EF4-FFF2-40B4-BE49-F238E27FC236}">
                <a16:creationId xmlns:a16="http://schemas.microsoft.com/office/drawing/2014/main" id="{116D7F24-9693-B74D-9B1F-938DD334325E}"/>
              </a:ext>
            </a:extLst>
          </p:cNvPr>
          <p:cNvSpPr/>
          <p:nvPr userDrawn="1"/>
        </p:nvSpPr>
        <p:spPr>
          <a:xfrm flipH="1">
            <a:off x="2172778" y="5367134"/>
            <a:ext cx="2407778" cy="1490867"/>
          </a:xfrm>
          <a:custGeom>
            <a:avLst/>
            <a:gdLst>
              <a:gd name="connsiteX0" fmla="*/ 2047137 w 2407778"/>
              <a:gd name="connsiteY0" fmla="*/ 0 h 1490867"/>
              <a:gd name="connsiteX1" fmla="*/ 0 w 2407778"/>
              <a:gd name="connsiteY1" fmla="*/ 1490867 h 1490867"/>
              <a:gd name="connsiteX2" fmla="*/ 772851 w 2407778"/>
              <a:gd name="connsiteY2" fmla="*/ 1490867 h 1490867"/>
              <a:gd name="connsiteX3" fmla="*/ 2407778 w 2407778"/>
              <a:gd name="connsiteY3" fmla="*/ 297069 h 1490867"/>
            </a:gdLst>
            <a:ahLst/>
            <a:cxnLst>
              <a:cxn ang="0">
                <a:pos x="connsiteX0" y="connsiteY0"/>
              </a:cxn>
              <a:cxn ang="0">
                <a:pos x="connsiteX1" y="connsiteY1"/>
              </a:cxn>
              <a:cxn ang="0">
                <a:pos x="connsiteX2" y="connsiteY2"/>
              </a:cxn>
              <a:cxn ang="0">
                <a:pos x="connsiteX3" y="connsiteY3"/>
              </a:cxn>
            </a:cxnLst>
            <a:rect l="l" t="t" r="r" b="b"/>
            <a:pathLst>
              <a:path w="2407778" h="1490867">
                <a:moveTo>
                  <a:pt x="2047137" y="0"/>
                </a:moveTo>
                <a:lnTo>
                  <a:pt x="0" y="1490867"/>
                </a:lnTo>
                <a:lnTo>
                  <a:pt x="772851" y="1490867"/>
                </a:lnTo>
                <a:lnTo>
                  <a:pt x="2407778" y="297069"/>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chemeClr val="bg1"/>
              </a:solidFill>
              <a:effectLst/>
              <a:uLnTx/>
              <a:uFillTx/>
              <a:latin typeface="Arial"/>
            </a:endParaRPr>
          </a:p>
        </p:txBody>
      </p:sp>
      <p:sp>
        <p:nvSpPr>
          <p:cNvPr id="33" name="Freeform 32">
            <a:extLst>
              <a:ext uri="{FF2B5EF4-FFF2-40B4-BE49-F238E27FC236}">
                <a16:creationId xmlns:a16="http://schemas.microsoft.com/office/drawing/2014/main" id="{F8BC3277-41B3-074B-82D6-ACF79987ACF4}"/>
              </a:ext>
            </a:extLst>
          </p:cNvPr>
          <p:cNvSpPr/>
          <p:nvPr userDrawn="1"/>
        </p:nvSpPr>
        <p:spPr>
          <a:xfrm>
            <a:off x="9463543" y="1"/>
            <a:ext cx="2735123" cy="2991743"/>
          </a:xfrm>
          <a:custGeom>
            <a:avLst/>
            <a:gdLst>
              <a:gd name="connsiteX0" fmla="*/ 0 w 2735123"/>
              <a:gd name="connsiteY0" fmla="*/ 0 h 2991743"/>
              <a:gd name="connsiteX1" fmla="*/ 2393842 w 2735123"/>
              <a:gd name="connsiteY1" fmla="*/ 0 h 2991743"/>
              <a:gd name="connsiteX2" fmla="*/ 2735123 w 2735123"/>
              <a:gd name="connsiteY2" fmla="*/ 10219 h 2991743"/>
              <a:gd name="connsiteX3" fmla="*/ 2728532 w 2735123"/>
              <a:gd name="connsiteY3" fmla="*/ 2991743 h 2991743"/>
              <a:gd name="connsiteX4" fmla="*/ 874640 w 2735123"/>
              <a:gd name="connsiteY4" fmla="*/ 1695436 h 2991743"/>
              <a:gd name="connsiteX5" fmla="*/ 1648771 w 2735123"/>
              <a:gd name="connsiteY5" fmla="*/ 1163301 h 299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5123" h="2991743">
                <a:moveTo>
                  <a:pt x="0" y="0"/>
                </a:moveTo>
                <a:lnTo>
                  <a:pt x="2393842" y="0"/>
                </a:lnTo>
                <a:lnTo>
                  <a:pt x="2735123" y="10219"/>
                </a:lnTo>
                <a:lnTo>
                  <a:pt x="2728532" y="2991743"/>
                </a:lnTo>
                <a:lnTo>
                  <a:pt x="874640" y="1695436"/>
                </a:lnTo>
                <a:lnTo>
                  <a:pt x="1648771" y="1163301"/>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31">
            <a:extLst>
              <a:ext uri="{FF2B5EF4-FFF2-40B4-BE49-F238E27FC236}">
                <a16:creationId xmlns:a16="http://schemas.microsoft.com/office/drawing/2014/main" id="{B727618F-32CF-3243-8057-AFF188524A86}"/>
              </a:ext>
            </a:extLst>
          </p:cNvPr>
          <p:cNvSpPr/>
          <p:nvPr userDrawn="1"/>
        </p:nvSpPr>
        <p:spPr>
          <a:xfrm>
            <a:off x="10337082" y="1512082"/>
            <a:ext cx="1854918" cy="2543796"/>
          </a:xfrm>
          <a:custGeom>
            <a:avLst/>
            <a:gdLst>
              <a:gd name="connsiteX0" fmla="*/ 1854918 w 1854918"/>
              <a:gd name="connsiteY0" fmla="*/ 0 h 2543796"/>
              <a:gd name="connsiteX1" fmla="*/ 1854918 w 1854918"/>
              <a:gd name="connsiteY1" fmla="*/ 2543796 h 2543796"/>
              <a:gd name="connsiteX2" fmla="*/ 0 w 1854918"/>
              <a:gd name="connsiteY2" fmla="*/ 1255203 h 2543796"/>
            </a:gdLst>
            <a:ahLst/>
            <a:cxnLst>
              <a:cxn ang="0">
                <a:pos x="connsiteX0" y="connsiteY0"/>
              </a:cxn>
              <a:cxn ang="0">
                <a:pos x="connsiteX1" y="connsiteY1"/>
              </a:cxn>
              <a:cxn ang="0">
                <a:pos x="connsiteX2" y="connsiteY2"/>
              </a:cxn>
            </a:cxnLst>
            <a:rect l="l" t="t" r="r" b="b"/>
            <a:pathLst>
              <a:path w="1854918" h="2543796">
                <a:moveTo>
                  <a:pt x="1854918" y="0"/>
                </a:moveTo>
                <a:lnTo>
                  <a:pt x="1854918" y="2543796"/>
                </a:lnTo>
                <a:lnTo>
                  <a:pt x="0" y="1255203"/>
                </a:ln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5" name="Graphic 34">
            <a:extLst>
              <a:ext uri="{FF2B5EF4-FFF2-40B4-BE49-F238E27FC236}">
                <a16:creationId xmlns:a16="http://schemas.microsoft.com/office/drawing/2014/main" id="{B37650CE-A0E9-2A46-93CB-3BEAC2511C5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7" name="Footer Placeholder 3">
            <a:extLst>
              <a:ext uri="{FF2B5EF4-FFF2-40B4-BE49-F238E27FC236}">
                <a16:creationId xmlns:a16="http://schemas.microsoft.com/office/drawing/2014/main" id="{760EDE0F-165C-BF47-9455-29CA1212094C}"/>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3" name="Slide Number Placeholder 5">
            <a:extLst>
              <a:ext uri="{FF2B5EF4-FFF2-40B4-BE49-F238E27FC236}">
                <a16:creationId xmlns:a16="http://schemas.microsoft.com/office/drawing/2014/main" id="{157B105B-282E-4FD3-A7AF-37B9A2AACA8B}"/>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4" name="Picture Placeholder 16">
            <a:extLst>
              <a:ext uri="{FF2B5EF4-FFF2-40B4-BE49-F238E27FC236}">
                <a16:creationId xmlns:a16="http://schemas.microsoft.com/office/drawing/2014/main" id="{DFB4B834-C56F-490A-BC1C-C54AB928B9E4}"/>
              </a:ext>
            </a:extLst>
          </p:cNvPr>
          <p:cNvSpPr>
            <a:spLocks noGrp="1"/>
          </p:cNvSpPr>
          <p:nvPr>
            <p:ph type="pic" sz="quarter" idx="36"/>
          </p:nvPr>
        </p:nvSpPr>
        <p:spPr>
          <a:xfrm>
            <a:off x="5561536" y="1518536"/>
            <a:ext cx="1063380" cy="1497008"/>
          </a:xfrm>
          <a:custGeom>
            <a:avLst/>
            <a:gdLst>
              <a:gd name="connsiteX0" fmla="*/ 618024 w 1236048"/>
              <a:gd name="connsiteY0" fmla="*/ 0 h 1740087"/>
              <a:gd name="connsiteX1" fmla="*/ 1236048 w 1236048"/>
              <a:gd name="connsiteY1" fmla="*/ 429737 h 1740087"/>
              <a:gd name="connsiteX2" fmla="*/ 1236048 w 1236048"/>
              <a:gd name="connsiteY2" fmla="*/ 1310350 h 1740087"/>
              <a:gd name="connsiteX3" fmla="*/ 618024 w 1236048"/>
              <a:gd name="connsiteY3" fmla="*/ 1740087 h 1740087"/>
              <a:gd name="connsiteX4" fmla="*/ 0 w 1236048"/>
              <a:gd name="connsiteY4" fmla="*/ 1310350 h 1740087"/>
              <a:gd name="connsiteX5" fmla="*/ 0 w 1236048"/>
              <a:gd name="connsiteY5" fmla="*/ 429737 h 174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6048" h="1740087">
                <a:moveTo>
                  <a:pt x="618024" y="0"/>
                </a:moveTo>
                <a:lnTo>
                  <a:pt x="1236048" y="429737"/>
                </a:lnTo>
                <a:lnTo>
                  <a:pt x="1236048" y="1310350"/>
                </a:lnTo>
                <a:lnTo>
                  <a:pt x="618024" y="1740087"/>
                </a:lnTo>
                <a:lnTo>
                  <a:pt x="0" y="1310350"/>
                </a:lnTo>
                <a:lnTo>
                  <a:pt x="0" y="429737"/>
                </a:lnTo>
                <a:close/>
              </a:path>
            </a:pathLst>
          </a:custGeom>
          <a:blipFill dpi="0" rotWithShape="1">
            <a:blip r:embed="rId4">
              <a:extLst>
                <a:ext uri="{96DAC541-7B7A-43D3-8B79-37D633B846F1}">
                  <asvg:svgBlip xmlns:asvg="http://schemas.microsoft.com/office/drawing/2016/SVG/main" r:embed="rId5"/>
                </a:ext>
              </a:extLst>
            </a:blip>
            <a:srcRect/>
            <a:stretch>
              <a:fillRect/>
            </a:stretch>
          </a:blipFill>
          <a:ln w="15875">
            <a:solidFill>
              <a:srgbClr val="00AECF"/>
            </a:solidFill>
          </a:ln>
          <a:effectLst>
            <a:innerShdw blurRad="88900" dist="50800" dir="13500000">
              <a:prstClr val="black">
                <a:alpha val="50000"/>
              </a:prstClr>
            </a:innerShdw>
          </a:effectLst>
        </p:spPr>
        <p:txBody>
          <a:bodyPr wrap="square" anchor="ctr" anchorCtr="0">
            <a:noAutofit/>
          </a:bodyPr>
          <a:lstStyle>
            <a:lvl1pPr marL="0" indent="0" algn="ctr">
              <a:buNone/>
              <a:defRPr>
                <a:solidFill>
                  <a:schemeClr val="tx2"/>
                </a:solidFill>
              </a:defRPr>
            </a:lvl1pPr>
          </a:lstStyle>
          <a:p>
            <a:r>
              <a:rPr lang="en-US" dirty="0"/>
              <a:t>Click icon to add picture</a:t>
            </a:r>
            <a:endParaRPr lang="en-GB" dirty="0"/>
          </a:p>
        </p:txBody>
      </p:sp>
    </p:spTree>
    <p:extLst>
      <p:ext uri="{BB962C8B-B14F-4D97-AF65-F5344CB8AC3E}">
        <p14:creationId xmlns:p14="http://schemas.microsoft.com/office/powerpoint/2010/main" val="416964029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Blank Slide White No Corners">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19672E01-4D64-BA4B-A9E8-01086F147FB0}"/>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1" name="Footer Placeholder 3">
            <a:extLst>
              <a:ext uri="{FF2B5EF4-FFF2-40B4-BE49-F238E27FC236}">
                <a16:creationId xmlns:a16="http://schemas.microsoft.com/office/drawing/2014/main" id="{ACDF4571-CDA4-1541-995D-8792DD496EB7}"/>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157828173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Hexagon Graphic - White">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145BBAF5-9F92-4F54-8CD3-F45AB97454E0}"/>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reeform: Shape 3">
            <a:extLst>
              <a:ext uri="{FF2B5EF4-FFF2-40B4-BE49-F238E27FC236}">
                <a16:creationId xmlns:a16="http://schemas.microsoft.com/office/drawing/2014/main" id="{998EA4DB-4218-498A-AEC4-23CC43FE457F}"/>
              </a:ext>
            </a:extLst>
          </p:cNvPr>
          <p:cNvSpPr/>
          <p:nvPr userDrawn="1"/>
        </p:nvSpPr>
        <p:spPr>
          <a:xfrm>
            <a:off x="4490359" y="2049775"/>
            <a:ext cx="1592941" cy="1808204"/>
          </a:xfrm>
          <a:custGeom>
            <a:avLst/>
            <a:gdLst>
              <a:gd name="connsiteX0" fmla="*/ 1606503 w 1592941"/>
              <a:gd name="connsiteY0" fmla="*/ 0 h 1808203"/>
              <a:gd name="connsiteX1" fmla="*/ 1606503 w 1592941"/>
              <a:gd name="connsiteY1" fmla="*/ 1358090 h 1808203"/>
              <a:gd name="connsiteX2" fmla="*/ 972555 w 1592941"/>
              <a:gd name="connsiteY2" fmla="*/ 1804114 h 1808203"/>
              <a:gd name="connsiteX3" fmla="*/ 972555 w 1592941"/>
              <a:gd name="connsiteY3" fmla="*/ 1809065 h 1808203"/>
              <a:gd name="connsiteX4" fmla="*/ 0 w 1592941"/>
              <a:gd name="connsiteY4" fmla="*/ 1130127 h 1808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2941" h="1808203">
                <a:moveTo>
                  <a:pt x="1606503" y="0"/>
                </a:moveTo>
                <a:lnTo>
                  <a:pt x="1606503" y="1358090"/>
                </a:lnTo>
                <a:lnTo>
                  <a:pt x="972555" y="1804114"/>
                </a:lnTo>
                <a:lnTo>
                  <a:pt x="972555" y="1809065"/>
                </a:lnTo>
                <a:lnTo>
                  <a:pt x="0" y="1130127"/>
                </a:lnTo>
                <a:close/>
              </a:path>
            </a:pathLst>
          </a:custGeom>
          <a:solidFill>
            <a:schemeClr val="accent3"/>
          </a:solidFill>
          <a:ln w="9525" cap="flat">
            <a:noFill/>
            <a:prstDash val="solid"/>
            <a:miter/>
          </a:ln>
        </p:spPr>
        <p:txBody>
          <a:bodyPr rtlCol="0" anchor="ctr">
            <a:noAutofit/>
          </a:bodyPr>
          <a:lstStyle/>
          <a:p>
            <a:pPr lvl="0"/>
            <a:endParaRPr lang="en-US" dirty="0"/>
          </a:p>
        </p:txBody>
      </p:sp>
      <p:sp>
        <p:nvSpPr>
          <p:cNvPr id="5" name="Freeform: Shape 4">
            <a:extLst>
              <a:ext uri="{FF2B5EF4-FFF2-40B4-BE49-F238E27FC236}">
                <a16:creationId xmlns:a16="http://schemas.microsoft.com/office/drawing/2014/main" id="{568B9C2E-6668-4C07-95F1-CB22EEC5D65E}"/>
              </a:ext>
            </a:extLst>
          </p:cNvPr>
          <p:cNvSpPr/>
          <p:nvPr userDrawn="1"/>
        </p:nvSpPr>
        <p:spPr>
          <a:xfrm>
            <a:off x="6096862" y="2046977"/>
            <a:ext cx="1614467" cy="1808204"/>
          </a:xfrm>
          <a:custGeom>
            <a:avLst/>
            <a:gdLst>
              <a:gd name="connsiteX0" fmla="*/ 1615113 w 1614467"/>
              <a:gd name="connsiteY0" fmla="*/ 1138953 h 1808203"/>
              <a:gd name="connsiteX1" fmla="*/ 1615113 w 1614467"/>
              <a:gd name="connsiteY1" fmla="*/ 1139168 h 1808203"/>
              <a:gd name="connsiteX2" fmla="*/ 633947 w 1614467"/>
              <a:gd name="connsiteY2" fmla="*/ 1818321 h 1808203"/>
              <a:gd name="connsiteX3" fmla="*/ 633947 w 1614467"/>
              <a:gd name="connsiteY3" fmla="*/ 1806912 h 1808203"/>
              <a:gd name="connsiteX4" fmla="*/ 1507 w 1614467"/>
              <a:gd name="connsiteY4" fmla="*/ 1359812 h 1808203"/>
              <a:gd name="connsiteX5" fmla="*/ 0 w 1614467"/>
              <a:gd name="connsiteY5" fmla="*/ 1360889 h 1808203"/>
              <a:gd name="connsiteX6" fmla="*/ 0 w 1614467"/>
              <a:gd name="connsiteY6" fmla="*/ 2798 h 1808203"/>
              <a:gd name="connsiteX7" fmla="*/ 3875 w 1614467"/>
              <a:gd name="connsiteY7" fmla="*/ 0 h 180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4467" h="1808203">
                <a:moveTo>
                  <a:pt x="1615113" y="1138953"/>
                </a:moveTo>
                <a:lnTo>
                  <a:pt x="1615113" y="1139168"/>
                </a:lnTo>
                <a:lnTo>
                  <a:pt x="633947" y="1818321"/>
                </a:lnTo>
                <a:lnTo>
                  <a:pt x="633947" y="1806912"/>
                </a:lnTo>
                <a:lnTo>
                  <a:pt x="1507" y="1359812"/>
                </a:lnTo>
                <a:lnTo>
                  <a:pt x="0" y="1360889"/>
                </a:lnTo>
                <a:lnTo>
                  <a:pt x="0" y="2798"/>
                </a:lnTo>
                <a:lnTo>
                  <a:pt x="3875" y="0"/>
                </a:lnTo>
                <a:close/>
              </a:path>
            </a:pathLst>
          </a:custGeom>
          <a:solidFill>
            <a:schemeClr val="accent1"/>
          </a:solidFill>
          <a:ln w="21510" cap="flat">
            <a:noFill/>
            <a:prstDash val="solid"/>
            <a:miter/>
          </a:ln>
        </p:spPr>
        <p:txBody>
          <a:bodyPr rtlCol="0" anchor="ctr">
            <a:noAutofit/>
          </a:bodyPr>
          <a:lstStyle/>
          <a:p>
            <a:endParaRPr lang="en-US" dirty="0"/>
          </a:p>
        </p:txBody>
      </p:sp>
      <p:sp>
        <p:nvSpPr>
          <p:cNvPr id="6" name="Freeform: Shape 5">
            <a:extLst>
              <a:ext uri="{FF2B5EF4-FFF2-40B4-BE49-F238E27FC236}">
                <a16:creationId xmlns:a16="http://schemas.microsoft.com/office/drawing/2014/main" id="{742C4371-8AB2-4223-BBB9-9B8FF4C11085}"/>
              </a:ext>
            </a:extLst>
          </p:cNvPr>
          <p:cNvSpPr/>
          <p:nvPr userDrawn="1"/>
        </p:nvSpPr>
        <p:spPr>
          <a:xfrm>
            <a:off x="6722414" y="3186145"/>
            <a:ext cx="968680" cy="2238728"/>
          </a:xfrm>
          <a:custGeom>
            <a:avLst/>
            <a:gdLst>
              <a:gd name="connsiteX0" fmla="*/ 989561 w 968680"/>
              <a:gd name="connsiteY0" fmla="*/ 0 h 2238728"/>
              <a:gd name="connsiteX1" fmla="*/ 989561 w 968680"/>
              <a:gd name="connsiteY1" fmla="*/ 2238083 h 2238728"/>
              <a:gd name="connsiteX2" fmla="*/ 986117 w 968680"/>
              <a:gd name="connsiteY2" fmla="*/ 2240451 h 2238728"/>
              <a:gd name="connsiteX3" fmla="*/ 0 w 968680"/>
              <a:gd name="connsiteY3" fmla="*/ 1552041 h 2238728"/>
              <a:gd name="connsiteX4" fmla="*/ 8395 w 968680"/>
              <a:gd name="connsiteY4" fmla="*/ 1546229 h 2238728"/>
              <a:gd name="connsiteX5" fmla="*/ 8395 w 968680"/>
              <a:gd name="connsiteY5" fmla="*/ 679153 h 223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8680" h="2238728">
                <a:moveTo>
                  <a:pt x="989561" y="0"/>
                </a:moveTo>
                <a:lnTo>
                  <a:pt x="989561" y="2238083"/>
                </a:lnTo>
                <a:lnTo>
                  <a:pt x="986117" y="2240451"/>
                </a:lnTo>
                <a:lnTo>
                  <a:pt x="0" y="1552041"/>
                </a:lnTo>
                <a:lnTo>
                  <a:pt x="8395" y="1546229"/>
                </a:lnTo>
                <a:lnTo>
                  <a:pt x="8395" y="679153"/>
                </a:lnTo>
                <a:close/>
              </a:path>
            </a:pathLst>
          </a:custGeom>
          <a:solidFill>
            <a:schemeClr val="accent2"/>
          </a:solidFill>
          <a:ln w="21510" cap="flat">
            <a:noFill/>
            <a:prstDash val="solid"/>
            <a:miter/>
          </a:ln>
        </p:spPr>
        <p:txBody>
          <a:bodyPr rtlCol="0" anchor="ctr">
            <a:noAutofit/>
          </a:bodyPr>
          <a:lstStyle/>
          <a:p>
            <a:endParaRPr lang="en-US" dirty="0"/>
          </a:p>
        </p:txBody>
      </p:sp>
      <p:sp>
        <p:nvSpPr>
          <p:cNvPr id="7" name="Freeform: Shape 6">
            <a:extLst>
              <a:ext uri="{FF2B5EF4-FFF2-40B4-BE49-F238E27FC236}">
                <a16:creationId xmlns:a16="http://schemas.microsoft.com/office/drawing/2014/main" id="{714ECC8C-1257-4D1B-B1F3-8689EED79010}"/>
              </a:ext>
            </a:extLst>
          </p:cNvPr>
          <p:cNvSpPr/>
          <p:nvPr userDrawn="1"/>
        </p:nvSpPr>
        <p:spPr>
          <a:xfrm>
            <a:off x="6096862" y="4738186"/>
            <a:ext cx="1592941" cy="1765151"/>
          </a:xfrm>
          <a:custGeom>
            <a:avLst/>
            <a:gdLst>
              <a:gd name="connsiteX0" fmla="*/ 1611669 w 1592941"/>
              <a:gd name="connsiteY0" fmla="*/ 688409 h 1765151"/>
              <a:gd name="connsiteX1" fmla="*/ 0 w 1592941"/>
              <a:gd name="connsiteY1" fmla="*/ 1785386 h 1765151"/>
              <a:gd name="connsiteX2" fmla="*/ 0 w 1592941"/>
              <a:gd name="connsiteY2" fmla="*/ 425574 h 1765151"/>
              <a:gd name="connsiteX3" fmla="*/ 625552 w 1592941"/>
              <a:gd name="connsiteY3" fmla="*/ 0 h 1765151"/>
            </a:gdLst>
            <a:ahLst/>
            <a:cxnLst>
              <a:cxn ang="0">
                <a:pos x="connsiteX0" y="connsiteY0"/>
              </a:cxn>
              <a:cxn ang="0">
                <a:pos x="connsiteX1" y="connsiteY1"/>
              </a:cxn>
              <a:cxn ang="0">
                <a:pos x="connsiteX2" y="connsiteY2"/>
              </a:cxn>
              <a:cxn ang="0">
                <a:pos x="connsiteX3" y="connsiteY3"/>
              </a:cxn>
            </a:cxnLst>
            <a:rect l="l" t="t" r="r" b="b"/>
            <a:pathLst>
              <a:path w="1592941" h="1765151">
                <a:moveTo>
                  <a:pt x="1611669" y="688409"/>
                </a:moveTo>
                <a:lnTo>
                  <a:pt x="0" y="1785386"/>
                </a:lnTo>
                <a:lnTo>
                  <a:pt x="0" y="425574"/>
                </a:lnTo>
                <a:lnTo>
                  <a:pt x="625552" y="0"/>
                </a:lnTo>
                <a:close/>
              </a:path>
            </a:pathLst>
          </a:custGeom>
          <a:solidFill>
            <a:schemeClr val="accent3"/>
          </a:solidFill>
          <a:ln w="9525" cap="flat">
            <a:noFill/>
            <a:prstDash val="solid"/>
            <a:miter/>
          </a:ln>
        </p:spPr>
        <p:txBody>
          <a:bodyPr rtlCol="0" anchor="ctr">
            <a:noAutofit/>
          </a:bodyPr>
          <a:lstStyle/>
          <a:p>
            <a:pPr lvl="0"/>
            <a:endParaRPr lang="en-US" dirty="0"/>
          </a:p>
        </p:txBody>
      </p:sp>
      <p:sp>
        <p:nvSpPr>
          <p:cNvPr id="8" name="Freeform: Shape 7">
            <a:extLst>
              <a:ext uri="{FF2B5EF4-FFF2-40B4-BE49-F238E27FC236}">
                <a16:creationId xmlns:a16="http://schemas.microsoft.com/office/drawing/2014/main" id="{6D7F8349-ACC4-4383-99B6-33AAF0248346}"/>
              </a:ext>
            </a:extLst>
          </p:cNvPr>
          <p:cNvSpPr/>
          <p:nvPr userDrawn="1"/>
        </p:nvSpPr>
        <p:spPr>
          <a:xfrm>
            <a:off x="4489713" y="4734957"/>
            <a:ext cx="1592941" cy="1786677"/>
          </a:xfrm>
          <a:custGeom>
            <a:avLst/>
            <a:gdLst>
              <a:gd name="connsiteX0" fmla="*/ 1607149 w 1592941"/>
              <a:gd name="connsiteY0" fmla="*/ 428803 h 1786677"/>
              <a:gd name="connsiteX1" fmla="*/ 1607149 w 1592941"/>
              <a:gd name="connsiteY1" fmla="*/ 1788615 h 1786677"/>
              <a:gd name="connsiteX2" fmla="*/ 0 w 1592941"/>
              <a:gd name="connsiteY2" fmla="*/ 681521 h 1786677"/>
              <a:gd name="connsiteX3" fmla="*/ 984610 w 1592941"/>
              <a:gd name="connsiteY3" fmla="*/ 0 h 1786677"/>
            </a:gdLst>
            <a:ahLst/>
            <a:cxnLst>
              <a:cxn ang="0">
                <a:pos x="connsiteX0" y="connsiteY0"/>
              </a:cxn>
              <a:cxn ang="0">
                <a:pos x="connsiteX1" y="connsiteY1"/>
              </a:cxn>
              <a:cxn ang="0">
                <a:pos x="connsiteX2" y="connsiteY2"/>
              </a:cxn>
              <a:cxn ang="0">
                <a:pos x="connsiteX3" y="connsiteY3"/>
              </a:cxn>
            </a:cxnLst>
            <a:rect l="l" t="t" r="r" b="b"/>
            <a:pathLst>
              <a:path w="1592941" h="1786677">
                <a:moveTo>
                  <a:pt x="1607149" y="428803"/>
                </a:moveTo>
                <a:lnTo>
                  <a:pt x="1607149" y="1788615"/>
                </a:lnTo>
                <a:lnTo>
                  <a:pt x="0" y="681521"/>
                </a:lnTo>
                <a:lnTo>
                  <a:pt x="984610" y="0"/>
                </a:lnTo>
                <a:close/>
              </a:path>
            </a:pathLst>
          </a:custGeom>
          <a:solidFill>
            <a:schemeClr val="accent1"/>
          </a:solidFill>
          <a:ln w="21510" cap="flat">
            <a:noFill/>
            <a:prstDash val="solid"/>
            <a:miter/>
          </a:ln>
        </p:spPr>
        <p:txBody>
          <a:bodyPr rtlCol="0" anchor="ctr">
            <a:noAutofit/>
          </a:bodyPr>
          <a:lstStyle/>
          <a:p>
            <a:endParaRPr lang="en-US" dirty="0"/>
          </a:p>
        </p:txBody>
      </p:sp>
      <p:sp>
        <p:nvSpPr>
          <p:cNvPr id="9" name="Freeform: Shape 8">
            <a:extLst>
              <a:ext uri="{FF2B5EF4-FFF2-40B4-BE49-F238E27FC236}">
                <a16:creationId xmlns:a16="http://schemas.microsoft.com/office/drawing/2014/main" id="{E1F91A86-A4FE-4EEA-95A9-ABA2D725D4B1}"/>
              </a:ext>
            </a:extLst>
          </p:cNvPr>
          <p:cNvSpPr/>
          <p:nvPr userDrawn="1"/>
        </p:nvSpPr>
        <p:spPr>
          <a:xfrm>
            <a:off x="4481748" y="3179902"/>
            <a:ext cx="990207" cy="2217202"/>
          </a:xfrm>
          <a:custGeom>
            <a:avLst/>
            <a:gdLst>
              <a:gd name="connsiteX0" fmla="*/ 992575 w 990206"/>
              <a:gd name="connsiteY0" fmla="*/ 1555055 h 2217202"/>
              <a:gd name="connsiteX1" fmla="*/ 7965 w 990206"/>
              <a:gd name="connsiteY1" fmla="*/ 2236576 h 2217202"/>
              <a:gd name="connsiteX2" fmla="*/ 0 w 990206"/>
              <a:gd name="connsiteY2" fmla="*/ 2231194 h 2217202"/>
              <a:gd name="connsiteX3" fmla="*/ 0 w 990206"/>
              <a:gd name="connsiteY3" fmla="*/ 6027 h 2217202"/>
              <a:gd name="connsiteX4" fmla="*/ 8610 w 990206"/>
              <a:gd name="connsiteY4" fmla="*/ 0 h 2217202"/>
              <a:gd name="connsiteX5" fmla="*/ 981166 w 990206"/>
              <a:gd name="connsiteY5" fmla="*/ 678937 h 2217202"/>
              <a:gd name="connsiteX6" fmla="*/ 981166 w 990206"/>
              <a:gd name="connsiteY6" fmla="*/ 1547091 h 22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206" h="2217202">
                <a:moveTo>
                  <a:pt x="992575" y="1555055"/>
                </a:moveTo>
                <a:lnTo>
                  <a:pt x="7965" y="2236576"/>
                </a:lnTo>
                <a:lnTo>
                  <a:pt x="0" y="2231194"/>
                </a:lnTo>
                <a:lnTo>
                  <a:pt x="0" y="6027"/>
                </a:lnTo>
                <a:lnTo>
                  <a:pt x="8610" y="0"/>
                </a:lnTo>
                <a:lnTo>
                  <a:pt x="981166" y="678937"/>
                </a:lnTo>
                <a:lnTo>
                  <a:pt x="981166" y="1547091"/>
                </a:lnTo>
                <a:close/>
              </a:path>
            </a:pathLst>
          </a:custGeom>
          <a:solidFill>
            <a:schemeClr val="accent2"/>
          </a:solidFill>
          <a:ln w="21510" cap="flat">
            <a:noFill/>
            <a:prstDash val="solid"/>
            <a:miter/>
          </a:ln>
        </p:spPr>
        <p:txBody>
          <a:bodyPr rtlCol="0" anchor="ctr">
            <a:noAutofit/>
          </a:bodyPr>
          <a:lstStyle/>
          <a:p>
            <a:endParaRPr lang="en-US" dirty="0"/>
          </a:p>
        </p:txBody>
      </p:sp>
      <p:pic>
        <p:nvPicPr>
          <p:cNvPr id="67" name="Graphic 66">
            <a:extLst>
              <a:ext uri="{FF2B5EF4-FFF2-40B4-BE49-F238E27FC236}">
                <a16:creationId xmlns:a16="http://schemas.microsoft.com/office/drawing/2014/main" id="{F71D921D-E815-F843-8D83-B6C3C16439D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35" name="Slide Number Placeholder 5">
            <a:extLst>
              <a:ext uri="{FF2B5EF4-FFF2-40B4-BE49-F238E27FC236}">
                <a16:creationId xmlns:a16="http://schemas.microsoft.com/office/drawing/2014/main" id="{E39AA353-828F-9843-81DF-C8715D95E2FD}"/>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6" name="Footer Placeholder 3">
            <a:extLst>
              <a:ext uri="{FF2B5EF4-FFF2-40B4-BE49-F238E27FC236}">
                <a16:creationId xmlns:a16="http://schemas.microsoft.com/office/drawing/2014/main" id="{613A4A38-B2A1-774E-B726-80570CBE9724}"/>
              </a:ext>
            </a:extLst>
          </p:cNvPr>
          <p:cNvSpPr>
            <a:spLocks noGrp="1"/>
          </p:cNvSpPr>
          <p:nvPr userDrawn="1">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7" name="Title 3">
            <a:extLst>
              <a:ext uri="{FF2B5EF4-FFF2-40B4-BE49-F238E27FC236}">
                <a16:creationId xmlns:a16="http://schemas.microsoft.com/office/drawing/2014/main" id="{4A622850-460D-49C9-AA98-72BC2DF62D24}"/>
              </a:ext>
            </a:extLst>
          </p:cNvPr>
          <p:cNvSpPr>
            <a:spLocks noGrp="1"/>
          </p:cNvSpPr>
          <p:nvPr userDrawn="1">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userDrawn="1">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9" name="Text Placeholder 22">
            <a:extLst>
              <a:ext uri="{FF2B5EF4-FFF2-40B4-BE49-F238E27FC236}">
                <a16:creationId xmlns:a16="http://schemas.microsoft.com/office/drawing/2014/main" id="{9C2C73CC-7BBA-4AB5-9F31-7A9948DD02C7}"/>
              </a:ext>
            </a:extLst>
          </p:cNvPr>
          <p:cNvSpPr>
            <a:spLocks noGrp="1"/>
          </p:cNvSpPr>
          <p:nvPr userDrawn="1">
            <p:ph type="body" sz="quarter" idx="15" hasCustomPrompt="1"/>
          </p:nvPr>
        </p:nvSpPr>
        <p:spPr>
          <a:xfrm>
            <a:off x="457200"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40" name="Text Placeholder 22">
            <a:extLst>
              <a:ext uri="{FF2B5EF4-FFF2-40B4-BE49-F238E27FC236}">
                <a16:creationId xmlns:a16="http://schemas.microsoft.com/office/drawing/2014/main" id="{ACF8BC36-C25E-4E14-81DD-43E6AD7F43ED}"/>
              </a:ext>
            </a:extLst>
          </p:cNvPr>
          <p:cNvSpPr>
            <a:spLocks noGrp="1"/>
          </p:cNvSpPr>
          <p:nvPr userDrawn="1">
            <p:ph type="body" sz="quarter" idx="13" hasCustomPrompt="1"/>
          </p:nvPr>
        </p:nvSpPr>
        <p:spPr>
          <a:xfrm>
            <a:off x="457200" y="2430780"/>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47" name="Text Placeholder 22">
            <a:extLst>
              <a:ext uri="{FF2B5EF4-FFF2-40B4-BE49-F238E27FC236}">
                <a16:creationId xmlns:a16="http://schemas.microsoft.com/office/drawing/2014/main" id="{8ED2000C-3948-4295-8AB2-77B8EA5FC36E}"/>
              </a:ext>
            </a:extLst>
          </p:cNvPr>
          <p:cNvSpPr>
            <a:spLocks noGrp="1"/>
          </p:cNvSpPr>
          <p:nvPr userDrawn="1">
            <p:ph type="body" sz="quarter" idx="36" hasCustomPrompt="1"/>
          </p:nvPr>
        </p:nvSpPr>
        <p:spPr>
          <a:xfrm>
            <a:off x="457200" y="3620123"/>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49" name="Text Placeholder 22">
            <a:extLst>
              <a:ext uri="{FF2B5EF4-FFF2-40B4-BE49-F238E27FC236}">
                <a16:creationId xmlns:a16="http://schemas.microsoft.com/office/drawing/2014/main" id="{CAEC8480-4C52-4DF4-9AA5-B6002C4CF189}"/>
              </a:ext>
            </a:extLst>
          </p:cNvPr>
          <p:cNvSpPr>
            <a:spLocks noGrp="1"/>
          </p:cNvSpPr>
          <p:nvPr userDrawn="1">
            <p:ph type="body" sz="quarter" idx="35" hasCustomPrompt="1"/>
          </p:nvPr>
        </p:nvSpPr>
        <p:spPr>
          <a:xfrm>
            <a:off x="457200" y="3977537"/>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0" name="Text Placeholder 22">
            <a:extLst>
              <a:ext uri="{FF2B5EF4-FFF2-40B4-BE49-F238E27FC236}">
                <a16:creationId xmlns:a16="http://schemas.microsoft.com/office/drawing/2014/main" id="{CC93A6C9-814A-45DA-9A94-78668198253B}"/>
              </a:ext>
            </a:extLst>
          </p:cNvPr>
          <p:cNvSpPr>
            <a:spLocks noGrp="1"/>
          </p:cNvSpPr>
          <p:nvPr userDrawn="1">
            <p:ph type="body" sz="quarter" idx="38" hasCustomPrompt="1"/>
          </p:nvPr>
        </p:nvSpPr>
        <p:spPr>
          <a:xfrm>
            <a:off x="457200" y="5173980"/>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1" name="Text Placeholder 22">
            <a:extLst>
              <a:ext uri="{FF2B5EF4-FFF2-40B4-BE49-F238E27FC236}">
                <a16:creationId xmlns:a16="http://schemas.microsoft.com/office/drawing/2014/main" id="{BCC769DA-6390-4C7E-A4D7-0169214C1BD0}"/>
              </a:ext>
            </a:extLst>
          </p:cNvPr>
          <p:cNvSpPr>
            <a:spLocks noGrp="1"/>
          </p:cNvSpPr>
          <p:nvPr userDrawn="1">
            <p:ph type="body" sz="quarter" idx="37" hasCustomPrompt="1"/>
          </p:nvPr>
        </p:nvSpPr>
        <p:spPr>
          <a:xfrm>
            <a:off x="457200" y="5531394"/>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2" name="Text Placeholder 22">
            <a:extLst>
              <a:ext uri="{FF2B5EF4-FFF2-40B4-BE49-F238E27FC236}">
                <a16:creationId xmlns:a16="http://schemas.microsoft.com/office/drawing/2014/main" id="{17FB0337-BD14-4336-B29B-3DCE71A60C79}"/>
              </a:ext>
            </a:extLst>
          </p:cNvPr>
          <p:cNvSpPr>
            <a:spLocks noGrp="1"/>
          </p:cNvSpPr>
          <p:nvPr userDrawn="1">
            <p:ph type="body" sz="quarter" idx="40" hasCustomPrompt="1"/>
          </p:nvPr>
        </p:nvSpPr>
        <p:spPr>
          <a:xfrm>
            <a:off x="8316410"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1"/>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3" name="Text Placeholder 22">
            <a:extLst>
              <a:ext uri="{FF2B5EF4-FFF2-40B4-BE49-F238E27FC236}">
                <a16:creationId xmlns:a16="http://schemas.microsoft.com/office/drawing/2014/main" id="{663F0B75-7DCF-4676-8D96-0F13787305EA}"/>
              </a:ext>
            </a:extLst>
          </p:cNvPr>
          <p:cNvSpPr>
            <a:spLocks noGrp="1"/>
          </p:cNvSpPr>
          <p:nvPr userDrawn="1">
            <p:ph type="body" sz="quarter" idx="39" hasCustomPrompt="1"/>
          </p:nvPr>
        </p:nvSpPr>
        <p:spPr>
          <a:xfrm>
            <a:off x="8316410" y="2430780"/>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4" name="Text Placeholder 22">
            <a:extLst>
              <a:ext uri="{FF2B5EF4-FFF2-40B4-BE49-F238E27FC236}">
                <a16:creationId xmlns:a16="http://schemas.microsoft.com/office/drawing/2014/main" id="{772D1169-69D6-46E6-8422-F6D62FEC420F}"/>
              </a:ext>
            </a:extLst>
          </p:cNvPr>
          <p:cNvSpPr>
            <a:spLocks noGrp="1"/>
          </p:cNvSpPr>
          <p:nvPr userDrawn="1">
            <p:ph type="body" sz="quarter" idx="42" hasCustomPrompt="1"/>
          </p:nvPr>
        </p:nvSpPr>
        <p:spPr>
          <a:xfrm>
            <a:off x="8316410" y="3620123"/>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68" name="Text Placeholder 22">
            <a:extLst>
              <a:ext uri="{FF2B5EF4-FFF2-40B4-BE49-F238E27FC236}">
                <a16:creationId xmlns:a16="http://schemas.microsoft.com/office/drawing/2014/main" id="{7325DA6B-3F84-4F11-8E5F-18FF0C5E2C04}"/>
              </a:ext>
            </a:extLst>
          </p:cNvPr>
          <p:cNvSpPr>
            <a:spLocks noGrp="1"/>
          </p:cNvSpPr>
          <p:nvPr userDrawn="1">
            <p:ph type="body" sz="quarter" idx="41" hasCustomPrompt="1"/>
          </p:nvPr>
        </p:nvSpPr>
        <p:spPr>
          <a:xfrm>
            <a:off x="8316410" y="3977537"/>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1"/>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69" name="Text Placeholder 22">
            <a:extLst>
              <a:ext uri="{FF2B5EF4-FFF2-40B4-BE49-F238E27FC236}">
                <a16:creationId xmlns:a16="http://schemas.microsoft.com/office/drawing/2014/main" id="{F3D91CB9-9423-4706-8307-13B75842526C}"/>
              </a:ext>
            </a:extLst>
          </p:cNvPr>
          <p:cNvSpPr>
            <a:spLocks noGrp="1"/>
          </p:cNvSpPr>
          <p:nvPr userDrawn="1">
            <p:ph type="body" sz="quarter" idx="44" hasCustomPrompt="1"/>
          </p:nvPr>
        </p:nvSpPr>
        <p:spPr>
          <a:xfrm>
            <a:off x="8316410" y="5173980"/>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70" name="Text Placeholder 22">
            <a:extLst>
              <a:ext uri="{FF2B5EF4-FFF2-40B4-BE49-F238E27FC236}">
                <a16:creationId xmlns:a16="http://schemas.microsoft.com/office/drawing/2014/main" id="{BBDBFD81-3F25-45C4-931C-C83C44642FA1}"/>
              </a:ext>
            </a:extLst>
          </p:cNvPr>
          <p:cNvSpPr>
            <a:spLocks noGrp="1"/>
          </p:cNvSpPr>
          <p:nvPr userDrawn="1">
            <p:ph type="body" sz="quarter" idx="43" hasCustomPrompt="1"/>
          </p:nvPr>
        </p:nvSpPr>
        <p:spPr>
          <a:xfrm>
            <a:off x="8316410" y="5531394"/>
            <a:ext cx="3429000" cy="864000"/>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71" name="Text Placeholder 22">
            <a:extLst>
              <a:ext uri="{FF2B5EF4-FFF2-40B4-BE49-F238E27FC236}">
                <a16:creationId xmlns:a16="http://schemas.microsoft.com/office/drawing/2014/main" id="{8AF38639-9E42-4E6E-B553-2E71FACE72C6}"/>
              </a:ext>
            </a:extLst>
          </p:cNvPr>
          <p:cNvSpPr>
            <a:spLocks noGrp="1"/>
          </p:cNvSpPr>
          <p:nvPr userDrawn="1">
            <p:ph type="body" sz="quarter" idx="21" hasCustomPrompt="1"/>
          </p:nvPr>
        </p:nvSpPr>
        <p:spPr>
          <a:xfrm rot="19506392">
            <a:off x="4707211" y="2532499"/>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2" name="Text Placeholder 22">
            <a:extLst>
              <a:ext uri="{FF2B5EF4-FFF2-40B4-BE49-F238E27FC236}">
                <a16:creationId xmlns:a16="http://schemas.microsoft.com/office/drawing/2014/main" id="{79D5FF8B-3DD9-4FCF-BC25-11B5B708C5C5}"/>
              </a:ext>
            </a:extLst>
          </p:cNvPr>
          <p:cNvSpPr>
            <a:spLocks noGrp="1"/>
          </p:cNvSpPr>
          <p:nvPr userDrawn="1">
            <p:ph type="body" sz="quarter" idx="22" hasCustomPrompt="1"/>
          </p:nvPr>
        </p:nvSpPr>
        <p:spPr>
          <a:xfrm rot="2116930">
            <a:off x="5943838" y="2523716"/>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3" name="Text Placeholder 22">
            <a:extLst>
              <a:ext uri="{FF2B5EF4-FFF2-40B4-BE49-F238E27FC236}">
                <a16:creationId xmlns:a16="http://schemas.microsoft.com/office/drawing/2014/main" id="{D62B37A5-61DE-4BC5-AC73-372745F00D33}"/>
              </a:ext>
            </a:extLst>
          </p:cNvPr>
          <p:cNvSpPr>
            <a:spLocks noGrp="1"/>
          </p:cNvSpPr>
          <p:nvPr userDrawn="1">
            <p:ph type="body" sz="quarter" idx="23" hasCustomPrompt="1"/>
          </p:nvPr>
        </p:nvSpPr>
        <p:spPr>
          <a:xfrm rot="5400000">
            <a:off x="6525291" y="3822312"/>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4" name="Text Placeholder 22">
            <a:extLst>
              <a:ext uri="{FF2B5EF4-FFF2-40B4-BE49-F238E27FC236}">
                <a16:creationId xmlns:a16="http://schemas.microsoft.com/office/drawing/2014/main" id="{BF3E3C32-F259-4D5B-A786-01B702121B05}"/>
              </a:ext>
            </a:extLst>
          </p:cNvPr>
          <p:cNvSpPr>
            <a:spLocks noGrp="1"/>
          </p:cNvSpPr>
          <p:nvPr userDrawn="1">
            <p:ph type="body" sz="quarter" idx="25" hasCustomPrompt="1"/>
          </p:nvPr>
        </p:nvSpPr>
        <p:spPr>
          <a:xfrm rot="19561147">
            <a:off x="5958993" y="5100396"/>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5" name="Text Placeholder 22">
            <a:extLst>
              <a:ext uri="{FF2B5EF4-FFF2-40B4-BE49-F238E27FC236}">
                <a16:creationId xmlns:a16="http://schemas.microsoft.com/office/drawing/2014/main" id="{C177F396-C670-417E-A13A-5F5DC906BB47}"/>
              </a:ext>
            </a:extLst>
          </p:cNvPr>
          <p:cNvSpPr>
            <a:spLocks noGrp="1"/>
          </p:cNvSpPr>
          <p:nvPr userDrawn="1">
            <p:ph type="body" sz="quarter" idx="26" hasCustomPrompt="1"/>
          </p:nvPr>
        </p:nvSpPr>
        <p:spPr>
          <a:xfrm rot="2089401">
            <a:off x="4714637" y="5104414"/>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6" name="Text Placeholder 22">
            <a:extLst>
              <a:ext uri="{FF2B5EF4-FFF2-40B4-BE49-F238E27FC236}">
                <a16:creationId xmlns:a16="http://schemas.microsoft.com/office/drawing/2014/main" id="{4B383110-BE85-43CD-BC20-B568C760864C}"/>
              </a:ext>
            </a:extLst>
          </p:cNvPr>
          <p:cNvSpPr>
            <a:spLocks noGrp="1"/>
          </p:cNvSpPr>
          <p:nvPr userDrawn="1">
            <p:ph type="body" sz="quarter" idx="24" hasCustomPrompt="1"/>
          </p:nvPr>
        </p:nvSpPr>
        <p:spPr>
          <a:xfrm rot="16200000">
            <a:off x="4110812" y="3845473"/>
            <a:ext cx="1543050" cy="986851"/>
          </a:xfrm>
          <a:prstGeom prst="rect">
            <a:avLst/>
          </a:prstGeom>
        </p:spPr>
        <p:txBody>
          <a:bodyPr anchor="ctr">
            <a:noAutofit/>
          </a:bodyP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mj-lt"/>
                <a:ea typeface="Cambria" panose="02040503050406030204" pitchFamily="18" charset="0"/>
              </a:defRPr>
            </a:lvl1pPr>
          </a:lstStyle>
          <a:p>
            <a:pPr lvl="0"/>
            <a:r>
              <a:rPr lang="en-US" dirty="0"/>
              <a:t>Lorem ipsum dolor sit</a:t>
            </a:r>
          </a:p>
        </p:txBody>
      </p:sp>
      <p:sp>
        <p:nvSpPr>
          <p:cNvPr id="77" name="Text Placeholder 2">
            <a:extLst>
              <a:ext uri="{FF2B5EF4-FFF2-40B4-BE49-F238E27FC236}">
                <a16:creationId xmlns:a16="http://schemas.microsoft.com/office/drawing/2014/main" id="{1272E3C2-33B0-42F0-98CB-8C8C243BF377}"/>
              </a:ext>
            </a:extLst>
          </p:cNvPr>
          <p:cNvSpPr>
            <a:spLocks noGrp="1"/>
          </p:cNvSpPr>
          <p:nvPr userDrawn="1">
            <p:ph type="body" sz="quarter" idx="14"/>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41" name="Rectangle 40">
            <a:extLst>
              <a:ext uri="{FF2B5EF4-FFF2-40B4-BE49-F238E27FC236}">
                <a16:creationId xmlns:a16="http://schemas.microsoft.com/office/drawing/2014/main" id="{55932FE3-8F5C-4BA9-985F-B47DD345C519}"/>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5" name="Freeform: Shape 44">
            <a:extLst>
              <a:ext uri="{FF2B5EF4-FFF2-40B4-BE49-F238E27FC236}">
                <a16:creationId xmlns:a16="http://schemas.microsoft.com/office/drawing/2014/main" id="{6052DF19-9D96-4A54-8FA3-46C146C0B5FE}"/>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8" name="Freeform: Shape 47">
            <a:extLst>
              <a:ext uri="{FF2B5EF4-FFF2-40B4-BE49-F238E27FC236}">
                <a16:creationId xmlns:a16="http://schemas.microsoft.com/office/drawing/2014/main" id="{F5943707-01DA-43C9-BA1F-E7EE0E7D2359}"/>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212450366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hombus Graphic - White">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98514DF3-2565-4D9A-BBC5-70C09D78F24E}"/>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1" name="Text Placeholder 2">
            <a:extLst>
              <a:ext uri="{FF2B5EF4-FFF2-40B4-BE49-F238E27FC236}">
                <a16:creationId xmlns:a16="http://schemas.microsoft.com/office/drawing/2014/main" id="{236ECACE-04EC-47DB-846A-29FC6D87FAEB}"/>
              </a:ext>
            </a:extLst>
          </p:cNvPr>
          <p:cNvSpPr>
            <a:spLocks noGrp="1"/>
          </p:cNvSpPr>
          <p:nvPr>
            <p:ph type="body" sz="quarter" idx="51"/>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pic>
        <p:nvPicPr>
          <p:cNvPr id="34" name="Picture 33">
            <a:extLst>
              <a:ext uri="{FF2B5EF4-FFF2-40B4-BE49-F238E27FC236}">
                <a16:creationId xmlns:a16="http://schemas.microsoft.com/office/drawing/2014/main" id="{810E4203-08E6-4418-AD09-B8D9334C0A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81450" y="1905000"/>
            <a:ext cx="4229100" cy="4393282"/>
          </a:xfrm>
          <a:prstGeom prst="rect">
            <a:avLst/>
          </a:prstGeom>
        </p:spPr>
      </p:pic>
      <p:sp>
        <p:nvSpPr>
          <p:cNvPr id="109" name="Text Placeholder 22">
            <a:extLst>
              <a:ext uri="{FF2B5EF4-FFF2-40B4-BE49-F238E27FC236}">
                <a16:creationId xmlns:a16="http://schemas.microsoft.com/office/drawing/2014/main" id="{FBCEB81F-942E-4E7A-BE5F-A71E6B6C7C8F}"/>
              </a:ext>
            </a:extLst>
          </p:cNvPr>
          <p:cNvSpPr>
            <a:spLocks noGrp="1"/>
          </p:cNvSpPr>
          <p:nvPr>
            <p:ph type="body" sz="quarter" idx="50" hasCustomPrompt="1"/>
          </p:nvPr>
        </p:nvSpPr>
        <p:spPr>
          <a:xfrm rot="19531667">
            <a:off x="6418611" y="4299467"/>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105" name="Text Placeholder 22">
            <a:extLst>
              <a:ext uri="{FF2B5EF4-FFF2-40B4-BE49-F238E27FC236}">
                <a16:creationId xmlns:a16="http://schemas.microsoft.com/office/drawing/2014/main" id="{593B0717-10AC-4D8A-AC3E-9AE479780851}"/>
              </a:ext>
            </a:extLst>
          </p:cNvPr>
          <p:cNvSpPr>
            <a:spLocks noGrp="1"/>
          </p:cNvSpPr>
          <p:nvPr>
            <p:ph type="body" sz="quarter" idx="48" hasCustomPrompt="1"/>
          </p:nvPr>
        </p:nvSpPr>
        <p:spPr>
          <a:xfrm>
            <a:off x="8332196" y="4249909"/>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8" name="Text Placeholder 22">
            <a:extLst>
              <a:ext uri="{FF2B5EF4-FFF2-40B4-BE49-F238E27FC236}">
                <a16:creationId xmlns:a16="http://schemas.microsoft.com/office/drawing/2014/main" id="{F4A672A1-DF33-4339-9EF7-E3C45D01E870}"/>
              </a:ext>
            </a:extLst>
          </p:cNvPr>
          <p:cNvSpPr>
            <a:spLocks noGrp="1"/>
          </p:cNvSpPr>
          <p:nvPr>
            <p:ph type="body" sz="quarter" idx="49" hasCustomPrompt="1"/>
          </p:nvPr>
        </p:nvSpPr>
        <p:spPr>
          <a:xfrm>
            <a:off x="8327895" y="4605233"/>
            <a:ext cx="3429000" cy="1618061"/>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104" name="Text Placeholder 22">
            <a:extLst>
              <a:ext uri="{FF2B5EF4-FFF2-40B4-BE49-F238E27FC236}">
                <a16:creationId xmlns:a16="http://schemas.microsoft.com/office/drawing/2014/main" id="{5739B760-04F1-4E96-9625-86162A24023A}"/>
              </a:ext>
            </a:extLst>
          </p:cNvPr>
          <p:cNvSpPr>
            <a:spLocks noGrp="1"/>
          </p:cNvSpPr>
          <p:nvPr>
            <p:ph type="body" sz="quarter" idx="47" hasCustomPrompt="1"/>
          </p:nvPr>
        </p:nvSpPr>
        <p:spPr>
          <a:xfrm rot="2012338">
            <a:off x="4209576" y="4269079"/>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102" name="Text Placeholder 22">
            <a:extLst>
              <a:ext uri="{FF2B5EF4-FFF2-40B4-BE49-F238E27FC236}">
                <a16:creationId xmlns:a16="http://schemas.microsoft.com/office/drawing/2014/main" id="{C2EE9E2F-F363-41F8-ADFC-EBD072BF96B7}"/>
              </a:ext>
            </a:extLst>
          </p:cNvPr>
          <p:cNvSpPr>
            <a:spLocks noGrp="1"/>
          </p:cNvSpPr>
          <p:nvPr>
            <p:ph type="body" sz="quarter" idx="45" hasCustomPrompt="1"/>
          </p:nvPr>
        </p:nvSpPr>
        <p:spPr>
          <a:xfrm>
            <a:off x="457200" y="4249909"/>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3" name="Text Placeholder 22">
            <a:extLst>
              <a:ext uri="{FF2B5EF4-FFF2-40B4-BE49-F238E27FC236}">
                <a16:creationId xmlns:a16="http://schemas.microsoft.com/office/drawing/2014/main" id="{3D6F4B72-C43F-4B3C-ABB9-9CEEE7866602}"/>
              </a:ext>
            </a:extLst>
          </p:cNvPr>
          <p:cNvSpPr>
            <a:spLocks noGrp="1"/>
          </p:cNvSpPr>
          <p:nvPr>
            <p:ph type="body" sz="quarter" idx="46" hasCustomPrompt="1"/>
          </p:nvPr>
        </p:nvSpPr>
        <p:spPr>
          <a:xfrm>
            <a:off x="457200" y="4605233"/>
            <a:ext cx="3429000" cy="1618061"/>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7" name="Text Placeholder 22">
            <a:extLst>
              <a:ext uri="{FF2B5EF4-FFF2-40B4-BE49-F238E27FC236}">
                <a16:creationId xmlns:a16="http://schemas.microsoft.com/office/drawing/2014/main" id="{474ED7E6-58E4-4601-9048-F4C3A2B3CCD0}"/>
              </a:ext>
            </a:extLst>
          </p:cNvPr>
          <p:cNvSpPr>
            <a:spLocks noGrp="1"/>
          </p:cNvSpPr>
          <p:nvPr>
            <p:ph type="body" sz="quarter" idx="41" hasCustomPrompt="1"/>
          </p:nvPr>
        </p:nvSpPr>
        <p:spPr>
          <a:xfrm rot="2090804">
            <a:off x="6086947" y="2655893"/>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96" name="Text Placeholder 22">
            <a:extLst>
              <a:ext uri="{FF2B5EF4-FFF2-40B4-BE49-F238E27FC236}">
                <a16:creationId xmlns:a16="http://schemas.microsoft.com/office/drawing/2014/main" id="{50A1ADE9-2549-4891-9B36-D502692420AB}"/>
              </a:ext>
            </a:extLst>
          </p:cNvPr>
          <p:cNvSpPr>
            <a:spLocks noGrp="1"/>
          </p:cNvSpPr>
          <p:nvPr>
            <p:ph type="body" sz="quarter" idx="40" hasCustomPrompt="1"/>
          </p:nvPr>
        </p:nvSpPr>
        <p:spPr>
          <a:xfrm>
            <a:off x="8332196" y="2430779"/>
            <a:ext cx="3429000" cy="1618061"/>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5" name="Text Placeholder 22">
            <a:extLst>
              <a:ext uri="{FF2B5EF4-FFF2-40B4-BE49-F238E27FC236}">
                <a16:creationId xmlns:a16="http://schemas.microsoft.com/office/drawing/2014/main" id="{AB8EFFC8-24E8-432B-ABA7-F06504E127A0}"/>
              </a:ext>
            </a:extLst>
          </p:cNvPr>
          <p:cNvSpPr>
            <a:spLocks noGrp="1"/>
          </p:cNvSpPr>
          <p:nvPr>
            <p:ph type="body" sz="quarter" idx="39" hasCustomPrompt="1"/>
          </p:nvPr>
        </p:nvSpPr>
        <p:spPr>
          <a:xfrm>
            <a:off x="8332196"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57" name="Text Placeholder 22">
            <a:extLst>
              <a:ext uri="{FF2B5EF4-FFF2-40B4-BE49-F238E27FC236}">
                <a16:creationId xmlns:a16="http://schemas.microsoft.com/office/drawing/2014/main" id="{62163FF3-A63D-42A2-B8D8-9D1C745B0538}"/>
              </a:ext>
            </a:extLst>
          </p:cNvPr>
          <p:cNvSpPr>
            <a:spLocks noGrp="1"/>
          </p:cNvSpPr>
          <p:nvPr>
            <p:ph type="body" sz="quarter" idx="27" hasCustomPrompt="1"/>
          </p:nvPr>
        </p:nvSpPr>
        <p:spPr>
          <a:xfrm rot="19584229">
            <a:off x="4526147" y="2699113"/>
            <a:ext cx="1543050" cy="986851"/>
          </a:xfrm>
          <a:prstGeom prst="rect">
            <a:avLst/>
          </a:prstGeom>
        </p:spPr>
        <p:txBody>
          <a:bodyPr anchor="ctr"/>
          <a:lstStyle>
            <a:lvl1pPr marL="0" indent="0" algn="ctr">
              <a:lnSpc>
                <a:spcPct val="100000"/>
              </a:lnSpc>
              <a:spcAft>
                <a:spcPts val="1200"/>
              </a:spcAft>
              <a:buClr>
                <a:srgbClr val="FF545F"/>
              </a:buClr>
              <a:buFont typeface="Arial" panose="020B0604020202020204" pitchFamily="34" charset="0"/>
              <a:buNone/>
              <a:defRPr sz="1400" b="1">
                <a:solidFill>
                  <a:schemeClr val="bg1"/>
                </a:solidFill>
                <a:latin typeface="Georgia" panose="02040502050405020303" pitchFamily="18" charset="0"/>
              </a:defRPr>
            </a:lvl1pPr>
          </a:lstStyle>
          <a:p>
            <a:pPr lvl="0"/>
            <a:r>
              <a:rPr lang="en-US" dirty="0"/>
              <a:t>Lorem ipsum dolor sit</a:t>
            </a:r>
          </a:p>
        </p:txBody>
      </p:sp>
      <p:sp>
        <p:nvSpPr>
          <p:cNvPr id="56" name="Text Placeholder 22">
            <a:extLst>
              <a:ext uri="{FF2B5EF4-FFF2-40B4-BE49-F238E27FC236}">
                <a16:creationId xmlns:a16="http://schemas.microsoft.com/office/drawing/2014/main" id="{C634C98C-2B5D-422B-A0BD-272C413DE54A}"/>
              </a:ext>
            </a:extLst>
          </p:cNvPr>
          <p:cNvSpPr>
            <a:spLocks noGrp="1"/>
          </p:cNvSpPr>
          <p:nvPr>
            <p:ph type="body" sz="quarter" idx="26" hasCustomPrompt="1"/>
          </p:nvPr>
        </p:nvSpPr>
        <p:spPr>
          <a:xfrm>
            <a:off x="457200" y="2430779"/>
            <a:ext cx="3429000" cy="1618061"/>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5" name="Text Placeholder 22">
            <a:extLst>
              <a:ext uri="{FF2B5EF4-FFF2-40B4-BE49-F238E27FC236}">
                <a16:creationId xmlns:a16="http://schemas.microsoft.com/office/drawing/2014/main" id="{3BF591C3-ADE9-4134-8B02-CAB23C94CB3D}"/>
              </a:ext>
            </a:extLst>
          </p:cNvPr>
          <p:cNvSpPr>
            <a:spLocks noGrp="1"/>
          </p:cNvSpPr>
          <p:nvPr>
            <p:ph type="body" sz="quarter" idx="25" hasCustomPrompt="1"/>
          </p:nvPr>
        </p:nvSpPr>
        <p:spPr>
          <a:xfrm>
            <a:off x="457200" y="207336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accent3"/>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pic>
        <p:nvPicPr>
          <p:cNvPr id="67" name="Graphic 66">
            <a:extLst>
              <a:ext uri="{FF2B5EF4-FFF2-40B4-BE49-F238E27FC236}">
                <a16:creationId xmlns:a16="http://schemas.microsoft.com/office/drawing/2014/main" id="{F71D921D-E815-F843-8D83-B6C3C16439D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35" name="Slide Number Placeholder 5">
            <a:extLst>
              <a:ext uri="{FF2B5EF4-FFF2-40B4-BE49-F238E27FC236}">
                <a16:creationId xmlns:a16="http://schemas.microsoft.com/office/drawing/2014/main" id="{E39AA353-828F-9843-81DF-C8715D95E2FD}"/>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6" name="Footer Placeholder 3">
            <a:extLst>
              <a:ext uri="{FF2B5EF4-FFF2-40B4-BE49-F238E27FC236}">
                <a16:creationId xmlns:a16="http://schemas.microsoft.com/office/drawing/2014/main" id="{613A4A38-B2A1-774E-B726-80570CBE9724}"/>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7" name="Title 3">
            <a:extLst>
              <a:ext uri="{FF2B5EF4-FFF2-40B4-BE49-F238E27FC236}">
                <a16:creationId xmlns:a16="http://schemas.microsoft.com/office/drawing/2014/main" id="{4A622850-460D-49C9-AA98-72BC2DF62D24}"/>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Rectangle 40">
            <a:extLst>
              <a:ext uri="{FF2B5EF4-FFF2-40B4-BE49-F238E27FC236}">
                <a16:creationId xmlns:a16="http://schemas.microsoft.com/office/drawing/2014/main" id="{55932FE3-8F5C-4BA9-985F-B47DD345C519}"/>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 name="Freeform: Shape 1">
            <a:extLst>
              <a:ext uri="{FF2B5EF4-FFF2-40B4-BE49-F238E27FC236}">
                <a16:creationId xmlns:a16="http://schemas.microsoft.com/office/drawing/2014/main" id="{DF03B141-FBCC-436D-AD9E-F8C15119CD63}"/>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 name="Freeform: Shape 2">
            <a:extLst>
              <a:ext uri="{FF2B5EF4-FFF2-40B4-BE49-F238E27FC236}">
                <a16:creationId xmlns:a16="http://schemas.microsoft.com/office/drawing/2014/main" id="{70AE0952-39FD-4454-AAE2-8F8D40805849}"/>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168774124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Squares Graphic - Light">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20435A45-8C6C-4A21-A06B-488E748A9CE8}"/>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1" name="Text Placeholder 2">
            <a:extLst>
              <a:ext uri="{FF2B5EF4-FFF2-40B4-BE49-F238E27FC236}">
                <a16:creationId xmlns:a16="http://schemas.microsoft.com/office/drawing/2014/main" id="{236ECACE-04EC-47DB-846A-29FC6D87FAEB}"/>
              </a:ext>
            </a:extLst>
          </p:cNvPr>
          <p:cNvSpPr>
            <a:spLocks noGrp="1"/>
          </p:cNvSpPr>
          <p:nvPr>
            <p:ph type="body" sz="quarter" idx="51"/>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dirty="0"/>
              <a:t>Click to edit Master text styles</a:t>
            </a:r>
          </a:p>
        </p:txBody>
      </p:sp>
      <p:sp>
        <p:nvSpPr>
          <p:cNvPr id="105" name="Text Placeholder 22">
            <a:extLst>
              <a:ext uri="{FF2B5EF4-FFF2-40B4-BE49-F238E27FC236}">
                <a16:creationId xmlns:a16="http://schemas.microsoft.com/office/drawing/2014/main" id="{593B0717-10AC-4D8A-AC3E-9AE479780851}"/>
              </a:ext>
            </a:extLst>
          </p:cNvPr>
          <p:cNvSpPr>
            <a:spLocks noGrp="1"/>
          </p:cNvSpPr>
          <p:nvPr>
            <p:ph type="body" sz="quarter" idx="48" hasCustomPrompt="1"/>
          </p:nvPr>
        </p:nvSpPr>
        <p:spPr>
          <a:xfrm>
            <a:off x="8332196" y="4310869"/>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chemeClr val="bg2"/>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8" name="Text Placeholder 22">
            <a:extLst>
              <a:ext uri="{FF2B5EF4-FFF2-40B4-BE49-F238E27FC236}">
                <a16:creationId xmlns:a16="http://schemas.microsoft.com/office/drawing/2014/main" id="{F4A672A1-DF33-4339-9EF7-E3C45D01E870}"/>
              </a:ext>
            </a:extLst>
          </p:cNvPr>
          <p:cNvSpPr>
            <a:spLocks noGrp="1"/>
          </p:cNvSpPr>
          <p:nvPr>
            <p:ph type="body" sz="quarter" idx="49" hasCustomPrompt="1"/>
          </p:nvPr>
        </p:nvSpPr>
        <p:spPr>
          <a:xfrm>
            <a:off x="8327895" y="4666193"/>
            <a:ext cx="3429000" cy="1618061"/>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102" name="Text Placeholder 22">
            <a:extLst>
              <a:ext uri="{FF2B5EF4-FFF2-40B4-BE49-F238E27FC236}">
                <a16:creationId xmlns:a16="http://schemas.microsoft.com/office/drawing/2014/main" id="{C2EE9E2F-F363-41F8-ADFC-EBD072BF96B7}"/>
              </a:ext>
            </a:extLst>
          </p:cNvPr>
          <p:cNvSpPr>
            <a:spLocks noGrp="1"/>
          </p:cNvSpPr>
          <p:nvPr>
            <p:ph type="body" sz="quarter" idx="45" hasCustomPrompt="1"/>
          </p:nvPr>
        </p:nvSpPr>
        <p:spPr>
          <a:xfrm>
            <a:off x="457200" y="4310869"/>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rgbClr val="00AECF"/>
                </a:solidFill>
                <a:latin typeface="+mj-lt"/>
                <a:ea typeface="Cambria" panose="02040503050406030204" pitchFamily="18" charset="0"/>
              </a:defRPr>
            </a:lvl1pPr>
          </a:lstStyle>
          <a:p>
            <a:pPr lvl="0"/>
            <a:r>
              <a:rPr lang="en-US" dirty="0"/>
              <a:t>Lorem ipsum dolor sit </a:t>
            </a:r>
            <a:r>
              <a:rPr lang="en-US" dirty="0" err="1"/>
              <a:t>amet</a:t>
            </a:r>
            <a:r>
              <a:rPr lang="en-US" dirty="0"/>
              <a:t> </a:t>
            </a:r>
          </a:p>
        </p:txBody>
      </p:sp>
      <p:sp>
        <p:nvSpPr>
          <p:cNvPr id="103" name="Text Placeholder 22">
            <a:extLst>
              <a:ext uri="{FF2B5EF4-FFF2-40B4-BE49-F238E27FC236}">
                <a16:creationId xmlns:a16="http://schemas.microsoft.com/office/drawing/2014/main" id="{3D6F4B72-C43F-4B3C-ABB9-9CEEE7866602}"/>
              </a:ext>
            </a:extLst>
          </p:cNvPr>
          <p:cNvSpPr>
            <a:spLocks noGrp="1"/>
          </p:cNvSpPr>
          <p:nvPr>
            <p:ph type="body" sz="quarter" idx="46" hasCustomPrompt="1"/>
          </p:nvPr>
        </p:nvSpPr>
        <p:spPr>
          <a:xfrm>
            <a:off x="457200" y="4666193"/>
            <a:ext cx="3429000" cy="1618061"/>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6" name="Text Placeholder 22">
            <a:extLst>
              <a:ext uri="{FF2B5EF4-FFF2-40B4-BE49-F238E27FC236}">
                <a16:creationId xmlns:a16="http://schemas.microsoft.com/office/drawing/2014/main" id="{50A1ADE9-2549-4891-9B36-D502692420AB}"/>
              </a:ext>
            </a:extLst>
          </p:cNvPr>
          <p:cNvSpPr>
            <a:spLocks noGrp="1"/>
          </p:cNvSpPr>
          <p:nvPr>
            <p:ph type="body" sz="quarter" idx="40" hasCustomPrompt="1"/>
          </p:nvPr>
        </p:nvSpPr>
        <p:spPr>
          <a:xfrm>
            <a:off x="8332196" y="2491739"/>
            <a:ext cx="3429000" cy="1618061"/>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95" name="Text Placeholder 22">
            <a:extLst>
              <a:ext uri="{FF2B5EF4-FFF2-40B4-BE49-F238E27FC236}">
                <a16:creationId xmlns:a16="http://schemas.microsoft.com/office/drawing/2014/main" id="{AB8EFFC8-24E8-432B-ABA7-F06504E127A0}"/>
              </a:ext>
            </a:extLst>
          </p:cNvPr>
          <p:cNvSpPr>
            <a:spLocks noGrp="1"/>
          </p:cNvSpPr>
          <p:nvPr>
            <p:ph type="body" sz="quarter" idx="39" hasCustomPrompt="1"/>
          </p:nvPr>
        </p:nvSpPr>
        <p:spPr>
          <a:xfrm>
            <a:off x="8332196" y="213432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rgbClr val="10548C"/>
                </a:solidFill>
                <a:latin typeface="+mj-lt"/>
                <a:ea typeface="Cambria" panose="02040503050406030204" pitchFamily="18" charset="0"/>
              </a:defRPr>
            </a:lvl1pPr>
          </a:lstStyle>
          <a:p>
            <a:pPr lvl="0"/>
            <a:r>
              <a:rPr lang="en-US" dirty="0"/>
              <a:t>Lorem ipsum dolor sit </a:t>
            </a:r>
            <a:r>
              <a:rPr lang="en-US" dirty="0" err="1"/>
              <a:t>amet</a:t>
            </a:r>
            <a:endParaRPr lang="en-US" dirty="0"/>
          </a:p>
        </p:txBody>
      </p:sp>
      <p:sp>
        <p:nvSpPr>
          <p:cNvPr id="56" name="Text Placeholder 22">
            <a:extLst>
              <a:ext uri="{FF2B5EF4-FFF2-40B4-BE49-F238E27FC236}">
                <a16:creationId xmlns:a16="http://schemas.microsoft.com/office/drawing/2014/main" id="{C634C98C-2B5D-422B-A0BD-272C413DE54A}"/>
              </a:ext>
            </a:extLst>
          </p:cNvPr>
          <p:cNvSpPr>
            <a:spLocks noGrp="1"/>
          </p:cNvSpPr>
          <p:nvPr>
            <p:ph type="body" sz="quarter" idx="26" hasCustomPrompt="1"/>
          </p:nvPr>
        </p:nvSpPr>
        <p:spPr>
          <a:xfrm>
            <a:off x="457200" y="2491739"/>
            <a:ext cx="3429000" cy="1618061"/>
          </a:xfrm>
          <a:prstGeom prst="rect">
            <a:avLst/>
          </a:prstGeom>
        </p:spPr>
        <p:txBody>
          <a:bodyPr lIns="0" anchor="t">
            <a:noAutofit/>
          </a:bodyPr>
          <a:lstStyle>
            <a:lvl1pPr marL="0" indent="0">
              <a:lnSpc>
                <a:spcPct val="100000"/>
              </a:lnSpc>
              <a:spcAft>
                <a:spcPts val="1200"/>
              </a:spcAft>
              <a:buClr>
                <a:srgbClr val="FF545F"/>
              </a:buClr>
              <a:buFont typeface="Arial" panose="020B0604020202020204" pitchFamily="34" charset="0"/>
              <a:buNone/>
              <a:defRPr sz="1300" b="0">
                <a:solidFill>
                  <a:schemeClr val="tx2"/>
                </a:solidFill>
                <a:latin typeface="+mn-lt"/>
                <a:ea typeface="Cambria" panose="02040503050406030204" pitchFamily="18" charset="0"/>
                <a:cs typeface="Calibri" panose="020F050202020403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a:t>
            </a:r>
          </a:p>
        </p:txBody>
      </p:sp>
      <p:sp>
        <p:nvSpPr>
          <p:cNvPr id="55" name="Text Placeholder 22">
            <a:extLst>
              <a:ext uri="{FF2B5EF4-FFF2-40B4-BE49-F238E27FC236}">
                <a16:creationId xmlns:a16="http://schemas.microsoft.com/office/drawing/2014/main" id="{3BF591C3-ADE9-4134-8B02-CAB23C94CB3D}"/>
              </a:ext>
            </a:extLst>
          </p:cNvPr>
          <p:cNvSpPr>
            <a:spLocks noGrp="1"/>
          </p:cNvSpPr>
          <p:nvPr>
            <p:ph type="body" sz="quarter" idx="25" hasCustomPrompt="1"/>
          </p:nvPr>
        </p:nvSpPr>
        <p:spPr>
          <a:xfrm>
            <a:off x="457200" y="2134326"/>
            <a:ext cx="3429000" cy="304801"/>
          </a:xfrm>
          <a:prstGeom prst="rect">
            <a:avLst/>
          </a:prstGeom>
        </p:spPr>
        <p:txBody>
          <a:bodyPr lIns="0" anchor="ctr">
            <a:noAutofit/>
          </a:bodyPr>
          <a:lstStyle>
            <a:lvl1pPr marL="0" indent="0">
              <a:lnSpc>
                <a:spcPct val="100000"/>
              </a:lnSpc>
              <a:spcAft>
                <a:spcPts val="1200"/>
              </a:spcAft>
              <a:buClr>
                <a:srgbClr val="FF545F"/>
              </a:buClr>
              <a:buFont typeface="Arial" panose="020B0604020202020204" pitchFamily="34" charset="0"/>
              <a:buNone/>
              <a:defRPr sz="1600" b="1">
                <a:solidFill>
                  <a:srgbClr val="FF555F"/>
                </a:solidFill>
                <a:latin typeface="+mj-lt"/>
                <a:ea typeface="Cambria" panose="02040503050406030204" pitchFamily="18" charset="0"/>
              </a:defRPr>
            </a:lvl1pPr>
          </a:lstStyle>
          <a:p>
            <a:pPr lvl="0"/>
            <a:r>
              <a:rPr lang="en-US" dirty="0"/>
              <a:t>Lorem ipsum dolor sit </a:t>
            </a:r>
            <a:r>
              <a:rPr lang="en-US" dirty="0" err="1"/>
              <a:t>amet</a:t>
            </a:r>
            <a:endParaRPr lang="en-US" dirty="0"/>
          </a:p>
        </p:txBody>
      </p:sp>
      <p:sp>
        <p:nvSpPr>
          <p:cNvPr id="35" name="Slide Number Placeholder 5">
            <a:extLst>
              <a:ext uri="{FF2B5EF4-FFF2-40B4-BE49-F238E27FC236}">
                <a16:creationId xmlns:a16="http://schemas.microsoft.com/office/drawing/2014/main" id="{E39AA353-828F-9843-81DF-C8715D95E2FD}"/>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6" name="Footer Placeholder 3">
            <a:extLst>
              <a:ext uri="{FF2B5EF4-FFF2-40B4-BE49-F238E27FC236}">
                <a16:creationId xmlns:a16="http://schemas.microsoft.com/office/drawing/2014/main" id="{613A4A38-B2A1-774E-B726-80570CBE9724}"/>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7" name="Title 3">
            <a:extLst>
              <a:ext uri="{FF2B5EF4-FFF2-40B4-BE49-F238E27FC236}">
                <a16:creationId xmlns:a16="http://schemas.microsoft.com/office/drawing/2014/main" id="{4A622850-460D-49C9-AA98-72BC2DF62D24}"/>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8" name="Text Placeholder 22">
            <a:extLst>
              <a:ext uri="{FF2B5EF4-FFF2-40B4-BE49-F238E27FC236}">
                <a16:creationId xmlns:a16="http://schemas.microsoft.com/office/drawing/2014/main" id="{9ACE5228-E42C-4767-9300-5CF463D09131}"/>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41" name="Rectangle 40">
            <a:extLst>
              <a:ext uri="{FF2B5EF4-FFF2-40B4-BE49-F238E27FC236}">
                <a16:creationId xmlns:a16="http://schemas.microsoft.com/office/drawing/2014/main" id="{55932FE3-8F5C-4BA9-985F-B47DD345C519}"/>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 name="TextBox 1">
            <a:extLst>
              <a:ext uri="{FF2B5EF4-FFF2-40B4-BE49-F238E27FC236}">
                <a16:creationId xmlns:a16="http://schemas.microsoft.com/office/drawing/2014/main" id="{3F4D0568-C7C6-5E40-990C-DF5AFCB39574}"/>
              </a:ext>
            </a:extLst>
          </p:cNvPr>
          <p:cNvSpPr txBox="1"/>
          <p:nvPr userDrawn="1"/>
        </p:nvSpPr>
        <p:spPr>
          <a:xfrm>
            <a:off x="4213352" y="2232879"/>
            <a:ext cx="1862328" cy="1862328"/>
          </a:xfrm>
          <a:prstGeom prst="rect">
            <a:avLst/>
          </a:prstGeom>
          <a:solidFill>
            <a:schemeClr val="accent2"/>
          </a:solidFill>
        </p:spPr>
        <p:txBody>
          <a:bodyPr vert="horz" wrap="square" lIns="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Lorem ipsum dolor sit </a:t>
            </a:r>
            <a:r>
              <a:rPr lang="en-US" b="1" dirty="0" err="1">
                <a:solidFill>
                  <a:schemeClr val="bg1"/>
                </a:solidFill>
              </a:rPr>
              <a:t>amet</a:t>
            </a:r>
            <a:endParaRPr lang="en-US" b="1" dirty="0">
              <a:solidFill>
                <a:schemeClr val="bg1"/>
              </a:solidFill>
            </a:endParaRPr>
          </a:p>
        </p:txBody>
      </p:sp>
      <p:sp>
        <p:nvSpPr>
          <p:cNvPr id="26" name="TextBox 25">
            <a:extLst>
              <a:ext uri="{FF2B5EF4-FFF2-40B4-BE49-F238E27FC236}">
                <a16:creationId xmlns:a16="http://schemas.microsoft.com/office/drawing/2014/main" id="{B44F0660-424B-5A4C-A8BE-A28F30575A72}"/>
              </a:ext>
            </a:extLst>
          </p:cNvPr>
          <p:cNvSpPr txBox="1"/>
          <p:nvPr userDrawn="1"/>
        </p:nvSpPr>
        <p:spPr>
          <a:xfrm>
            <a:off x="6187440" y="2232879"/>
            <a:ext cx="1862328" cy="1862328"/>
          </a:xfrm>
          <a:prstGeom prst="rect">
            <a:avLst/>
          </a:prstGeom>
          <a:solidFill>
            <a:srgbClr val="10548C"/>
          </a:solidFill>
        </p:spPr>
        <p:txBody>
          <a:bodyPr vert="horz" wrap="square" lIns="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Lorem ipsum dolor sit </a:t>
            </a:r>
            <a:r>
              <a:rPr lang="en-US" b="1" dirty="0" err="1">
                <a:solidFill>
                  <a:schemeClr val="bg1"/>
                </a:solidFill>
              </a:rPr>
              <a:t>amet</a:t>
            </a:r>
            <a:endParaRPr lang="en-US" b="1" dirty="0">
              <a:solidFill>
                <a:schemeClr val="bg1"/>
              </a:solidFill>
            </a:endParaRPr>
          </a:p>
        </p:txBody>
      </p:sp>
      <p:sp>
        <p:nvSpPr>
          <p:cNvPr id="27" name="TextBox 26">
            <a:extLst>
              <a:ext uri="{FF2B5EF4-FFF2-40B4-BE49-F238E27FC236}">
                <a16:creationId xmlns:a16="http://schemas.microsoft.com/office/drawing/2014/main" id="{DB154BB3-FC35-3043-B83F-3BC87CEC0AE4}"/>
              </a:ext>
            </a:extLst>
          </p:cNvPr>
          <p:cNvSpPr txBox="1"/>
          <p:nvPr userDrawn="1"/>
        </p:nvSpPr>
        <p:spPr>
          <a:xfrm>
            <a:off x="4207010" y="4249909"/>
            <a:ext cx="1862328" cy="1862328"/>
          </a:xfrm>
          <a:prstGeom prst="rect">
            <a:avLst/>
          </a:prstGeom>
          <a:solidFill>
            <a:srgbClr val="00AECF"/>
          </a:solidFill>
        </p:spPr>
        <p:txBody>
          <a:bodyPr vert="horz" wrap="square" lIns="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Lorem ipsum dolor sit </a:t>
            </a:r>
            <a:r>
              <a:rPr lang="en-US" b="1" dirty="0" err="1">
                <a:solidFill>
                  <a:schemeClr val="bg1"/>
                </a:solidFill>
              </a:rPr>
              <a:t>amet</a:t>
            </a:r>
            <a:endParaRPr lang="en-US" b="1" dirty="0">
              <a:solidFill>
                <a:schemeClr val="bg1"/>
              </a:solidFill>
            </a:endParaRPr>
          </a:p>
        </p:txBody>
      </p:sp>
      <p:sp>
        <p:nvSpPr>
          <p:cNvPr id="28" name="TextBox 27">
            <a:extLst>
              <a:ext uri="{FF2B5EF4-FFF2-40B4-BE49-F238E27FC236}">
                <a16:creationId xmlns:a16="http://schemas.microsoft.com/office/drawing/2014/main" id="{37DD63F4-2E4A-9245-8DA6-8FD63E14348B}"/>
              </a:ext>
            </a:extLst>
          </p:cNvPr>
          <p:cNvSpPr txBox="1"/>
          <p:nvPr userDrawn="1"/>
        </p:nvSpPr>
        <p:spPr>
          <a:xfrm>
            <a:off x="6195075" y="4249908"/>
            <a:ext cx="1862327" cy="1862327"/>
          </a:xfrm>
          <a:prstGeom prst="rect">
            <a:avLst/>
          </a:prstGeom>
          <a:solidFill>
            <a:schemeClr val="bg2"/>
          </a:solidFill>
        </p:spPr>
        <p:txBody>
          <a:bodyPr vert="horz" wrap="square" lIns="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Lorem ipsum dolor sit </a:t>
            </a:r>
            <a:r>
              <a:rPr lang="en-US" b="1" dirty="0" err="1">
                <a:solidFill>
                  <a:schemeClr val="bg1"/>
                </a:solidFill>
              </a:rPr>
              <a:t>amet</a:t>
            </a:r>
            <a:endParaRPr lang="en-US" b="1" dirty="0">
              <a:solidFill>
                <a:schemeClr val="bg1"/>
              </a:solidFill>
            </a:endParaRPr>
          </a:p>
        </p:txBody>
      </p:sp>
      <p:pic>
        <p:nvPicPr>
          <p:cNvPr id="21" name="Graphic 20">
            <a:extLst>
              <a:ext uri="{FF2B5EF4-FFF2-40B4-BE49-F238E27FC236}">
                <a16:creationId xmlns:a16="http://schemas.microsoft.com/office/drawing/2014/main" id="{E8187A81-DCD4-420F-A0D8-52FE345F75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31" name="Freeform: Shape 30">
            <a:extLst>
              <a:ext uri="{FF2B5EF4-FFF2-40B4-BE49-F238E27FC236}">
                <a16:creationId xmlns:a16="http://schemas.microsoft.com/office/drawing/2014/main" id="{B7E4039A-915B-41DC-A4D1-8E2D00283E4E}"/>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32" name="Freeform: Shape 31">
            <a:extLst>
              <a:ext uri="{FF2B5EF4-FFF2-40B4-BE49-F238E27FC236}">
                <a16:creationId xmlns:a16="http://schemas.microsoft.com/office/drawing/2014/main" id="{F5BD438B-55CB-42C1-B923-77D8B42E6907}"/>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152147436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tandard Slid with Images and Text Boxes - White">
    <p:spTree>
      <p:nvGrpSpPr>
        <p:cNvPr id="1" name=""/>
        <p:cNvGrpSpPr/>
        <p:nvPr/>
      </p:nvGrpSpPr>
      <p:grpSpPr>
        <a:xfrm>
          <a:off x="0" y="0"/>
          <a:ext cx="0" cy="0"/>
          <a:chOff x="0" y="0"/>
          <a:chExt cx="0" cy="0"/>
        </a:xfrm>
      </p:grpSpPr>
      <p:sp>
        <p:nvSpPr>
          <p:cNvPr id="47" name="Freeform: Shape 46">
            <a:extLst>
              <a:ext uri="{FF2B5EF4-FFF2-40B4-BE49-F238E27FC236}">
                <a16:creationId xmlns:a16="http://schemas.microsoft.com/office/drawing/2014/main" id="{CD05D69A-5D1E-41AB-A32E-404585972AA7}"/>
              </a:ext>
            </a:extLst>
          </p:cNvPr>
          <p:cNvSpPr/>
          <p:nvPr userDrawn="1"/>
        </p:nvSpPr>
        <p:spPr>
          <a:xfrm rot="3341389" flipH="1">
            <a:off x="1619971" y="-3540963"/>
            <a:ext cx="8946510" cy="13936140"/>
          </a:xfrm>
          <a:custGeom>
            <a:avLst/>
            <a:gdLst>
              <a:gd name="connsiteX0" fmla="*/ 3879008 w 8946510"/>
              <a:gd name="connsiteY0" fmla="*/ 0 h 13936140"/>
              <a:gd name="connsiteX1" fmla="*/ 8946510 w 8946510"/>
              <a:gd name="connsiteY1" fmla="*/ 7425845 h 13936140"/>
              <a:gd name="connsiteX2" fmla="*/ 8946510 w 8946510"/>
              <a:gd name="connsiteY2" fmla="*/ 11298977 h 13936140"/>
              <a:gd name="connsiteX3" fmla="*/ 5082050 w 8946510"/>
              <a:gd name="connsiteY3" fmla="*/ 13936140 h 13936140"/>
              <a:gd name="connsiteX4" fmla="*/ 0 w 8946510"/>
              <a:gd name="connsiteY4" fmla="*/ 6488978 h 13936140"/>
              <a:gd name="connsiteX5" fmla="*/ 0 w 8946510"/>
              <a:gd name="connsiteY5" fmla="*/ 2639589 h 13936140"/>
              <a:gd name="connsiteX6" fmla="*/ 3868014 w 8946510"/>
              <a:gd name="connsiteY6" fmla="*/ 0 h 1393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6510" h="13936140">
                <a:moveTo>
                  <a:pt x="3879008" y="0"/>
                </a:moveTo>
                <a:lnTo>
                  <a:pt x="8946510" y="7425845"/>
                </a:lnTo>
                <a:lnTo>
                  <a:pt x="8946510" y="11298977"/>
                </a:lnTo>
                <a:lnTo>
                  <a:pt x="5082050" y="13936140"/>
                </a:lnTo>
                <a:lnTo>
                  <a:pt x="0" y="6488978"/>
                </a:lnTo>
                <a:lnTo>
                  <a:pt x="0" y="2639589"/>
                </a:lnTo>
                <a:lnTo>
                  <a:pt x="3868014" y="0"/>
                </a:lnTo>
                <a:close/>
              </a:path>
            </a:pathLst>
          </a:custGeom>
          <a:gradFill>
            <a:gsLst>
              <a:gs pos="50000">
                <a:schemeClr val="bg1"/>
              </a:gs>
              <a:gs pos="100000">
                <a:schemeClr val="bg1">
                  <a:alpha val="0"/>
                </a:schemeClr>
              </a:gs>
              <a:gs pos="95000">
                <a:schemeClr val="bg1"/>
              </a:gs>
              <a:gs pos="5000">
                <a:schemeClr val="bg1"/>
              </a:gs>
              <a:gs pos="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a:extLst>
              <a:ext uri="{FF2B5EF4-FFF2-40B4-BE49-F238E27FC236}">
                <a16:creationId xmlns:a16="http://schemas.microsoft.com/office/drawing/2014/main" id="{C340F2F0-C5F1-4AB4-8DA4-3433AB32CA09}"/>
              </a:ext>
            </a:extLst>
          </p:cNvPr>
          <p:cNvSpPr/>
          <p:nvPr/>
        </p:nvSpPr>
        <p:spPr>
          <a:xfrm>
            <a:off x="445330" y="4118185"/>
            <a:ext cx="2578608" cy="214621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 name="Picture Placeholder 2">
            <a:extLst>
              <a:ext uri="{FF2B5EF4-FFF2-40B4-BE49-F238E27FC236}">
                <a16:creationId xmlns:a16="http://schemas.microsoft.com/office/drawing/2014/main" id="{FED55F9B-215F-46F1-8BF2-58FAE022CE9C}"/>
              </a:ext>
            </a:extLst>
          </p:cNvPr>
          <p:cNvSpPr>
            <a:spLocks noGrp="1"/>
          </p:cNvSpPr>
          <p:nvPr>
            <p:ph type="pic" sz="quarter" idx="15"/>
          </p:nvPr>
        </p:nvSpPr>
        <p:spPr>
          <a:xfrm>
            <a:off x="447926" y="2340074"/>
            <a:ext cx="2576012" cy="1692954"/>
          </a:xfrm>
          <a:prstGeom prst="rect">
            <a:avLst/>
          </a:prstGeom>
          <a:solidFill>
            <a:schemeClr val="bg1">
              <a:lumMod val="95000"/>
            </a:schemeClr>
          </a:solidFill>
        </p:spPr>
        <p:txBody>
          <a:bodyPr anchor="ctr" anchorCtr="0">
            <a:noAutofit/>
          </a:bodyPr>
          <a:lstStyle>
            <a:lvl1pPr marL="0" indent="0" algn="ctr">
              <a:buNone/>
              <a:defRPr b="0">
                <a:solidFill>
                  <a:schemeClr val="accent3"/>
                </a:solidFill>
                <a:latin typeface="+mn-lt"/>
              </a:defRPr>
            </a:lvl1pPr>
          </a:lstStyle>
          <a:p>
            <a:r>
              <a:rPr lang="en-US" dirty="0"/>
              <a:t>Click icon to add picture</a:t>
            </a:r>
            <a:endParaRPr lang="en-IN" dirty="0"/>
          </a:p>
        </p:txBody>
      </p:sp>
      <p:sp>
        <p:nvSpPr>
          <p:cNvPr id="56" name="Rectangle 55">
            <a:extLst>
              <a:ext uri="{FF2B5EF4-FFF2-40B4-BE49-F238E27FC236}">
                <a16:creationId xmlns:a16="http://schemas.microsoft.com/office/drawing/2014/main" id="{EA305016-DF99-44EF-94D8-B393366C2A13}"/>
              </a:ext>
            </a:extLst>
          </p:cNvPr>
          <p:cNvSpPr/>
          <p:nvPr/>
        </p:nvSpPr>
        <p:spPr>
          <a:xfrm>
            <a:off x="3353422" y="4118185"/>
            <a:ext cx="2578608" cy="21462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Picture Placeholder 2">
            <a:extLst>
              <a:ext uri="{FF2B5EF4-FFF2-40B4-BE49-F238E27FC236}">
                <a16:creationId xmlns:a16="http://schemas.microsoft.com/office/drawing/2014/main" id="{E10A83AB-065A-479D-832E-DAF6AA362A5E}"/>
              </a:ext>
            </a:extLst>
          </p:cNvPr>
          <p:cNvSpPr>
            <a:spLocks noGrp="1"/>
          </p:cNvSpPr>
          <p:nvPr>
            <p:ph type="pic" sz="quarter" idx="18"/>
          </p:nvPr>
        </p:nvSpPr>
        <p:spPr>
          <a:xfrm>
            <a:off x="3356018" y="2340074"/>
            <a:ext cx="2576012" cy="1692954"/>
          </a:xfrm>
          <a:prstGeom prst="rect">
            <a:avLst/>
          </a:prstGeom>
          <a:solidFill>
            <a:schemeClr val="bg1">
              <a:lumMod val="95000"/>
            </a:schemeClr>
          </a:solidFill>
        </p:spPr>
        <p:txBody>
          <a:bodyPr anchor="ctr" anchorCtr="0">
            <a:noAutofit/>
          </a:bodyPr>
          <a:lstStyle>
            <a:lvl1pPr marL="0" indent="0" algn="ctr">
              <a:buNone/>
              <a:defRPr b="0">
                <a:solidFill>
                  <a:schemeClr val="accent3"/>
                </a:solidFill>
                <a:latin typeface="+mn-lt"/>
              </a:defRPr>
            </a:lvl1pPr>
          </a:lstStyle>
          <a:p>
            <a:r>
              <a:rPr lang="en-US" dirty="0"/>
              <a:t>Click icon to add picture</a:t>
            </a:r>
            <a:endParaRPr lang="en-IN" dirty="0"/>
          </a:p>
        </p:txBody>
      </p:sp>
      <p:sp>
        <p:nvSpPr>
          <p:cNvPr id="60" name="Rectangle 59">
            <a:extLst>
              <a:ext uri="{FF2B5EF4-FFF2-40B4-BE49-F238E27FC236}">
                <a16:creationId xmlns:a16="http://schemas.microsoft.com/office/drawing/2014/main" id="{17FC10AD-CC57-40B8-9ECA-DFA43EDFDBD9}"/>
              </a:ext>
            </a:extLst>
          </p:cNvPr>
          <p:cNvSpPr/>
          <p:nvPr/>
        </p:nvSpPr>
        <p:spPr>
          <a:xfrm>
            <a:off x="6276504" y="4118185"/>
            <a:ext cx="2578608" cy="214621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Picture Placeholder 2">
            <a:extLst>
              <a:ext uri="{FF2B5EF4-FFF2-40B4-BE49-F238E27FC236}">
                <a16:creationId xmlns:a16="http://schemas.microsoft.com/office/drawing/2014/main" id="{9ED5828F-8F6F-4738-BC10-43B225486D50}"/>
              </a:ext>
            </a:extLst>
          </p:cNvPr>
          <p:cNvSpPr>
            <a:spLocks noGrp="1"/>
          </p:cNvSpPr>
          <p:nvPr>
            <p:ph type="pic" sz="quarter" idx="21"/>
          </p:nvPr>
        </p:nvSpPr>
        <p:spPr>
          <a:xfrm>
            <a:off x="6279100" y="2340074"/>
            <a:ext cx="2576012" cy="1692954"/>
          </a:xfrm>
          <a:prstGeom prst="rect">
            <a:avLst/>
          </a:prstGeom>
          <a:solidFill>
            <a:schemeClr val="bg1">
              <a:lumMod val="95000"/>
            </a:schemeClr>
          </a:solidFill>
        </p:spPr>
        <p:txBody>
          <a:bodyPr anchor="ctr" anchorCtr="0">
            <a:noAutofit/>
          </a:bodyPr>
          <a:lstStyle>
            <a:lvl1pPr marL="0" indent="0" algn="ctr">
              <a:buNone/>
              <a:defRPr b="0">
                <a:solidFill>
                  <a:schemeClr val="accent3"/>
                </a:solidFill>
                <a:latin typeface="+mn-lt"/>
              </a:defRPr>
            </a:lvl1pPr>
          </a:lstStyle>
          <a:p>
            <a:r>
              <a:rPr lang="en-US" dirty="0"/>
              <a:t>Click icon to add picture</a:t>
            </a:r>
            <a:endParaRPr lang="en-IN" dirty="0"/>
          </a:p>
        </p:txBody>
      </p:sp>
      <p:sp>
        <p:nvSpPr>
          <p:cNvPr id="64" name="Rectangle 63">
            <a:extLst>
              <a:ext uri="{FF2B5EF4-FFF2-40B4-BE49-F238E27FC236}">
                <a16:creationId xmlns:a16="http://schemas.microsoft.com/office/drawing/2014/main" id="{2BD9C979-CFA7-4920-9284-0DEF89A9E1EE}"/>
              </a:ext>
            </a:extLst>
          </p:cNvPr>
          <p:cNvSpPr/>
          <p:nvPr/>
        </p:nvSpPr>
        <p:spPr>
          <a:xfrm>
            <a:off x="9182589" y="4118185"/>
            <a:ext cx="2578608" cy="2146211"/>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6" name="Picture Placeholder 2">
            <a:extLst>
              <a:ext uri="{FF2B5EF4-FFF2-40B4-BE49-F238E27FC236}">
                <a16:creationId xmlns:a16="http://schemas.microsoft.com/office/drawing/2014/main" id="{E738D5B4-41AD-47FF-B2C3-F953D2665BB5}"/>
              </a:ext>
            </a:extLst>
          </p:cNvPr>
          <p:cNvSpPr>
            <a:spLocks noGrp="1"/>
          </p:cNvSpPr>
          <p:nvPr>
            <p:ph type="pic" sz="quarter" idx="24"/>
          </p:nvPr>
        </p:nvSpPr>
        <p:spPr>
          <a:xfrm>
            <a:off x="9185185" y="2340074"/>
            <a:ext cx="2576012" cy="1692954"/>
          </a:xfrm>
          <a:prstGeom prst="rect">
            <a:avLst/>
          </a:prstGeom>
          <a:solidFill>
            <a:schemeClr val="bg1">
              <a:lumMod val="95000"/>
            </a:schemeClr>
          </a:solidFill>
        </p:spPr>
        <p:txBody>
          <a:bodyPr anchor="ctr" anchorCtr="0">
            <a:noAutofit/>
          </a:bodyPr>
          <a:lstStyle>
            <a:lvl1pPr marL="0" indent="0" algn="ctr">
              <a:buNone/>
              <a:defRPr b="0">
                <a:solidFill>
                  <a:schemeClr val="accent3"/>
                </a:solidFill>
                <a:latin typeface="+mn-lt"/>
              </a:defRPr>
            </a:lvl1pPr>
          </a:lstStyle>
          <a:p>
            <a:r>
              <a:rPr lang="en-US" dirty="0"/>
              <a:t>Click icon to add picture</a:t>
            </a:r>
            <a:endParaRPr lang="en-IN" dirty="0"/>
          </a:p>
        </p:txBody>
      </p:sp>
      <p:cxnSp>
        <p:nvCxnSpPr>
          <p:cNvPr id="69" name="Straight Connector 68">
            <a:extLst>
              <a:ext uri="{FF2B5EF4-FFF2-40B4-BE49-F238E27FC236}">
                <a16:creationId xmlns:a16="http://schemas.microsoft.com/office/drawing/2014/main" id="{263F5F59-A06F-4A43-B481-AC3D078E4175}"/>
              </a:ext>
            </a:extLst>
          </p:cNvPr>
          <p:cNvCxnSpPr>
            <a:cxnSpLocks/>
          </p:cNvCxnSpPr>
          <p:nvPr/>
        </p:nvCxnSpPr>
        <p:spPr>
          <a:xfrm>
            <a:off x="596788" y="4507806"/>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A8E3906-30C9-4008-A4B2-75EC4B0C0F40}"/>
              </a:ext>
            </a:extLst>
          </p:cNvPr>
          <p:cNvCxnSpPr>
            <a:cxnSpLocks/>
          </p:cNvCxnSpPr>
          <p:nvPr/>
        </p:nvCxnSpPr>
        <p:spPr>
          <a:xfrm>
            <a:off x="3504880" y="4507806"/>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520AF0-87BA-479D-A115-A1D4DF393CCA}"/>
              </a:ext>
            </a:extLst>
          </p:cNvPr>
          <p:cNvCxnSpPr>
            <a:cxnSpLocks/>
          </p:cNvCxnSpPr>
          <p:nvPr/>
        </p:nvCxnSpPr>
        <p:spPr>
          <a:xfrm>
            <a:off x="6427962" y="4507806"/>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36D6B12-E05B-4062-8E5E-65DE184DFE6D}"/>
              </a:ext>
            </a:extLst>
          </p:cNvPr>
          <p:cNvCxnSpPr>
            <a:cxnSpLocks/>
          </p:cNvCxnSpPr>
          <p:nvPr/>
        </p:nvCxnSpPr>
        <p:spPr>
          <a:xfrm>
            <a:off x="9334047" y="4507806"/>
            <a:ext cx="2286000" cy="0"/>
          </a:xfrm>
          <a:prstGeom prst="line">
            <a:avLst/>
          </a:prstGeom>
          <a:ln w="22225" cap="rnd">
            <a:gradFill flip="none" rotWithShape="1">
              <a:gsLst>
                <a:gs pos="0">
                  <a:schemeClr val="bg1"/>
                </a:gs>
                <a:gs pos="100000">
                  <a:schemeClr val="bg1">
                    <a:alpha val="0"/>
                  </a:schemeClr>
                </a:gs>
                <a:gs pos="88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7D8637AC-FDCE-8A45-AC02-1EFA982073C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32" name="Slide Number Placeholder 5">
            <a:extLst>
              <a:ext uri="{FF2B5EF4-FFF2-40B4-BE49-F238E27FC236}">
                <a16:creationId xmlns:a16="http://schemas.microsoft.com/office/drawing/2014/main" id="{339EADDE-0E61-AD49-8101-97C98C841A87}"/>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4" name="Footer Placeholder 3">
            <a:extLst>
              <a:ext uri="{FF2B5EF4-FFF2-40B4-BE49-F238E27FC236}">
                <a16:creationId xmlns:a16="http://schemas.microsoft.com/office/drawing/2014/main" id="{FFDB06AC-0DBB-474C-9451-EB787A1BF483}"/>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3" name="Title 3">
            <a:extLst>
              <a:ext uri="{FF2B5EF4-FFF2-40B4-BE49-F238E27FC236}">
                <a16:creationId xmlns:a16="http://schemas.microsoft.com/office/drawing/2014/main" id="{880895D5-6A9D-45D9-84A5-B48C071FA691}"/>
              </a:ext>
            </a:extLst>
          </p:cNvPr>
          <p:cNvSpPr>
            <a:spLocks noGrp="1"/>
          </p:cNvSpPr>
          <p:nvPr>
            <p:ph type="title" hasCustomPrompt="1"/>
          </p:nvPr>
        </p:nvSpPr>
        <p:spPr>
          <a:xfrm>
            <a:off x="460743" y="388845"/>
            <a:ext cx="11300453" cy="990000"/>
          </a:xfrm>
        </p:spPr>
        <p:txBody>
          <a:bodyPr vert="horz" lIns="0" tIns="45720" rIns="91440" bIns="45720" rtlCol="0" anchor="ctr" anchorCtr="0">
            <a:noAutofit/>
          </a:bodyPr>
          <a:lstStyle>
            <a:lvl1pPr>
              <a:defRPr lang="en-GB" dirty="0" smtClean="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endParaRPr lang="en-US" dirty="0"/>
          </a:p>
        </p:txBody>
      </p:sp>
      <p:sp>
        <p:nvSpPr>
          <p:cNvPr id="35" name="Text Placeholder 22">
            <a:extLst>
              <a:ext uri="{FF2B5EF4-FFF2-40B4-BE49-F238E27FC236}">
                <a16:creationId xmlns:a16="http://schemas.microsoft.com/office/drawing/2014/main" id="{17A71A41-DCC6-44B5-8D6D-901E7A96F64C}"/>
              </a:ext>
            </a:extLst>
          </p:cNvPr>
          <p:cNvSpPr>
            <a:spLocks noGrp="1"/>
          </p:cNvSpPr>
          <p:nvPr>
            <p:ph type="body" sz="quarter" idx="12" hasCustomPrompt="1"/>
          </p:nvPr>
        </p:nvSpPr>
        <p:spPr>
          <a:xfrm>
            <a:off x="460744" y="1486906"/>
            <a:ext cx="11288344" cy="533400"/>
          </a:xfrm>
          <a:prstGeom prst="rect">
            <a:avLst/>
          </a:prstGeom>
        </p:spPr>
        <p:txBody>
          <a:bodyPr lIns="0" anchor="t">
            <a:noAutofit/>
          </a:bodyPr>
          <a:lstStyle>
            <a:lvl1pPr marL="0" indent="0">
              <a:lnSpc>
                <a:spcPct val="100000"/>
              </a:lnSpc>
              <a:spcBef>
                <a:spcPts val="0"/>
              </a:spcBef>
              <a:buNone/>
              <a:defRPr sz="1800" b="0">
                <a:solidFill>
                  <a:schemeClr val="tx2"/>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7" name="Text Placeholder 22">
            <a:extLst>
              <a:ext uri="{FF2B5EF4-FFF2-40B4-BE49-F238E27FC236}">
                <a16:creationId xmlns:a16="http://schemas.microsoft.com/office/drawing/2014/main" id="{B7ADF330-AE85-40DE-835E-B49449314A2D}"/>
              </a:ext>
            </a:extLst>
          </p:cNvPr>
          <p:cNvSpPr>
            <a:spLocks noGrp="1"/>
          </p:cNvSpPr>
          <p:nvPr>
            <p:ph type="body" sz="quarter" idx="13" hasCustomPrompt="1"/>
          </p:nvPr>
        </p:nvSpPr>
        <p:spPr>
          <a:xfrm>
            <a:off x="596788" y="4118186"/>
            <a:ext cx="2319251" cy="389620"/>
          </a:xfrm>
          <a:prstGeom prst="rect">
            <a:avLst/>
          </a:prstGeom>
        </p:spPr>
        <p:txBody>
          <a:bodyPr lIns="0">
            <a:noAutofit/>
          </a:bodyPr>
          <a:lstStyle>
            <a:lvl1pPr marL="0" indent="0" algn="l">
              <a:buClr>
                <a:srgbClr val="FF545F"/>
              </a:buClr>
              <a:buFont typeface="Arial" panose="020B0604020202020204" pitchFamily="34" charset="0"/>
              <a:buNone/>
              <a:defRPr sz="1400" b="0">
                <a:solidFill>
                  <a:schemeClr val="bg1"/>
                </a:solidFill>
                <a:latin typeface="Georgia" panose="02040502050405020303" pitchFamily="18" charset="0"/>
              </a:defRPr>
            </a:lvl1pPr>
          </a:lstStyle>
          <a:p>
            <a:pPr lvl="0"/>
            <a:r>
              <a:rPr lang="en-US" dirty="0"/>
              <a:t>Lorem ipsum dolor sit </a:t>
            </a:r>
            <a:r>
              <a:rPr lang="en-US" dirty="0" err="1"/>
              <a:t>amet</a:t>
            </a:r>
            <a:endParaRPr lang="en-US" dirty="0"/>
          </a:p>
        </p:txBody>
      </p:sp>
      <p:sp>
        <p:nvSpPr>
          <p:cNvPr id="38" name="Text Placeholder 22">
            <a:extLst>
              <a:ext uri="{FF2B5EF4-FFF2-40B4-BE49-F238E27FC236}">
                <a16:creationId xmlns:a16="http://schemas.microsoft.com/office/drawing/2014/main" id="{D17ECCBE-9451-4EF2-9377-41ED7F99FD93}"/>
              </a:ext>
            </a:extLst>
          </p:cNvPr>
          <p:cNvSpPr>
            <a:spLocks noGrp="1"/>
          </p:cNvSpPr>
          <p:nvPr>
            <p:ph type="body" sz="quarter" idx="16" hasCustomPrompt="1"/>
          </p:nvPr>
        </p:nvSpPr>
        <p:spPr>
          <a:xfrm>
            <a:off x="596788" y="4592763"/>
            <a:ext cx="2319251" cy="1749124"/>
          </a:xfrm>
          <a:prstGeom prst="rect">
            <a:avLst/>
          </a:prstGeom>
        </p:spPr>
        <p:txBody>
          <a:bodyPr lIns="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39" name="Text Placeholder 22">
            <a:extLst>
              <a:ext uri="{FF2B5EF4-FFF2-40B4-BE49-F238E27FC236}">
                <a16:creationId xmlns:a16="http://schemas.microsoft.com/office/drawing/2014/main" id="{38B14960-C1EC-4784-9FA9-BB0DD3853F05}"/>
              </a:ext>
            </a:extLst>
          </p:cNvPr>
          <p:cNvSpPr>
            <a:spLocks noGrp="1"/>
          </p:cNvSpPr>
          <p:nvPr>
            <p:ph type="body" sz="quarter" idx="17" hasCustomPrompt="1"/>
          </p:nvPr>
        </p:nvSpPr>
        <p:spPr>
          <a:xfrm>
            <a:off x="3504880" y="4118186"/>
            <a:ext cx="2319251" cy="389620"/>
          </a:xfrm>
          <a:prstGeom prst="rect">
            <a:avLst/>
          </a:prstGeom>
        </p:spPr>
        <p:txBody>
          <a:bodyPr vert="horz" lIns="0" tIns="45720" rIns="91440" bIns="45720" rtlCol="0">
            <a:noAutofit/>
          </a:bodyPr>
          <a:lstStyle>
            <a:lvl1pPr>
              <a:defRPr lang="en-US" sz="1400" b="0" dirty="0">
                <a:solidFill>
                  <a:schemeClr val="bg1"/>
                </a:solidFill>
                <a:latin typeface="Georgia" panose="02040502050405020303" pitchFamily="18" charset="0"/>
              </a:defRPr>
            </a:lvl1pPr>
          </a:lstStyle>
          <a:p>
            <a:pPr lvl="0">
              <a:buClr>
                <a:srgbClr val="FF545F"/>
              </a:buClr>
            </a:pPr>
            <a:r>
              <a:rPr lang="en-US" dirty="0"/>
              <a:t>Lorem ipsum dolor sit </a:t>
            </a:r>
            <a:r>
              <a:rPr lang="en-US" dirty="0" err="1"/>
              <a:t>amet</a:t>
            </a:r>
            <a:endParaRPr lang="en-US" dirty="0"/>
          </a:p>
        </p:txBody>
      </p:sp>
      <p:sp>
        <p:nvSpPr>
          <p:cNvPr id="40" name="Text Placeholder 22">
            <a:extLst>
              <a:ext uri="{FF2B5EF4-FFF2-40B4-BE49-F238E27FC236}">
                <a16:creationId xmlns:a16="http://schemas.microsoft.com/office/drawing/2014/main" id="{41BF7593-409D-4E13-8A28-818252645744}"/>
              </a:ext>
            </a:extLst>
          </p:cNvPr>
          <p:cNvSpPr>
            <a:spLocks noGrp="1"/>
          </p:cNvSpPr>
          <p:nvPr>
            <p:ph type="body" sz="quarter" idx="19" hasCustomPrompt="1"/>
          </p:nvPr>
        </p:nvSpPr>
        <p:spPr>
          <a:xfrm>
            <a:off x="3504880" y="4592763"/>
            <a:ext cx="2319251" cy="1749124"/>
          </a:xfrm>
          <a:prstGeom prst="rect">
            <a:avLst/>
          </a:prstGeom>
        </p:spPr>
        <p:txBody>
          <a:bodyPr lIns="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41" name="Text Placeholder 22">
            <a:extLst>
              <a:ext uri="{FF2B5EF4-FFF2-40B4-BE49-F238E27FC236}">
                <a16:creationId xmlns:a16="http://schemas.microsoft.com/office/drawing/2014/main" id="{86F9957B-E17F-42FD-94EF-22772E15C93F}"/>
              </a:ext>
            </a:extLst>
          </p:cNvPr>
          <p:cNvSpPr>
            <a:spLocks noGrp="1"/>
          </p:cNvSpPr>
          <p:nvPr>
            <p:ph type="body" sz="quarter" idx="20" hasCustomPrompt="1"/>
          </p:nvPr>
        </p:nvSpPr>
        <p:spPr>
          <a:xfrm>
            <a:off x="6427962" y="4118186"/>
            <a:ext cx="2319251" cy="389620"/>
          </a:xfrm>
          <a:prstGeom prst="rect">
            <a:avLst/>
          </a:prstGeom>
        </p:spPr>
        <p:txBody>
          <a:bodyPr vert="horz" lIns="0" tIns="45720" rIns="91440" bIns="45720" rtlCol="0">
            <a:noAutofit/>
          </a:bodyPr>
          <a:lstStyle>
            <a:lvl1pPr>
              <a:defRPr lang="en-US" sz="1400" b="0" dirty="0">
                <a:solidFill>
                  <a:schemeClr val="bg1"/>
                </a:solidFill>
                <a:latin typeface="Georgia" panose="02040502050405020303" pitchFamily="18" charset="0"/>
              </a:defRPr>
            </a:lvl1pPr>
          </a:lstStyle>
          <a:p>
            <a:pPr lvl="0">
              <a:buClr>
                <a:srgbClr val="FF545F"/>
              </a:buClr>
            </a:pPr>
            <a:r>
              <a:rPr lang="en-US" dirty="0"/>
              <a:t>Lorem ipsum dolor sit </a:t>
            </a:r>
            <a:r>
              <a:rPr lang="en-US" dirty="0" err="1"/>
              <a:t>amet</a:t>
            </a:r>
            <a:endParaRPr lang="en-US" dirty="0"/>
          </a:p>
        </p:txBody>
      </p:sp>
      <p:sp>
        <p:nvSpPr>
          <p:cNvPr id="42" name="Text Placeholder 22">
            <a:extLst>
              <a:ext uri="{FF2B5EF4-FFF2-40B4-BE49-F238E27FC236}">
                <a16:creationId xmlns:a16="http://schemas.microsoft.com/office/drawing/2014/main" id="{C802A871-072C-4FD1-A773-C2CB3DEAEE38}"/>
              </a:ext>
            </a:extLst>
          </p:cNvPr>
          <p:cNvSpPr>
            <a:spLocks noGrp="1"/>
          </p:cNvSpPr>
          <p:nvPr>
            <p:ph type="body" sz="quarter" idx="22" hasCustomPrompt="1"/>
          </p:nvPr>
        </p:nvSpPr>
        <p:spPr>
          <a:xfrm>
            <a:off x="6427962" y="4592763"/>
            <a:ext cx="2319251" cy="1749124"/>
          </a:xfrm>
          <a:prstGeom prst="rect">
            <a:avLst/>
          </a:prstGeom>
        </p:spPr>
        <p:txBody>
          <a:bodyPr lIns="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43" name="Text Placeholder 22">
            <a:extLst>
              <a:ext uri="{FF2B5EF4-FFF2-40B4-BE49-F238E27FC236}">
                <a16:creationId xmlns:a16="http://schemas.microsoft.com/office/drawing/2014/main" id="{7AB69A81-AD0A-43BD-8DCE-CCA8FE01E87F}"/>
              </a:ext>
            </a:extLst>
          </p:cNvPr>
          <p:cNvSpPr>
            <a:spLocks noGrp="1"/>
          </p:cNvSpPr>
          <p:nvPr>
            <p:ph type="body" sz="quarter" idx="23" hasCustomPrompt="1"/>
          </p:nvPr>
        </p:nvSpPr>
        <p:spPr>
          <a:xfrm>
            <a:off x="9334047" y="4118186"/>
            <a:ext cx="2319251" cy="389620"/>
          </a:xfrm>
          <a:prstGeom prst="rect">
            <a:avLst/>
          </a:prstGeom>
        </p:spPr>
        <p:txBody>
          <a:bodyPr vert="horz" lIns="0" tIns="45720" rIns="91440" bIns="45720" rtlCol="0">
            <a:noAutofit/>
          </a:bodyPr>
          <a:lstStyle>
            <a:lvl1pPr>
              <a:defRPr lang="en-US" sz="1400" b="0" dirty="0">
                <a:solidFill>
                  <a:schemeClr val="bg1"/>
                </a:solidFill>
                <a:latin typeface="Georgia" panose="02040502050405020303" pitchFamily="18" charset="0"/>
              </a:defRPr>
            </a:lvl1pPr>
          </a:lstStyle>
          <a:p>
            <a:pPr lvl="0">
              <a:buClr>
                <a:srgbClr val="FF545F"/>
              </a:buClr>
            </a:pPr>
            <a:r>
              <a:rPr lang="en-US" dirty="0"/>
              <a:t>Lorem ipsum dolor sit </a:t>
            </a:r>
            <a:r>
              <a:rPr lang="en-US" dirty="0" err="1"/>
              <a:t>amet</a:t>
            </a:r>
            <a:endParaRPr lang="en-US" dirty="0"/>
          </a:p>
        </p:txBody>
      </p:sp>
      <p:sp>
        <p:nvSpPr>
          <p:cNvPr id="44" name="Text Placeholder 22">
            <a:extLst>
              <a:ext uri="{FF2B5EF4-FFF2-40B4-BE49-F238E27FC236}">
                <a16:creationId xmlns:a16="http://schemas.microsoft.com/office/drawing/2014/main" id="{A1184C7B-3C56-4015-A7E2-8196165F1B98}"/>
              </a:ext>
            </a:extLst>
          </p:cNvPr>
          <p:cNvSpPr>
            <a:spLocks noGrp="1"/>
          </p:cNvSpPr>
          <p:nvPr>
            <p:ph type="body" sz="quarter" idx="25" hasCustomPrompt="1"/>
          </p:nvPr>
        </p:nvSpPr>
        <p:spPr>
          <a:xfrm>
            <a:off x="9334047" y="4592763"/>
            <a:ext cx="2319251" cy="1749124"/>
          </a:xfrm>
          <a:prstGeom prst="rect">
            <a:avLst/>
          </a:prstGeom>
        </p:spPr>
        <p:txBody>
          <a:bodyPr lIns="0">
            <a:noAutofit/>
          </a:bodyPr>
          <a:lstStyle>
            <a:lvl1pPr marL="0" indent="0">
              <a:buClr>
                <a:srgbClr val="FF545F"/>
              </a:buClr>
              <a:buFont typeface="Arial" panose="020B0604020202020204" pitchFamily="34" charset="0"/>
              <a:buNone/>
              <a:defRPr sz="1200" b="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endParaRPr lang="en-US" dirty="0"/>
          </a:p>
        </p:txBody>
      </p:sp>
      <p:sp>
        <p:nvSpPr>
          <p:cNvPr id="46" name="Text Placeholder 2">
            <a:extLst>
              <a:ext uri="{FF2B5EF4-FFF2-40B4-BE49-F238E27FC236}">
                <a16:creationId xmlns:a16="http://schemas.microsoft.com/office/drawing/2014/main" id="{93BA6191-995D-4A8B-8097-1BCD8EA9EC85}"/>
              </a:ext>
            </a:extLst>
          </p:cNvPr>
          <p:cNvSpPr>
            <a:spLocks noGrp="1"/>
          </p:cNvSpPr>
          <p:nvPr>
            <p:ph type="body" sz="quarter" idx="26"/>
          </p:nvPr>
        </p:nvSpPr>
        <p:spPr>
          <a:xfrm>
            <a:off x="457200" y="98303"/>
            <a:ext cx="5846011" cy="228600"/>
          </a:xfrm>
          <a:prstGeom prst="rect">
            <a:avLst/>
          </a:prstGeom>
        </p:spPr>
        <p:txBody>
          <a:bodyPr lIns="0">
            <a:noAutofit/>
          </a:bodyPr>
          <a:lstStyle>
            <a:lvl1pPr marL="0" indent="0">
              <a:buNone/>
              <a:defRPr sz="1000" b="0">
                <a:solidFill>
                  <a:schemeClr val="tx2"/>
                </a:solidFill>
                <a:latin typeface="+mn-lt"/>
                <a:ea typeface="Cambria" panose="02040503050406030204" pitchFamily="18" charset="0"/>
              </a:defRPr>
            </a:lvl1pPr>
          </a:lstStyle>
          <a:p>
            <a:pPr lvl="0"/>
            <a:r>
              <a:rPr lang="en-US"/>
              <a:t>Click to edit Master text styles</a:t>
            </a:r>
          </a:p>
        </p:txBody>
      </p:sp>
      <p:sp>
        <p:nvSpPr>
          <p:cNvPr id="36" name="Rectangle 35">
            <a:extLst>
              <a:ext uri="{FF2B5EF4-FFF2-40B4-BE49-F238E27FC236}">
                <a16:creationId xmlns:a16="http://schemas.microsoft.com/office/drawing/2014/main" id="{42E4D74C-410E-483B-833E-4D7AE804ABE2}"/>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48" name="Freeform: Shape 47">
            <a:extLst>
              <a:ext uri="{FF2B5EF4-FFF2-40B4-BE49-F238E27FC236}">
                <a16:creationId xmlns:a16="http://schemas.microsoft.com/office/drawing/2014/main" id="{883744C2-8338-4510-922E-8171C1DBABCE}"/>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49" name="Freeform: Shape 48">
            <a:extLst>
              <a:ext uri="{FF2B5EF4-FFF2-40B4-BE49-F238E27FC236}">
                <a16:creationId xmlns:a16="http://schemas.microsoft.com/office/drawing/2014/main" id="{B42B4048-3937-457B-8213-80A2A3628E05}"/>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221288543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ase Study Large Content">
    <p:bg>
      <p:bgPr>
        <a:solidFill>
          <a:schemeClr val="tx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701FB85-C272-4F67-9376-36F249DCAFBF}"/>
              </a:ext>
            </a:extLst>
          </p:cNvPr>
          <p:cNvSpPr/>
          <p:nvPr/>
        </p:nvSpPr>
        <p:spPr>
          <a:xfrm>
            <a:off x="3020406" y="0"/>
            <a:ext cx="91715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1" name="Text Placeholder 2">
            <a:extLst>
              <a:ext uri="{FF2B5EF4-FFF2-40B4-BE49-F238E27FC236}">
                <a16:creationId xmlns:a16="http://schemas.microsoft.com/office/drawing/2014/main" id="{D1ED8F4F-C0B6-428A-8156-2EAE02418D26}"/>
              </a:ext>
            </a:extLst>
          </p:cNvPr>
          <p:cNvSpPr>
            <a:spLocks noGrp="1"/>
          </p:cNvSpPr>
          <p:nvPr>
            <p:ph type="body" sz="quarter" idx="14"/>
          </p:nvPr>
        </p:nvSpPr>
        <p:spPr>
          <a:xfrm>
            <a:off x="5636811" y="2525173"/>
            <a:ext cx="5043487" cy="1716341"/>
          </a:xfrm>
        </p:spPr>
        <p:txBody>
          <a:bodyPr/>
          <a:lstStyle>
            <a:lvl1pPr>
              <a:spcAft>
                <a:spcPts val="1200"/>
              </a:spcAft>
              <a:defRPr>
                <a:solidFill>
                  <a:schemeClr val="tx2"/>
                </a:solidFill>
              </a:defRPr>
            </a:lvl1pPr>
            <a:lvl2pPr marL="180975" indent="-180975" algn="l" defTabSz="914400" rtl="0" eaLnBrk="1" latinLnBrk="0" hangingPunct="1">
              <a:lnSpc>
                <a:spcPct val="100000"/>
              </a:lnSpc>
              <a:spcBef>
                <a:spcPts val="200"/>
              </a:spcBef>
              <a:spcAft>
                <a:spcPts val="200"/>
              </a:spcAft>
              <a:buClr>
                <a:schemeClr val="tx2"/>
              </a:buClr>
              <a:buSzPct val="100000"/>
              <a:buFont typeface="Wingdings" panose="05000000000000000000" pitchFamily="2" charset="2"/>
              <a:buChar char="§"/>
              <a:defRPr lang="en-US" sz="1300" kern="1200" dirty="0" smtClean="0">
                <a:solidFill>
                  <a:schemeClr val="accent3"/>
                </a:solidFill>
                <a:latin typeface="+mn-lt"/>
                <a:ea typeface="Cambria" panose="02040503050406030204" pitchFamily="18" charset="0"/>
                <a:cs typeface="Calibri" panose="020F0502020204030204" pitchFamily="34" charset="0"/>
              </a:defRPr>
            </a:lvl2pPr>
          </a:lstStyle>
          <a:p>
            <a:pPr lvl="0"/>
            <a:r>
              <a:rPr lang="en-US" dirty="0"/>
              <a:t>Click to edit Master text styles</a:t>
            </a:r>
          </a:p>
          <a:p>
            <a:pPr lvl="1"/>
            <a:r>
              <a:rPr lang="en-US" dirty="0"/>
              <a:t>Second level</a:t>
            </a:r>
          </a:p>
        </p:txBody>
      </p:sp>
      <p:sp>
        <p:nvSpPr>
          <p:cNvPr id="42" name="Text Placeholder 2">
            <a:extLst>
              <a:ext uri="{FF2B5EF4-FFF2-40B4-BE49-F238E27FC236}">
                <a16:creationId xmlns:a16="http://schemas.microsoft.com/office/drawing/2014/main" id="{22219E8E-B81B-42A6-9777-5061C48EBFD2}"/>
              </a:ext>
            </a:extLst>
          </p:cNvPr>
          <p:cNvSpPr>
            <a:spLocks noGrp="1"/>
          </p:cNvSpPr>
          <p:nvPr>
            <p:ph type="body" sz="quarter" idx="15"/>
          </p:nvPr>
        </p:nvSpPr>
        <p:spPr>
          <a:xfrm>
            <a:off x="5636811" y="4428352"/>
            <a:ext cx="5043487" cy="1716341"/>
          </a:xfrm>
        </p:spPr>
        <p:txBody>
          <a:bodyPr/>
          <a:lstStyle>
            <a:lvl1pPr>
              <a:spcAft>
                <a:spcPts val="1200"/>
              </a:spcAft>
              <a:defRPr>
                <a:solidFill>
                  <a:schemeClr val="accent2"/>
                </a:solidFill>
              </a:defRPr>
            </a:lvl1pPr>
            <a:lvl2pPr marL="180975" indent="-180975" algn="l" defTabSz="914400" rtl="0" eaLnBrk="1" latinLnBrk="0" hangingPunct="1">
              <a:lnSpc>
                <a:spcPct val="100000"/>
              </a:lnSpc>
              <a:spcBef>
                <a:spcPts val="200"/>
              </a:spcBef>
              <a:spcAft>
                <a:spcPts val="200"/>
              </a:spcAft>
              <a:buClr>
                <a:schemeClr val="accent2"/>
              </a:buClr>
              <a:buSzPct val="100000"/>
              <a:buFont typeface="Wingdings" panose="05000000000000000000" pitchFamily="2" charset="2"/>
              <a:buChar char="§"/>
              <a:defRPr lang="en-US" sz="1300" kern="1200" dirty="0" smtClean="0">
                <a:solidFill>
                  <a:schemeClr val="accent3"/>
                </a:solidFill>
                <a:latin typeface="+mn-lt"/>
                <a:ea typeface="Cambria" panose="02040503050406030204" pitchFamily="18" charset="0"/>
                <a:cs typeface="Calibri" panose="020F0502020204030204" pitchFamily="34" charset="0"/>
              </a:defRPr>
            </a:lvl2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090D3371-D5A0-444B-8039-E662C6EABFF2}"/>
              </a:ext>
            </a:extLst>
          </p:cNvPr>
          <p:cNvSpPr>
            <a:spLocks noGrp="1"/>
          </p:cNvSpPr>
          <p:nvPr>
            <p:ph type="body" sz="quarter" idx="13"/>
          </p:nvPr>
        </p:nvSpPr>
        <p:spPr>
          <a:xfrm>
            <a:off x="5636811" y="479949"/>
            <a:ext cx="5043487" cy="1716341"/>
          </a:xfrm>
        </p:spPr>
        <p:txBody>
          <a:bodyPr/>
          <a:lstStyle>
            <a:lvl1pPr>
              <a:spcAft>
                <a:spcPts val="1200"/>
              </a:spcAft>
              <a:defRPr/>
            </a:lvl1pPr>
            <a:lvl2pPr marL="180975" indent="-180975" algn="l" defTabSz="914400" rtl="0" eaLnBrk="1" latinLnBrk="0" hangingPunct="1">
              <a:lnSpc>
                <a:spcPct val="100000"/>
              </a:lnSpc>
              <a:spcBef>
                <a:spcPts val="200"/>
              </a:spcBef>
              <a:spcAft>
                <a:spcPts val="200"/>
              </a:spcAft>
              <a:buClr>
                <a:schemeClr val="accent1"/>
              </a:buClr>
              <a:buSzPct val="100000"/>
              <a:buFont typeface="Wingdings" panose="05000000000000000000" pitchFamily="2" charset="2"/>
              <a:buChar char="§"/>
              <a:defRPr lang="en-US" sz="1300" kern="1200" dirty="0" smtClean="0">
                <a:solidFill>
                  <a:schemeClr val="accent3"/>
                </a:solidFill>
                <a:latin typeface="+mn-lt"/>
                <a:ea typeface="Cambria" panose="02040503050406030204" pitchFamily="18" charset="0"/>
                <a:cs typeface="Calibri" panose="020F0502020204030204" pitchFamily="34" charset="0"/>
              </a:defRPr>
            </a:lvl2pPr>
          </a:lstStyle>
          <a:p>
            <a:pPr lvl="0"/>
            <a:r>
              <a:rPr lang="en-US" dirty="0"/>
              <a:t>Click to edit Master text styles</a:t>
            </a:r>
          </a:p>
          <a:p>
            <a:pPr lvl="1"/>
            <a:r>
              <a:rPr lang="en-US" dirty="0"/>
              <a:t>Second level</a:t>
            </a:r>
          </a:p>
        </p:txBody>
      </p:sp>
      <p:sp>
        <p:nvSpPr>
          <p:cNvPr id="30" name="Freeform 29">
            <a:extLst>
              <a:ext uri="{FF2B5EF4-FFF2-40B4-BE49-F238E27FC236}">
                <a16:creationId xmlns:a16="http://schemas.microsoft.com/office/drawing/2014/main" id="{1A0F3B76-3382-9248-82C0-E233897683C1}"/>
              </a:ext>
            </a:extLst>
          </p:cNvPr>
          <p:cNvSpPr/>
          <p:nvPr/>
        </p:nvSpPr>
        <p:spPr>
          <a:xfrm>
            <a:off x="0" y="5458906"/>
            <a:ext cx="3131911" cy="1406635"/>
          </a:xfrm>
          <a:custGeom>
            <a:avLst/>
            <a:gdLst>
              <a:gd name="connsiteX0" fmla="*/ 1069980 w 3131911"/>
              <a:gd name="connsiteY0" fmla="*/ 0 h 1406635"/>
              <a:gd name="connsiteX1" fmla="*/ 3131911 w 3131911"/>
              <a:gd name="connsiteY1" fmla="*/ 1406635 h 1406635"/>
              <a:gd name="connsiteX2" fmla="*/ 0 w 3131911"/>
              <a:gd name="connsiteY2" fmla="*/ 1406635 h 1406635"/>
              <a:gd name="connsiteX3" fmla="*/ 0 w 3131911"/>
              <a:gd name="connsiteY3" fmla="*/ 751147 h 1406635"/>
            </a:gdLst>
            <a:ahLst/>
            <a:cxnLst>
              <a:cxn ang="0">
                <a:pos x="connsiteX0" y="connsiteY0"/>
              </a:cxn>
              <a:cxn ang="0">
                <a:pos x="connsiteX1" y="connsiteY1"/>
              </a:cxn>
              <a:cxn ang="0">
                <a:pos x="connsiteX2" y="connsiteY2"/>
              </a:cxn>
              <a:cxn ang="0">
                <a:pos x="connsiteX3" y="connsiteY3"/>
              </a:cxn>
            </a:cxnLst>
            <a:rect l="l" t="t" r="r" b="b"/>
            <a:pathLst>
              <a:path w="3131911" h="1406635">
                <a:moveTo>
                  <a:pt x="1069980" y="0"/>
                </a:moveTo>
                <a:lnTo>
                  <a:pt x="3131911" y="1406635"/>
                </a:lnTo>
                <a:lnTo>
                  <a:pt x="0" y="1406635"/>
                </a:lnTo>
                <a:lnTo>
                  <a:pt x="0" y="751147"/>
                </a:lnTo>
                <a:close/>
              </a:path>
            </a:pathLst>
          </a:custGeom>
          <a:gradFill>
            <a:gsLst>
              <a:gs pos="0">
                <a:srgbClr val="FF555F"/>
              </a:gs>
              <a:gs pos="93000">
                <a:srgbClr val="073262"/>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Picture Placeholder 9">
            <a:extLst>
              <a:ext uri="{FF2B5EF4-FFF2-40B4-BE49-F238E27FC236}">
                <a16:creationId xmlns:a16="http://schemas.microsoft.com/office/drawing/2014/main" id="{D25BC452-1F24-4688-8C24-691D5A22230A}"/>
              </a:ext>
            </a:extLst>
          </p:cNvPr>
          <p:cNvSpPr>
            <a:spLocks noGrp="1"/>
          </p:cNvSpPr>
          <p:nvPr>
            <p:ph type="pic" sz="quarter" idx="10"/>
          </p:nvPr>
        </p:nvSpPr>
        <p:spPr>
          <a:xfrm>
            <a:off x="2997948" y="0"/>
            <a:ext cx="1780140" cy="6865540"/>
          </a:xfrm>
          <a:custGeom>
            <a:avLst/>
            <a:gdLst>
              <a:gd name="connsiteX0" fmla="*/ 0 w 5396955"/>
              <a:gd name="connsiteY0" fmla="*/ 0 h 5449171"/>
              <a:gd name="connsiteX1" fmla="*/ 531609 w 5396955"/>
              <a:gd name="connsiteY1" fmla="*/ 0 h 5449171"/>
              <a:gd name="connsiteX2" fmla="*/ 1495853 w 5396955"/>
              <a:gd name="connsiteY2" fmla="*/ 0 h 5449171"/>
              <a:gd name="connsiteX3" fmla="*/ 2323617 w 5396955"/>
              <a:gd name="connsiteY3" fmla="*/ 0 h 5449171"/>
              <a:gd name="connsiteX4" fmla="*/ 3297432 w 5396955"/>
              <a:gd name="connsiteY4" fmla="*/ 0 h 5449171"/>
              <a:gd name="connsiteX5" fmla="*/ 4125195 w 5396955"/>
              <a:gd name="connsiteY5" fmla="*/ 0 h 5449171"/>
              <a:gd name="connsiteX6" fmla="*/ 5093137 w 5396955"/>
              <a:gd name="connsiteY6" fmla="*/ 0 h 5449171"/>
              <a:gd name="connsiteX7" fmla="*/ 5396955 w 5396955"/>
              <a:gd name="connsiteY7" fmla="*/ 0 h 5449171"/>
              <a:gd name="connsiteX8" fmla="*/ 5396955 w 5396955"/>
              <a:gd name="connsiteY8" fmla="*/ 3579235 h 5449171"/>
              <a:gd name="connsiteX9" fmla="*/ 2706371 w 5396955"/>
              <a:gd name="connsiteY9" fmla="*/ 5449171 h 5449171"/>
              <a:gd name="connsiteX10" fmla="*/ 0 w 5396955"/>
              <a:gd name="connsiteY10" fmla="*/ 3568264 h 5449171"/>
              <a:gd name="connsiteX11" fmla="*/ 0 w 5396955"/>
              <a:gd name="connsiteY11" fmla="*/ 3027553 h 5449171"/>
              <a:gd name="connsiteX12" fmla="*/ 0 w 5396955"/>
              <a:gd name="connsiteY12" fmla="*/ 2387181 h 5449171"/>
              <a:gd name="connsiteX13" fmla="*/ 0 w 5396955"/>
              <a:gd name="connsiteY13" fmla="*/ 1839548 h 5449171"/>
              <a:gd name="connsiteX14" fmla="*/ 0 w 5396955"/>
              <a:gd name="connsiteY14" fmla="*/ 1195290 h 5449171"/>
              <a:gd name="connsiteX15" fmla="*/ 0 w 5396955"/>
              <a:gd name="connsiteY15" fmla="*/ 647657 h 5449171"/>
              <a:gd name="connsiteX16" fmla="*/ 0 w 5396955"/>
              <a:gd name="connsiteY16" fmla="*/ 9731 h 5449171"/>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68264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647657 h 3579235"/>
              <a:gd name="connsiteX15" fmla="*/ 0 w 5396955"/>
              <a:gd name="connsiteY15" fmla="*/ 9731 h 3579235"/>
              <a:gd name="connsiteX16" fmla="*/ 0 w 5396955"/>
              <a:gd name="connsiteY16"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1195290 h 3579235"/>
              <a:gd name="connsiteX14" fmla="*/ 0 w 5396955"/>
              <a:gd name="connsiteY14" fmla="*/ 9731 h 3579235"/>
              <a:gd name="connsiteX15" fmla="*/ 0 w 5396955"/>
              <a:gd name="connsiteY15"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1839548 h 3579235"/>
              <a:gd name="connsiteX13" fmla="*/ 0 w 5396955"/>
              <a:gd name="connsiteY13" fmla="*/ 9731 h 3579235"/>
              <a:gd name="connsiteX14" fmla="*/ 0 w 5396955"/>
              <a:gd name="connsiteY14"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2387181 h 3579235"/>
              <a:gd name="connsiteX12" fmla="*/ 0 w 5396955"/>
              <a:gd name="connsiteY12" fmla="*/ 9731 h 3579235"/>
              <a:gd name="connsiteX13" fmla="*/ 0 w 5396955"/>
              <a:gd name="connsiteY13"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3027553 h 3579235"/>
              <a:gd name="connsiteX11" fmla="*/ 0 w 5396955"/>
              <a:gd name="connsiteY11" fmla="*/ 9731 h 3579235"/>
              <a:gd name="connsiteX12" fmla="*/ 0 w 5396955"/>
              <a:gd name="connsiteY12"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531609 w 5396955"/>
              <a:gd name="connsiteY1" fmla="*/ 0 h 3579235"/>
              <a:gd name="connsiteX2" fmla="*/ 1495853 w 5396955"/>
              <a:gd name="connsiteY2" fmla="*/ 0 h 3579235"/>
              <a:gd name="connsiteX3" fmla="*/ 2323617 w 5396955"/>
              <a:gd name="connsiteY3" fmla="*/ 0 h 3579235"/>
              <a:gd name="connsiteX4" fmla="*/ 3297432 w 5396955"/>
              <a:gd name="connsiteY4" fmla="*/ 0 h 3579235"/>
              <a:gd name="connsiteX5" fmla="*/ 4125195 w 5396955"/>
              <a:gd name="connsiteY5" fmla="*/ 0 h 3579235"/>
              <a:gd name="connsiteX6" fmla="*/ 5093137 w 5396955"/>
              <a:gd name="connsiteY6" fmla="*/ 0 h 3579235"/>
              <a:gd name="connsiteX7" fmla="*/ 5396955 w 5396955"/>
              <a:gd name="connsiteY7" fmla="*/ 0 h 3579235"/>
              <a:gd name="connsiteX8" fmla="*/ 5396955 w 5396955"/>
              <a:gd name="connsiteY8" fmla="*/ 3579235 h 3579235"/>
              <a:gd name="connsiteX9" fmla="*/ 0 w 5396955"/>
              <a:gd name="connsiteY9" fmla="*/ 3576209 h 3579235"/>
              <a:gd name="connsiteX10" fmla="*/ 0 w 5396955"/>
              <a:gd name="connsiteY10" fmla="*/ 9731 h 3579235"/>
              <a:gd name="connsiteX11" fmla="*/ 0 w 5396955"/>
              <a:gd name="connsiteY11" fmla="*/ 0 h 3579235"/>
              <a:gd name="connsiteX0" fmla="*/ 0 w 5396955"/>
              <a:gd name="connsiteY0" fmla="*/ 0 h 3579235"/>
              <a:gd name="connsiteX1" fmla="*/ 1495853 w 5396955"/>
              <a:gd name="connsiteY1" fmla="*/ 0 h 3579235"/>
              <a:gd name="connsiteX2" fmla="*/ 2323617 w 5396955"/>
              <a:gd name="connsiteY2" fmla="*/ 0 h 3579235"/>
              <a:gd name="connsiteX3" fmla="*/ 3297432 w 5396955"/>
              <a:gd name="connsiteY3" fmla="*/ 0 h 3579235"/>
              <a:gd name="connsiteX4" fmla="*/ 4125195 w 5396955"/>
              <a:gd name="connsiteY4" fmla="*/ 0 h 3579235"/>
              <a:gd name="connsiteX5" fmla="*/ 5093137 w 5396955"/>
              <a:gd name="connsiteY5" fmla="*/ 0 h 3579235"/>
              <a:gd name="connsiteX6" fmla="*/ 5396955 w 5396955"/>
              <a:gd name="connsiteY6" fmla="*/ 0 h 3579235"/>
              <a:gd name="connsiteX7" fmla="*/ 5396955 w 5396955"/>
              <a:gd name="connsiteY7" fmla="*/ 3579235 h 3579235"/>
              <a:gd name="connsiteX8" fmla="*/ 0 w 5396955"/>
              <a:gd name="connsiteY8" fmla="*/ 3576209 h 3579235"/>
              <a:gd name="connsiteX9" fmla="*/ 0 w 5396955"/>
              <a:gd name="connsiteY9" fmla="*/ 9731 h 3579235"/>
              <a:gd name="connsiteX10" fmla="*/ 0 w 5396955"/>
              <a:gd name="connsiteY10" fmla="*/ 0 h 3579235"/>
              <a:gd name="connsiteX0" fmla="*/ 0 w 5396955"/>
              <a:gd name="connsiteY0" fmla="*/ 0 h 3579235"/>
              <a:gd name="connsiteX1" fmla="*/ 2323617 w 5396955"/>
              <a:gd name="connsiteY1" fmla="*/ 0 h 3579235"/>
              <a:gd name="connsiteX2" fmla="*/ 3297432 w 5396955"/>
              <a:gd name="connsiteY2" fmla="*/ 0 h 3579235"/>
              <a:gd name="connsiteX3" fmla="*/ 4125195 w 5396955"/>
              <a:gd name="connsiteY3" fmla="*/ 0 h 3579235"/>
              <a:gd name="connsiteX4" fmla="*/ 5093137 w 5396955"/>
              <a:gd name="connsiteY4" fmla="*/ 0 h 3579235"/>
              <a:gd name="connsiteX5" fmla="*/ 5396955 w 5396955"/>
              <a:gd name="connsiteY5" fmla="*/ 0 h 3579235"/>
              <a:gd name="connsiteX6" fmla="*/ 5396955 w 5396955"/>
              <a:gd name="connsiteY6" fmla="*/ 3579235 h 3579235"/>
              <a:gd name="connsiteX7" fmla="*/ 0 w 5396955"/>
              <a:gd name="connsiteY7" fmla="*/ 3576209 h 3579235"/>
              <a:gd name="connsiteX8" fmla="*/ 0 w 5396955"/>
              <a:gd name="connsiteY8" fmla="*/ 9731 h 3579235"/>
              <a:gd name="connsiteX9" fmla="*/ 0 w 5396955"/>
              <a:gd name="connsiteY9" fmla="*/ 0 h 3579235"/>
              <a:gd name="connsiteX0" fmla="*/ 0 w 5396955"/>
              <a:gd name="connsiteY0" fmla="*/ 0 h 3579235"/>
              <a:gd name="connsiteX1" fmla="*/ 3297432 w 5396955"/>
              <a:gd name="connsiteY1" fmla="*/ 0 h 3579235"/>
              <a:gd name="connsiteX2" fmla="*/ 4125195 w 5396955"/>
              <a:gd name="connsiteY2" fmla="*/ 0 h 3579235"/>
              <a:gd name="connsiteX3" fmla="*/ 5093137 w 5396955"/>
              <a:gd name="connsiteY3" fmla="*/ 0 h 3579235"/>
              <a:gd name="connsiteX4" fmla="*/ 5396955 w 5396955"/>
              <a:gd name="connsiteY4" fmla="*/ 0 h 3579235"/>
              <a:gd name="connsiteX5" fmla="*/ 5396955 w 5396955"/>
              <a:gd name="connsiteY5" fmla="*/ 3579235 h 3579235"/>
              <a:gd name="connsiteX6" fmla="*/ 0 w 5396955"/>
              <a:gd name="connsiteY6" fmla="*/ 3576209 h 3579235"/>
              <a:gd name="connsiteX7" fmla="*/ 0 w 5396955"/>
              <a:gd name="connsiteY7" fmla="*/ 9731 h 3579235"/>
              <a:gd name="connsiteX8" fmla="*/ 0 w 5396955"/>
              <a:gd name="connsiteY8" fmla="*/ 0 h 3579235"/>
              <a:gd name="connsiteX0" fmla="*/ 0 w 5396955"/>
              <a:gd name="connsiteY0" fmla="*/ 0 h 3579235"/>
              <a:gd name="connsiteX1" fmla="*/ 4125195 w 5396955"/>
              <a:gd name="connsiteY1" fmla="*/ 0 h 3579235"/>
              <a:gd name="connsiteX2" fmla="*/ 5093137 w 5396955"/>
              <a:gd name="connsiteY2" fmla="*/ 0 h 3579235"/>
              <a:gd name="connsiteX3" fmla="*/ 5396955 w 5396955"/>
              <a:gd name="connsiteY3" fmla="*/ 0 h 3579235"/>
              <a:gd name="connsiteX4" fmla="*/ 5396955 w 5396955"/>
              <a:gd name="connsiteY4" fmla="*/ 3579235 h 3579235"/>
              <a:gd name="connsiteX5" fmla="*/ 0 w 5396955"/>
              <a:gd name="connsiteY5" fmla="*/ 3576209 h 3579235"/>
              <a:gd name="connsiteX6" fmla="*/ 0 w 5396955"/>
              <a:gd name="connsiteY6" fmla="*/ 9731 h 3579235"/>
              <a:gd name="connsiteX7" fmla="*/ 0 w 5396955"/>
              <a:gd name="connsiteY7" fmla="*/ 0 h 3579235"/>
              <a:gd name="connsiteX0" fmla="*/ 0 w 5396955"/>
              <a:gd name="connsiteY0" fmla="*/ 0 h 3579235"/>
              <a:gd name="connsiteX1" fmla="*/ 5093137 w 5396955"/>
              <a:gd name="connsiteY1" fmla="*/ 0 h 3579235"/>
              <a:gd name="connsiteX2" fmla="*/ 5396955 w 5396955"/>
              <a:gd name="connsiteY2" fmla="*/ 0 h 3579235"/>
              <a:gd name="connsiteX3" fmla="*/ 5396955 w 5396955"/>
              <a:gd name="connsiteY3" fmla="*/ 3579235 h 3579235"/>
              <a:gd name="connsiteX4" fmla="*/ 0 w 5396955"/>
              <a:gd name="connsiteY4" fmla="*/ 3576209 h 3579235"/>
              <a:gd name="connsiteX5" fmla="*/ 0 w 5396955"/>
              <a:gd name="connsiteY5" fmla="*/ 9731 h 3579235"/>
              <a:gd name="connsiteX6" fmla="*/ 0 w 5396955"/>
              <a:gd name="connsiteY6" fmla="*/ 0 h 3579235"/>
              <a:gd name="connsiteX0" fmla="*/ 0 w 5396955"/>
              <a:gd name="connsiteY0" fmla="*/ 0 h 3579235"/>
              <a:gd name="connsiteX1" fmla="*/ 5396955 w 5396955"/>
              <a:gd name="connsiteY1" fmla="*/ 0 h 3579235"/>
              <a:gd name="connsiteX2" fmla="*/ 5396955 w 5396955"/>
              <a:gd name="connsiteY2" fmla="*/ 3579235 h 3579235"/>
              <a:gd name="connsiteX3" fmla="*/ 0 w 5396955"/>
              <a:gd name="connsiteY3" fmla="*/ 3576209 h 3579235"/>
              <a:gd name="connsiteX4" fmla="*/ 0 w 5396955"/>
              <a:gd name="connsiteY4" fmla="*/ 9731 h 3579235"/>
              <a:gd name="connsiteX5" fmla="*/ 0 w 5396955"/>
              <a:gd name="connsiteY5" fmla="*/ 0 h 357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6955" h="3579235">
                <a:moveTo>
                  <a:pt x="0" y="0"/>
                </a:moveTo>
                <a:lnTo>
                  <a:pt x="5396955" y="0"/>
                </a:lnTo>
                <a:lnTo>
                  <a:pt x="5396955" y="3579235"/>
                </a:lnTo>
                <a:lnTo>
                  <a:pt x="0" y="3576209"/>
                </a:lnTo>
                <a:lnTo>
                  <a:pt x="0" y="9731"/>
                </a:lnTo>
                <a:lnTo>
                  <a:pt x="0" y="0"/>
                </a:lnTo>
                <a:close/>
              </a:path>
            </a:pathLst>
          </a:custGeom>
          <a:solidFill>
            <a:schemeClr val="accent3"/>
          </a:solidFill>
        </p:spPr>
        <p:txBody>
          <a:bodyPr wrap="square" anchor="ctr" anchorCtr="0">
            <a:noAutofit/>
          </a:bodyPr>
          <a:lstStyle>
            <a:lvl1pPr>
              <a:defRPr lang="en-GB" sz="1800" dirty="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pic>
        <p:nvPicPr>
          <p:cNvPr id="14" name="Picture 13">
            <a:extLst>
              <a:ext uri="{FF2B5EF4-FFF2-40B4-BE49-F238E27FC236}">
                <a16:creationId xmlns:a16="http://schemas.microsoft.com/office/drawing/2014/main" id="{A7FBD1F2-8F8E-4ED2-B94D-477D0A3B195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60813"/>
          <a:stretch/>
        </p:blipFill>
        <p:spPr>
          <a:xfrm>
            <a:off x="1" y="3771"/>
            <a:ext cx="4778088" cy="6865540"/>
          </a:xfrm>
          <a:prstGeom prst="rect">
            <a:avLst/>
          </a:prstGeom>
        </p:spPr>
      </p:pic>
      <p:cxnSp>
        <p:nvCxnSpPr>
          <p:cNvPr id="15" name="Straight Connector 14">
            <a:extLst>
              <a:ext uri="{FF2B5EF4-FFF2-40B4-BE49-F238E27FC236}">
                <a16:creationId xmlns:a16="http://schemas.microsoft.com/office/drawing/2014/main" id="{27345E08-F03C-4412-AED1-380A48E88A38}"/>
              </a:ext>
            </a:extLst>
          </p:cNvPr>
          <p:cNvCxnSpPr>
            <a:cxnSpLocks/>
          </p:cNvCxnSpPr>
          <p:nvPr/>
        </p:nvCxnSpPr>
        <p:spPr>
          <a:xfrm>
            <a:off x="457198" y="4034177"/>
            <a:ext cx="2234261"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Freeform 30">
            <a:extLst>
              <a:ext uri="{FF2B5EF4-FFF2-40B4-BE49-F238E27FC236}">
                <a16:creationId xmlns:a16="http://schemas.microsoft.com/office/drawing/2014/main" id="{9B2D83E3-7F99-7D4F-8872-D013EB064C64}"/>
              </a:ext>
            </a:extLst>
          </p:cNvPr>
          <p:cNvSpPr/>
          <p:nvPr/>
        </p:nvSpPr>
        <p:spPr>
          <a:xfrm flipH="1">
            <a:off x="1463681" y="5720587"/>
            <a:ext cx="2037801" cy="1137413"/>
          </a:xfrm>
          <a:custGeom>
            <a:avLst/>
            <a:gdLst>
              <a:gd name="connsiteX0" fmla="*/ 1647526 w 2037801"/>
              <a:gd name="connsiteY0" fmla="*/ 0 h 1137413"/>
              <a:gd name="connsiteX1" fmla="*/ 0 w 2037801"/>
              <a:gd name="connsiteY1" fmla="*/ 1137412 h 1137413"/>
              <a:gd name="connsiteX2" fmla="*/ 4 w 2037801"/>
              <a:gd name="connsiteY2" fmla="*/ 1137413 h 1137413"/>
              <a:gd name="connsiteX3" fmla="*/ 763670 w 2037801"/>
              <a:gd name="connsiteY3" fmla="*/ 1137413 h 1137413"/>
              <a:gd name="connsiteX4" fmla="*/ 2037801 w 2037801"/>
              <a:gd name="connsiteY4" fmla="*/ 260147 h 1137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7801" h="1137413">
                <a:moveTo>
                  <a:pt x="1647526" y="0"/>
                </a:moveTo>
                <a:lnTo>
                  <a:pt x="0" y="1137412"/>
                </a:lnTo>
                <a:lnTo>
                  <a:pt x="4" y="1137413"/>
                </a:lnTo>
                <a:lnTo>
                  <a:pt x="763670" y="1137413"/>
                </a:lnTo>
                <a:lnTo>
                  <a:pt x="2037801" y="260147"/>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pic>
        <p:nvPicPr>
          <p:cNvPr id="33" name="Graphic 32">
            <a:extLst>
              <a:ext uri="{FF2B5EF4-FFF2-40B4-BE49-F238E27FC236}">
                <a16:creationId xmlns:a16="http://schemas.microsoft.com/office/drawing/2014/main" id="{000D3F3F-CEDE-AA4A-B072-12C37EE83EF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17298" y="6396668"/>
            <a:ext cx="931790" cy="271466"/>
          </a:xfrm>
          <a:prstGeom prst="rect">
            <a:avLst/>
          </a:prstGeom>
        </p:spPr>
      </p:pic>
      <p:sp>
        <p:nvSpPr>
          <p:cNvPr id="17" name="Slide Number Placeholder 5">
            <a:extLst>
              <a:ext uri="{FF2B5EF4-FFF2-40B4-BE49-F238E27FC236}">
                <a16:creationId xmlns:a16="http://schemas.microsoft.com/office/drawing/2014/main" id="{B4D1D48A-C6B2-C840-ACF7-BDFFCDC07EB1}"/>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1"/>
                </a:solidFill>
                <a:latin typeface="+mn-lt"/>
                <a:ea typeface="Cambria" panose="02040503050406030204" pitchFamily="18" charset="0"/>
              </a:rPr>
              <a:pPr algn="l"/>
              <a:t>‹#›</a:t>
            </a:fld>
            <a:endParaRPr lang="en-US" b="1" dirty="0">
              <a:solidFill>
                <a:schemeClr val="bg1"/>
              </a:solidFill>
              <a:latin typeface="+mn-lt"/>
              <a:ea typeface="Cambria" panose="02040503050406030204" pitchFamily="18" charset="0"/>
            </a:endParaRPr>
          </a:p>
        </p:txBody>
      </p:sp>
      <p:sp>
        <p:nvSpPr>
          <p:cNvPr id="18" name="Footer Placeholder 3">
            <a:extLst>
              <a:ext uri="{FF2B5EF4-FFF2-40B4-BE49-F238E27FC236}">
                <a16:creationId xmlns:a16="http://schemas.microsoft.com/office/drawing/2014/main" id="{6E50F16F-4912-A54F-8EC8-9B7B057300DB}"/>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1"/>
                </a:solidFill>
              </a:defRPr>
            </a:lvl1pPr>
          </a:lstStyle>
          <a:p>
            <a:r>
              <a:rPr lang="en-US" dirty="0">
                <a:ea typeface="Cambria" panose="02040503050406030204" pitchFamily="18" charset="0"/>
                <a:cs typeface="Calibri" charset="0"/>
              </a:rPr>
              <a:t>© 2020 Copyright Genpact. All Rights Reserved.</a:t>
            </a:r>
          </a:p>
        </p:txBody>
      </p:sp>
      <p:sp>
        <p:nvSpPr>
          <p:cNvPr id="19" name="Title 1">
            <a:extLst>
              <a:ext uri="{FF2B5EF4-FFF2-40B4-BE49-F238E27FC236}">
                <a16:creationId xmlns:a16="http://schemas.microsoft.com/office/drawing/2014/main" id="{7EC097FF-BFAB-400E-9131-80689ABAFD81}"/>
              </a:ext>
            </a:extLst>
          </p:cNvPr>
          <p:cNvSpPr>
            <a:spLocks noGrp="1"/>
          </p:cNvSpPr>
          <p:nvPr>
            <p:ph type="title" hasCustomPrompt="1"/>
          </p:nvPr>
        </p:nvSpPr>
        <p:spPr>
          <a:xfrm>
            <a:off x="460744" y="1739830"/>
            <a:ext cx="2230714" cy="2166556"/>
          </a:xfrm>
        </p:spPr>
        <p:txBody>
          <a:bodyPr vert="horz" lIns="0" tIns="45720" rIns="91440" bIns="45720" rtlCol="0" anchor="b">
            <a:noAutofit/>
          </a:bodyPr>
          <a:lstStyle>
            <a:lvl1pPr>
              <a:defRPr lang="en-GB" sz="2800" smtClean="0">
                <a:solidFill>
                  <a:schemeClr val="bg1"/>
                </a:solidFill>
              </a:defRPr>
            </a:lvl1pPr>
          </a:lstStyle>
          <a:p>
            <a:pPr lvl="0"/>
            <a:r>
              <a:rPr lang="en-US" dirty="0"/>
              <a:t>Lorem ipsum dolor sit </a:t>
            </a:r>
            <a:r>
              <a:rPr lang="en-US" dirty="0" err="1"/>
              <a:t>amet</a:t>
            </a:r>
            <a:endParaRPr lang="en-US" dirty="0"/>
          </a:p>
        </p:txBody>
      </p:sp>
      <p:sp>
        <p:nvSpPr>
          <p:cNvPr id="20" name="Text Placeholder 22">
            <a:extLst>
              <a:ext uri="{FF2B5EF4-FFF2-40B4-BE49-F238E27FC236}">
                <a16:creationId xmlns:a16="http://schemas.microsoft.com/office/drawing/2014/main" id="{AF9326D4-7167-4966-81BB-1BAB5CBC4A96}"/>
              </a:ext>
            </a:extLst>
          </p:cNvPr>
          <p:cNvSpPr>
            <a:spLocks noGrp="1"/>
          </p:cNvSpPr>
          <p:nvPr>
            <p:ph type="body" sz="quarter" idx="12" hasCustomPrompt="1"/>
          </p:nvPr>
        </p:nvSpPr>
        <p:spPr>
          <a:xfrm>
            <a:off x="460745" y="4173542"/>
            <a:ext cx="2234329" cy="533400"/>
          </a:xfrm>
          <a:prstGeom prst="rect">
            <a:avLst/>
          </a:prstGeom>
        </p:spPr>
        <p:txBody>
          <a:bodyPr lIns="0" anchor="t">
            <a:noAutofit/>
          </a:bodyPr>
          <a:lstStyle>
            <a:lvl1pPr marL="0" indent="0">
              <a:buNone/>
              <a:defRPr sz="1400" b="0">
                <a:solidFill>
                  <a:schemeClr val="bg1"/>
                </a:solidFill>
                <a:latin typeface="+mn-lt"/>
                <a:ea typeface="Cambria" panose="02040503050406030204"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23" name="Rectangle 22">
            <a:extLst>
              <a:ext uri="{FF2B5EF4-FFF2-40B4-BE49-F238E27FC236}">
                <a16:creationId xmlns:a16="http://schemas.microsoft.com/office/drawing/2014/main" id="{49AAC0CD-3BB0-4D9E-A908-07FDE5E8E65A}"/>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2" name="Freeform: Shape 21">
            <a:extLst>
              <a:ext uri="{FF2B5EF4-FFF2-40B4-BE49-F238E27FC236}">
                <a16:creationId xmlns:a16="http://schemas.microsoft.com/office/drawing/2014/main" id="{6A23EC76-A22A-47BD-BB6E-CAADBA2F82AF}"/>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5" name="Freeform: Shape 24">
            <a:extLst>
              <a:ext uri="{FF2B5EF4-FFF2-40B4-BE49-F238E27FC236}">
                <a16:creationId xmlns:a16="http://schemas.microsoft.com/office/drawing/2014/main" id="{64671103-7E79-47FF-8825-80F398220656}"/>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26" name="Freeform: Shape 25">
            <a:extLst>
              <a:ext uri="{FF2B5EF4-FFF2-40B4-BE49-F238E27FC236}">
                <a16:creationId xmlns:a16="http://schemas.microsoft.com/office/drawing/2014/main" id="{2C056E5A-50B8-4FF1-9AD8-E4003692D263}"/>
              </a:ext>
            </a:extLst>
          </p:cNvPr>
          <p:cNvSpPr/>
          <p:nvPr userDrawn="1"/>
        </p:nvSpPr>
        <p:spPr>
          <a:xfrm>
            <a:off x="5122878" y="2446026"/>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Cambria" panose="02040503050406030204" pitchFamily="18" charset="0"/>
              <a:cs typeface="+mn-cs"/>
            </a:endParaRPr>
          </a:p>
        </p:txBody>
      </p:sp>
      <p:sp>
        <p:nvSpPr>
          <p:cNvPr id="28" name="Freeform: Shape 27">
            <a:extLst>
              <a:ext uri="{FF2B5EF4-FFF2-40B4-BE49-F238E27FC236}">
                <a16:creationId xmlns:a16="http://schemas.microsoft.com/office/drawing/2014/main" id="{109B9F4C-9DEC-4C04-B351-C0AF80F0C2A2}"/>
              </a:ext>
            </a:extLst>
          </p:cNvPr>
          <p:cNvSpPr/>
          <p:nvPr userDrawn="1"/>
        </p:nvSpPr>
        <p:spPr>
          <a:xfrm>
            <a:off x="5122878" y="401719"/>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Cambria" panose="02040503050406030204" pitchFamily="18" charset="0"/>
              <a:cs typeface="+mn-cs"/>
            </a:endParaRPr>
          </a:p>
        </p:txBody>
      </p:sp>
      <p:sp>
        <p:nvSpPr>
          <p:cNvPr id="34" name="Freeform: Shape 33">
            <a:extLst>
              <a:ext uri="{FF2B5EF4-FFF2-40B4-BE49-F238E27FC236}">
                <a16:creationId xmlns:a16="http://schemas.microsoft.com/office/drawing/2014/main" id="{790BBA3B-007E-49C2-B8B9-A965F9165FC7}"/>
              </a:ext>
            </a:extLst>
          </p:cNvPr>
          <p:cNvSpPr/>
          <p:nvPr userDrawn="1"/>
        </p:nvSpPr>
        <p:spPr>
          <a:xfrm>
            <a:off x="5122878" y="4340636"/>
            <a:ext cx="377904" cy="521508"/>
          </a:xfrm>
          <a:custGeom>
            <a:avLst/>
            <a:gdLst>
              <a:gd name="connsiteX0" fmla="*/ 0 w 1600010"/>
              <a:gd name="connsiteY0" fmla="*/ 564484 h 2208014"/>
              <a:gd name="connsiteX1" fmla="*/ 801499 w 1600010"/>
              <a:gd name="connsiteY1" fmla="*/ 0 h 2208014"/>
              <a:gd name="connsiteX2" fmla="*/ 1600650 w 1600010"/>
              <a:gd name="connsiteY2" fmla="*/ 564484 h 2208014"/>
              <a:gd name="connsiteX3" fmla="*/ 1600650 w 1600010"/>
              <a:gd name="connsiteY3" fmla="*/ 1673611 h 2208014"/>
              <a:gd name="connsiteX4" fmla="*/ 800325 w 1600010"/>
              <a:gd name="connsiteY4" fmla="*/ 2218361 h 2208014"/>
              <a:gd name="connsiteX5" fmla="*/ 0 w 1600010"/>
              <a:gd name="connsiteY5" fmla="*/ 1666998 h 2208014"/>
              <a:gd name="connsiteX6" fmla="*/ 0 w 1600010"/>
              <a:gd name="connsiteY6" fmla="*/ 564484 h 2208014"/>
              <a:gd name="connsiteX7" fmla="*/ 0 w 1600010"/>
              <a:gd name="connsiteY7" fmla="*/ 564484 h 220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010" h="2208014">
                <a:moveTo>
                  <a:pt x="0" y="564484"/>
                </a:moveTo>
                <a:lnTo>
                  <a:pt x="801499" y="0"/>
                </a:lnTo>
                <a:lnTo>
                  <a:pt x="1600650" y="564484"/>
                </a:lnTo>
                <a:lnTo>
                  <a:pt x="1600650" y="1673611"/>
                </a:lnTo>
                <a:lnTo>
                  <a:pt x="800325" y="2218361"/>
                </a:lnTo>
                <a:lnTo>
                  <a:pt x="0" y="1666998"/>
                </a:lnTo>
                <a:lnTo>
                  <a:pt x="0" y="564484"/>
                </a:lnTo>
                <a:lnTo>
                  <a:pt x="0" y="564484"/>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Cambria" panose="02040503050406030204" pitchFamily="18" charset="0"/>
              <a:cs typeface="+mn-cs"/>
            </a:endParaRPr>
          </a:p>
        </p:txBody>
      </p:sp>
      <p:pic>
        <p:nvPicPr>
          <p:cNvPr id="36" name="Graphic 35">
            <a:extLst>
              <a:ext uri="{FF2B5EF4-FFF2-40B4-BE49-F238E27FC236}">
                <a16:creationId xmlns:a16="http://schemas.microsoft.com/office/drawing/2014/main" id="{1F1A1A7D-1BE7-41E8-AC2D-AE6B08947B2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78480" y="510073"/>
            <a:ext cx="266700" cy="304800"/>
          </a:xfrm>
          <a:prstGeom prst="rect">
            <a:avLst/>
          </a:prstGeom>
        </p:spPr>
      </p:pic>
      <p:pic>
        <p:nvPicPr>
          <p:cNvPr id="37" name="Graphic 36">
            <a:extLst>
              <a:ext uri="{FF2B5EF4-FFF2-40B4-BE49-F238E27FC236}">
                <a16:creationId xmlns:a16="http://schemas.microsoft.com/office/drawing/2014/main" id="{C0C001C4-EE98-4465-8B7B-D8A818ED696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184983" y="4480049"/>
            <a:ext cx="247990" cy="257910"/>
          </a:xfrm>
          <a:prstGeom prst="rect">
            <a:avLst/>
          </a:prstGeom>
        </p:spPr>
      </p:pic>
      <p:pic>
        <p:nvPicPr>
          <p:cNvPr id="38" name="Graphic 37">
            <a:extLst>
              <a:ext uri="{FF2B5EF4-FFF2-40B4-BE49-F238E27FC236}">
                <a16:creationId xmlns:a16="http://schemas.microsoft.com/office/drawing/2014/main" id="{D99936D8-E816-4D48-9BE0-BF3EFC24B9C5}"/>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196404" y="2567718"/>
            <a:ext cx="225147" cy="278123"/>
          </a:xfrm>
          <a:prstGeom prst="rect">
            <a:avLst/>
          </a:prstGeom>
        </p:spPr>
      </p:pic>
      <p:sp>
        <p:nvSpPr>
          <p:cNvPr id="43" name="Text Placeholder 2">
            <a:extLst>
              <a:ext uri="{FF2B5EF4-FFF2-40B4-BE49-F238E27FC236}">
                <a16:creationId xmlns:a16="http://schemas.microsoft.com/office/drawing/2014/main" id="{CF541E08-79B1-4FB4-B040-44031CD657F5}"/>
              </a:ext>
            </a:extLst>
          </p:cNvPr>
          <p:cNvSpPr>
            <a:spLocks noGrp="1"/>
          </p:cNvSpPr>
          <p:nvPr>
            <p:ph type="body" sz="quarter" idx="16"/>
          </p:nvPr>
        </p:nvSpPr>
        <p:spPr>
          <a:xfrm>
            <a:off x="482600" y="1371866"/>
            <a:ext cx="2230714" cy="228600"/>
          </a:xfrm>
          <a:prstGeom prst="rect">
            <a:avLst/>
          </a:prstGeom>
        </p:spPr>
        <p:txBody>
          <a:bodyPr lIns="0">
            <a:noAutofit/>
          </a:bodyPr>
          <a:lstStyle>
            <a:lvl1pPr marL="0" indent="0">
              <a:buNone/>
              <a:defRPr sz="1000">
                <a:solidFill>
                  <a:schemeClr val="bg1"/>
                </a:solidFill>
                <a:latin typeface="+mn-lt"/>
                <a:ea typeface="Cambria" panose="02040503050406030204" pitchFamily="18" charset="0"/>
              </a:defRPr>
            </a:lvl1pPr>
          </a:lstStyle>
          <a:p>
            <a:pPr lvl="0"/>
            <a:r>
              <a:rPr lang="en-US" dirty="0"/>
              <a:t>Click to edit Master text styles</a:t>
            </a:r>
          </a:p>
        </p:txBody>
      </p:sp>
    </p:spTree>
    <p:extLst>
      <p:ext uri="{BB962C8B-B14F-4D97-AF65-F5344CB8AC3E}">
        <p14:creationId xmlns:p14="http://schemas.microsoft.com/office/powerpoint/2010/main" val="268013493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 Option 12">
    <p:spTree>
      <p:nvGrpSpPr>
        <p:cNvPr id="1" name=""/>
        <p:cNvGrpSpPr/>
        <p:nvPr/>
      </p:nvGrpSpPr>
      <p:grpSpPr>
        <a:xfrm>
          <a:off x="0" y="0"/>
          <a:ext cx="0" cy="0"/>
          <a:chOff x="0" y="0"/>
          <a:chExt cx="0" cy="0"/>
        </a:xfrm>
      </p:grpSpPr>
      <p:sp>
        <p:nvSpPr>
          <p:cNvPr id="13" name="Right Triangle 12">
            <a:extLst>
              <a:ext uri="{FF2B5EF4-FFF2-40B4-BE49-F238E27FC236}">
                <a16:creationId xmlns:a16="http://schemas.microsoft.com/office/drawing/2014/main" id="{0AF48DA9-E99B-4AAD-8AED-1F315BB61CAB}"/>
              </a:ext>
            </a:extLst>
          </p:cNvPr>
          <p:cNvSpPr/>
          <p:nvPr userDrawn="1"/>
        </p:nvSpPr>
        <p:spPr>
          <a:xfrm rot="5400000">
            <a:off x="-14991" y="0"/>
            <a:ext cx="3815466" cy="381546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Picture Placeholder 16">
            <a:extLst>
              <a:ext uri="{FF2B5EF4-FFF2-40B4-BE49-F238E27FC236}">
                <a16:creationId xmlns:a16="http://schemas.microsoft.com/office/drawing/2014/main" id="{17132858-3690-C942-AE55-74072A035C61}"/>
              </a:ext>
            </a:extLst>
          </p:cNvPr>
          <p:cNvSpPr>
            <a:spLocks noGrp="1"/>
          </p:cNvSpPr>
          <p:nvPr>
            <p:ph type="pic" sz="quarter" idx="17"/>
          </p:nvPr>
        </p:nvSpPr>
        <p:spPr>
          <a:xfrm>
            <a:off x="1" y="1"/>
            <a:ext cx="5711211" cy="6857999"/>
          </a:xfrm>
          <a:custGeom>
            <a:avLst/>
            <a:gdLst>
              <a:gd name="connsiteX0" fmla="*/ 3888681 w 5711211"/>
              <a:gd name="connsiteY0" fmla="*/ 0 h 6857999"/>
              <a:gd name="connsiteX1" fmla="*/ 5711211 w 5711211"/>
              <a:gd name="connsiteY1" fmla="*/ 0 h 6857999"/>
              <a:gd name="connsiteX2" fmla="*/ 5711211 w 5711211"/>
              <a:gd name="connsiteY2" fmla="*/ 4103993 h 6857999"/>
              <a:gd name="connsiteX3" fmla="*/ 1739709 w 5711211"/>
              <a:gd name="connsiteY3" fmla="*/ 6857999 h 6857999"/>
              <a:gd name="connsiteX4" fmla="*/ 0 w 5711211"/>
              <a:gd name="connsiteY4" fmla="*/ 6857999 h 6857999"/>
              <a:gd name="connsiteX5" fmla="*/ 0 w 5711211"/>
              <a:gd name="connsiteY5" fmla="*/ 271410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1211" h="6857999">
                <a:moveTo>
                  <a:pt x="3888681" y="0"/>
                </a:moveTo>
                <a:lnTo>
                  <a:pt x="5711211" y="0"/>
                </a:lnTo>
                <a:lnTo>
                  <a:pt x="5711211" y="4103993"/>
                </a:lnTo>
                <a:lnTo>
                  <a:pt x="1739709" y="6857999"/>
                </a:lnTo>
                <a:lnTo>
                  <a:pt x="0" y="6857999"/>
                </a:lnTo>
                <a:lnTo>
                  <a:pt x="0" y="2714106"/>
                </a:lnTo>
                <a:close/>
              </a:path>
            </a:pathLst>
          </a:custGeom>
          <a:solidFill>
            <a:schemeClr val="accent6"/>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6942414" y="2259127"/>
            <a:ext cx="4004633" cy="381000"/>
          </a:xfrm>
          <a:prstGeom prst="rect">
            <a:avLst/>
          </a:prstGeom>
        </p:spPr>
        <p:txBody>
          <a:bodyPr lIns="0" anchor="t">
            <a:noAutofit/>
          </a:bodyPr>
          <a:lstStyle>
            <a:lvl1pPr marL="0" indent="0">
              <a:buNone/>
              <a:tabLst>
                <a:tab pos="2509838" algn="l"/>
              </a:tabLst>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Subtitle goes here</a:t>
            </a:r>
            <a:endParaRPr lang="en-US" dirty="0"/>
          </a:p>
        </p:txBody>
      </p:sp>
      <p:pic>
        <p:nvPicPr>
          <p:cNvPr id="12" name="Graphic 11">
            <a:extLst>
              <a:ext uri="{FF2B5EF4-FFF2-40B4-BE49-F238E27FC236}">
                <a16:creationId xmlns:a16="http://schemas.microsoft.com/office/drawing/2014/main" id="{F2D878DF-45CE-48C4-ADBA-897AA41158B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14" name="Footer Placeholder 3">
            <a:extLst>
              <a:ext uri="{FF2B5EF4-FFF2-40B4-BE49-F238E27FC236}">
                <a16:creationId xmlns:a16="http://schemas.microsoft.com/office/drawing/2014/main" id="{33F3AC65-093E-9F4A-8174-2994D89053C9}"/>
              </a:ext>
            </a:extLst>
          </p:cNvPr>
          <p:cNvSpPr>
            <a:spLocks noGrp="1"/>
          </p:cNvSpPr>
          <p:nvPr>
            <p:ph type="ftr" sz="quarter" idx="3"/>
          </p:nvPr>
        </p:nvSpPr>
        <p:spPr>
          <a:xfrm>
            <a:off x="9487650" y="6431515"/>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1" name="Title 1">
            <a:extLst>
              <a:ext uri="{FF2B5EF4-FFF2-40B4-BE49-F238E27FC236}">
                <a16:creationId xmlns:a16="http://schemas.microsoft.com/office/drawing/2014/main" id="{7F0A4E75-D008-4A3D-9E2B-EFA56AA2C7A3}"/>
              </a:ext>
            </a:extLst>
          </p:cNvPr>
          <p:cNvSpPr>
            <a:spLocks noGrp="1"/>
          </p:cNvSpPr>
          <p:nvPr>
            <p:ph type="title" hasCustomPrompt="1"/>
          </p:nvPr>
        </p:nvSpPr>
        <p:spPr>
          <a:xfrm>
            <a:off x="6942415" y="3098063"/>
            <a:ext cx="4004632" cy="990000"/>
          </a:xfrm>
        </p:spPr>
        <p:txBody>
          <a:bodyPr vert="horz" lIns="0" tIns="0" rIns="0" bIns="0" rtlCol="0" anchor="b">
            <a:noAutofit/>
          </a:bodyPr>
          <a:lstStyle>
            <a:lvl1pPr>
              <a:defRPr lang="en-GB" sz="4000" b="0" smtClean="0">
                <a:solidFill>
                  <a:schemeClr val="tx2"/>
                </a:solidFill>
              </a:defRPr>
            </a:lvl1pPr>
          </a:lstStyle>
          <a:p>
            <a:pPr marR="0" lvl="0" fontAlgn="auto">
              <a:lnSpc>
                <a:spcPct val="90000"/>
              </a:lnSpc>
              <a:spcBef>
                <a:spcPts val="1000"/>
              </a:spcBef>
              <a:spcAft>
                <a:spcPts val="0"/>
              </a:spcAft>
              <a:buClrTx/>
              <a:buSzTx/>
              <a:tabLst/>
            </a:pPr>
            <a:r>
              <a:rPr lang="en-US" dirty="0"/>
              <a:t>Title of the deck</a:t>
            </a:r>
            <a:endParaRPr lang="en-GB" dirty="0"/>
          </a:p>
        </p:txBody>
      </p:sp>
      <p:sp>
        <p:nvSpPr>
          <p:cNvPr id="9" name="Text Placeholder 10">
            <a:extLst>
              <a:ext uri="{FF2B5EF4-FFF2-40B4-BE49-F238E27FC236}">
                <a16:creationId xmlns:a16="http://schemas.microsoft.com/office/drawing/2014/main" id="{E850966A-A907-44E5-AD4A-B2C25296B1D2}"/>
              </a:ext>
            </a:extLst>
          </p:cNvPr>
          <p:cNvSpPr>
            <a:spLocks noGrp="1"/>
          </p:cNvSpPr>
          <p:nvPr>
            <p:ph type="body" sz="quarter" idx="15" hasCustomPrompt="1"/>
          </p:nvPr>
        </p:nvSpPr>
        <p:spPr>
          <a:xfrm>
            <a:off x="6942415" y="4550622"/>
            <a:ext cx="4004632" cy="581046"/>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5" name="Freeform: Shape 38">
            <a:extLst>
              <a:ext uri="{FF2B5EF4-FFF2-40B4-BE49-F238E27FC236}">
                <a16:creationId xmlns:a16="http://schemas.microsoft.com/office/drawing/2014/main" id="{CF0C42AB-56AB-4CD9-BC29-E642601C21CA}"/>
              </a:ext>
            </a:extLst>
          </p:cNvPr>
          <p:cNvSpPr/>
          <p:nvPr userDrawn="1"/>
        </p:nvSpPr>
        <p:spPr>
          <a:xfrm>
            <a:off x="1173742" y="4841145"/>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1">
                  <a:alpha val="1000"/>
                </a:schemeClr>
              </a:gs>
              <a:gs pos="74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Freeform: Shape 38">
            <a:extLst>
              <a:ext uri="{FF2B5EF4-FFF2-40B4-BE49-F238E27FC236}">
                <a16:creationId xmlns:a16="http://schemas.microsoft.com/office/drawing/2014/main" id="{64FAF79B-779C-47A3-89F1-134187E543EF}"/>
              </a:ext>
            </a:extLst>
          </p:cNvPr>
          <p:cNvSpPr/>
          <p:nvPr userDrawn="1"/>
        </p:nvSpPr>
        <p:spPr>
          <a:xfrm rot="10800000">
            <a:off x="137450" y="-11150"/>
            <a:ext cx="5010130" cy="2030062"/>
          </a:xfrm>
          <a:custGeom>
            <a:avLst/>
            <a:gdLst>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38850"/>
              <a:gd name="connsiteY0" fmla="*/ 2428875 h 2438400"/>
              <a:gd name="connsiteX1" fmla="*/ 3505200 w 6038850"/>
              <a:gd name="connsiteY1" fmla="*/ 0 h 2438400"/>
              <a:gd name="connsiteX2" fmla="*/ 6038850 w 6038850"/>
              <a:gd name="connsiteY2" fmla="*/ 0 h 2438400"/>
              <a:gd name="connsiteX3" fmla="*/ 2571750 w 6038850"/>
              <a:gd name="connsiteY3" fmla="*/ 2438400 h 2438400"/>
              <a:gd name="connsiteX4" fmla="*/ 0 w 6038850"/>
              <a:gd name="connsiteY4" fmla="*/ 2428875 h 2438400"/>
              <a:gd name="connsiteX0" fmla="*/ 0 w 6008370"/>
              <a:gd name="connsiteY0" fmla="*/ 2428875 h 2438400"/>
              <a:gd name="connsiteX1" fmla="*/ 3474720 w 6008370"/>
              <a:gd name="connsiteY1" fmla="*/ 0 h 2438400"/>
              <a:gd name="connsiteX2" fmla="*/ 6008370 w 6008370"/>
              <a:gd name="connsiteY2" fmla="*/ 0 h 2438400"/>
              <a:gd name="connsiteX3" fmla="*/ 2541270 w 6008370"/>
              <a:gd name="connsiteY3" fmla="*/ 2438400 h 2438400"/>
              <a:gd name="connsiteX4" fmla="*/ 0 w 6008370"/>
              <a:gd name="connsiteY4" fmla="*/ 2428875 h 2438400"/>
              <a:gd name="connsiteX0" fmla="*/ 0 w 6017895"/>
              <a:gd name="connsiteY0" fmla="*/ 2438400 h 2438400"/>
              <a:gd name="connsiteX1" fmla="*/ 3484245 w 6017895"/>
              <a:gd name="connsiteY1" fmla="*/ 0 h 2438400"/>
              <a:gd name="connsiteX2" fmla="*/ 6017895 w 6017895"/>
              <a:gd name="connsiteY2" fmla="*/ 0 h 2438400"/>
              <a:gd name="connsiteX3" fmla="*/ 2550795 w 6017895"/>
              <a:gd name="connsiteY3" fmla="*/ 2438400 h 2438400"/>
              <a:gd name="connsiteX4" fmla="*/ 0 w 6017895"/>
              <a:gd name="connsiteY4" fmla="*/ 24384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7895" h="2438400">
                <a:moveTo>
                  <a:pt x="0" y="2438400"/>
                </a:moveTo>
                <a:lnTo>
                  <a:pt x="3484245" y="0"/>
                </a:lnTo>
                <a:lnTo>
                  <a:pt x="6017895" y="0"/>
                </a:lnTo>
                <a:lnTo>
                  <a:pt x="2550795" y="2438400"/>
                </a:lnTo>
                <a:lnTo>
                  <a:pt x="0" y="2438400"/>
                </a:lnTo>
                <a:close/>
              </a:path>
            </a:pathLst>
          </a:custGeom>
          <a:gradFill>
            <a:gsLst>
              <a:gs pos="3000">
                <a:schemeClr val="accent2">
                  <a:alpha val="0"/>
                </a:schemeClr>
              </a:gs>
              <a:gs pos="7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25722725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 Option 1 Light">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C8454E-BB72-479B-8325-AC89FEA19C78}"/>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
        <p:nvSpPr>
          <p:cNvPr id="7" name="Title 1">
            <a:extLst>
              <a:ext uri="{FF2B5EF4-FFF2-40B4-BE49-F238E27FC236}">
                <a16:creationId xmlns:a16="http://schemas.microsoft.com/office/drawing/2014/main" id="{5E1BFC2F-99FE-45E8-9D6F-546CAB22414A}"/>
              </a:ext>
            </a:extLst>
          </p:cNvPr>
          <p:cNvSpPr>
            <a:spLocks noGrp="1"/>
          </p:cNvSpPr>
          <p:nvPr>
            <p:ph type="title" hasCustomPrompt="1"/>
          </p:nvPr>
        </p:nvSpPr>
        <p:spPr>
          <a:xfrm>
            <a:off x="460744" y="2122014"/>
            <a:ext cx="4135319" cy="990000"/>
          </a:xfrm>
        </p:spPr>
        <p:txBody>
          <a:bodyPr lIns="0" anchor="t">
            <a:noAutofit/>
          </a:bodyPr>
          <a:lstStyle>
            <a:lvl1pPr>
              <a:defRPr lang="en-GB" sz="6000" dirty="0">
                <a:cs typeface="+mn-cs"/>
              </a:defRPr>
            </a:lvl1pPr>
          </a:lstStyle>
          <a:p>
            <a:pPr lvl="0">
              <a:lnSpc>
                <a:spcPct val="90000"/>
              </a:lnSpc>
              <a:spcBef>
                <a:spcPts val="1000"/>
              </a:spcBef>
              <a:buFontTx/>
            </a:pPr>
            <a:r>
              <a:rPr lang="en-US" dirty="0"/>
              <a:t>Thank you.</a:t>
            </a:r>
            <a:endParaRPr lang="en-GB"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sp>
        <p:nvSpPr>
          <p:cNvPr id="5" name="Footer Placeholder 3">
            <a:extLst>
              <a:ext uri="{FF2B5EF4-FFF2-40B4-BE49-F238E27FC236}">
                <a16:creationId xmlns:a16="http://schemas.microsoft.com/office/drawing/2014/main" id="{30402B9B-95A9-DD4E-9E17-67C7ED8D018C}"/>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cxnSp>
        <p:nvCxnSpPr>
          <p:cNvPr id="6" name="Straight Connector 5">
            <a:extLst>
              <a:ext uri="{FF2B5EF4-FFF2-40B4-BE49-F238E27FC236}">
                <a16:creationId xmlns:a16="http://schemas.microsoft.com/office/drawing/2014/main" id="{E7EECBC3-0434-4E5B-80EB-F18E5858D660}"/>
              </a:ext>
            </a:extLst>
          </p:cNvPr>
          <p:cNvCxnSpPr/>
          <p:nvPr userDrawn="1"/>
        </p:nvCxnSpPr>
        <p:spPr>
          <a:xfrm>
            <a:off x="457199" y="3214819"/>
            <a:ext cx="4932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8" name="Graphic 34">
            <a:extLst>
              <a:ext uri="{FF2B5EF4-FFF2-40B4-BE49-F238E27FC236}">
                <a16:creationId xmlns:a16="http://schemas.microsoft.com/office/drawing/2014/main" id="{5A1ED52C-F219-40BD-AD78-26E909BD311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6387" y="3565604"/>
            <a:ext cx="2810216" cy="1168340"/>
          </a:xfrm>
          <a:prstGeom prst="rect">
            <a:avLst/>
          </a:prstGeom>
        </p:spPr>
      </p:pic>
    </p:spTree>
    <p:extLst>
      <p:ext uri="{BB962C8B-B14F-4D97-AF65-F5344CB8AC3E}">
        <p14:creationId xmlns:p14="http://schemas.microsoft.com/office/powerpoint/2010/main" val="182664016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 Option 2 Light">
    <p:bg>
      <p:bgPr>
        <a:solidFill>
          <a:schemeClr val="bg1"/>
        </a:solidFill>
        <a:effectLst/>
      </p:bgPr>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91013A4B-2C3A-4DE4-AACD-0C2F7C1BFAF8}"/>
              </a:ext>
            </a:extLst>
          </p:cNvPr>
          <p:cNvSpPr>
            <a:spLocks noGrp="1"/>
          </p:cNvSpPr>
          <p:nvPr>
            <p:ph type="pic" sz="quarter" idx="17" hasCustomPrompt="1"/>
          </p:nvPr>
        </p:nvSpPr>
        <p:spPr>
          <a:xfrm>
            <a:off x="-15775" y="-19896"/>
            <a:ext cx="12219085" cy="6891750"/>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1875275 w 8131604"/>
              <a:gd name="connsiteY4" fmla="*/ 0 h 6877896"/>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6615 h 6884511"/>
              <a:gd name="connsiteX1" fmla="*/ 8537299 w 8537299"/>
              <a:gd name="connsiteY1" fmla="*/ 4349820 h 6884511"/>
              <a:gd name="connsiteX2" fmla="*/ 8534755 w 8537299"/>
              <a:gd name="connsiteY2" fmla="*/ 6884511 h 6884511"/>
              <a:gd name="connsiteX3" fmla="*/ 405695 w 8537299"/>
              <a:gd name="connsiteY3" fmla="*/ 6884511 h 6884511"/>
              <a:gd name="connsiteX4" fmla="*/ 1332935 w 8537299"/>
              <a:gd name="connsiteY4" fmla="*/ 3448584 h 6884511"/>
              <a:gd name="connsiteX5" fmla="*/ 2280970 w 8537299"/>
              <a:gd name="connsiteY5" fmla="*/ 6615 h 6884511"/>
              <a:gd name="connsiteX0" fmla="*/ 2280970 w 8537299"/>
              <a:gd name="connsiteY0" fmla="*/ 0 h 6877896"/>
              <a:gd name="connsiteX1" fmla="*/ 8537299 w 8537299"/>
              <a:gd name="connsiteY1" fmla="*/ 4343205 h 6877896"/>
              <a:gd name="connsiteX2" fmla="*/ 8534755 w 8537299"/>
              <a:gd name="connsiteY2" fmla="*/ 6877896 h 6877896"/>
              <a:gd name="connsiteX3" fmla="*/ 405695 w 8537299"/>
              <a:gd name="connsiteY3" fmla="*/ 6877896 h 6877896"/>
              <a:gd name="connsiteX4" fmla="*/ 1332935 w 8537299"/>
              <a:gd name="connsiteY4" fmla="*/ 3441969 h 6877896"/>
              <a:gd name="connsiteX5" fmla="*/ 2280970 w 8537299"/>
              <a:gd name="connsiteY5" fmla="*/ 0 h 6877896"/>
              <a:gd name="connsiteX0" fmla="*/ 1875275 w 8131604"/>
              <a:gd name="connsiteY0" fmla="*/ 0 h 6877896"/>
              <a:gd name="connsiteX1" fmla="*/ 8131604 w 8131604"/>
              <a:gd name="connsiteY1" fmla="*/ 4343205 h 6877896"/>
              <a:gd name="connsiteX2" fmla="*/ 8129060 w 8131604"/>
              <a:gd name="connsiteY2" fmla="*/ 6877896 h 6877896"/>
              <a:gd name="connsiteX3" fmla="*/ 0 w 8131604"/>
              <a:gd name="connsiteY3" fmla="*/ 6877896 h 6877896"/>
              <a:gd name="connsiteX4" fmla="*/ 927240 w 8131604"/>
              <a:gd name="connsiteY4" fmla="*/ 3441969 h 6877896"/>
              <a:gd name="connsiteX5" fmla="*/ 1875275 w 8131604"/>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0 w 10044545"/>
              <a:gd name="connsiteY4" fmla="*/ 19896 h 6877896"/>
              <a:gd name="connsiteX5" fmla="*/ 3788216 w 10044545"/>
              <a:gd name="connsiteY5" fmla="*/ 0 h 6877896"/>
              <a:gd name="connsiteX0" fmla="*/ 3788216 w 10044545"/>
              <a:gd name="connsiteY0" fmla="*/ 0 h 6877896"/>
              <a:gd name="connsiteX1" fmla="*/ 10044545 w 10044545"/>
              <a:gd name="connsiteY1" fmla="*/ 4343205 h 6877896"/>
              <a:gd name="connsiteX2" fmla="*/ 10042001 w 10044545"/>
              <a:gd name="connsiteY2" fmla="*/ 6877896 h 6877896"/>
              <a:gd name="connsiteX3" fmla="*/ 1912941 w 10044545"/>
              <a:gd name="connsiteY3" fmla="*/ 6877896 h 6877896"/>
              <a:gd name="connsiteX4" fmla="*/ 526473 w 10044545"/>
              <a:gd name="connsiteY4" fmla="*/ 1945678 h 6877896"/>
              <a:gd name="connsiteX5" fmla="*/ 0 w 10044545"/>
              <a:gd name="connsiteY5" fmla="*/ 19896 h 6877896"/>
              <a:gd name="connsiteX6" fmla="*/ 3788216 w 10044545"/>
              <a:gd name="connsiteY6" fmla="*/ 0 h 6877896"/>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98284 h 6976180"/>
              <a:gd name="connsiteX1" fmla="*/ 12205854 w 12205854"/>
              <a:gd name="connsiteY1" fmla="*/ 4441489 h 6976180"/>
              <a:gd name="connsiteX2" fmla="*/ 12203310 w 12205854"/>
              <a:gd name="connsiteY2" fmla="*/ 6976180 h 6976180"/>
              <a:gd name="connsiteX3" fmla="*/ 4074250 w 12205854"/>
              <a:gd name="connsiteY3" fmla="*/ 6976180 h 6976180"/>
              <a:gd name="connsiteX4" fmla="*/ 2687782 w 12205854"/>
              <a:gd name="connsiteY4" fmla="*/ 2043962 h 6976180"/>
              <a:gd name="connsiteX5" fmla="*/ 0 w 12205854"/>
              <a:gd name="connsiteY5" fmla="*/ 1642180 h 6976180"/>
              <a:gd name="connsiteX6" fmla="*/ 2161309 w 12205854"/>
              <a:gd name="connsiteY6" fmla="*/ 118180 h 6976180"/>
              <a:gd name="connsiteX7" fmla="*/ 5949525 w 12205854"/>
              <a:gd name="connsiteY7" fmla="*/ 98284 h 6976180"/>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2687782 w 12205854"/>
              <a:gd name="connsiteY4" fmla="*/ 1945678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55418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05854"/>
              <a:gd name="connsiteY0" fmla="*/ 0 h 6877896"/>
              <a:gd name="connsiteX1" fmla="*/ 12205854 w 12205854"/>
              <a:gd name="connsiteY1" fmla="*/ 4343205 h 6877896"/>
              <a:gd name="connsiteX2" fmla="*/ 12203310 w 12205854"/>
              <a:gd name="connsiteY2" fmla="*/ 6877896 h 6877896"/>
              <a:gd name="connsiteX3" fmla="*/ 4074250 w 12205854"/>
              <a:gd name="connsiteY3" fmla="*/ 6877896 h 6877896"/>
              <a:gd name="connsiteX4" fmla="*/ 13855 w 12205854"/>
              <a:gd name="connsiteY4" fmla="*/ 6850187 h 6877896"/>
              <a:gd name="connsiteX5" fmla="*/ 0 w 12205854"/>
              <a:gd name="connsiteY5" fmla="*/ 1543896 h 6877896"/>
              <a:gd name="connsiteX6" fmla="*/ 2161309 w 12205854"/>
              <a:gd name="connsiteY6" fmla="*/ 19896 h 6877896"/>
              <a:gd name="connsiteX7" fmla="*/ 5949525 w 12205854"/>
              <a:gd name="connsiteY7" fmla="*/ 0 h 6877896"/>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43896 h 6891750"/>
              <a:gd name="connsiteX6" fmla="*/ 2161309 w 12217165"/>
              <a:gd name="connsiteY6" fmla="*/ 19896 h 6891750"/>
              <a:gd name="connsiteX7" fmla="*/ 5949525 w 12217165"/>
              <a:gd name="connsiteY7" fmla="*/ 0 h 6891750"/>
              <a:gd name="connsiteX0" fmla="*/ 5949525 w 12217165"/>
              <a:gd name="connsiteY0" fmla="*/ 96234 h 6987984"/>
              <a:gd name="connsiteX1" fmla="*/ 12205854 w 12217165"/>
              <a:gd name="connsiteY1" fmla="*/ 4439439 h 6987984"/>
              <a:gd name="connsiteX2" fmla="*/ 12217165 w 12217165"/>
              <a:gd name="connsiteY2" fmla="*/ 6987984 h 6987984"/>
              <a:gd name="connsiteX3" fmla="*/ 4074250 w 12217165"/>
              <a:gd name="connsiteY3" fmla="*/ 6974130 h 6987984"/>
              <a:gd name="connsiteX4" fmla="*/ 13855 w 12217165"/>
              <a:gd name="connsiteY4" fmla="*/ 6946421 h 6987984"/>
              <a:gd name="connsiteX5" fmla="*/ 0 w 12217165"/>
              <a:gd name="connsiteY5" fmla="*/ 1612421 h 6987984"/>
              <a:gd name="connsiteX6" fmla="*/ 2161309 w 12217165"/>
              <a:gd name="connsiteY6" fmla="*/ 116130 h 6987984"/>
              <a:gd name="connsiteX7" fmla="*/ 5949525 w 12217165"/>
              <a:gd name="connsiteY7" fmla="*/ 96234 h 6987984"/>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49525 w 12217165"/>
              <a:gd name="connsiteY0" fmla="*/ 0 h 6891750"/>
              <a:gd name="connsiteX1" fmla="*/ 12205854 w 12217165"/>
              <a:gd name="connsiteY1" fmla="*/ 4343205 h 6891750"/>
              <a:gd name="connsiteX2" fmla="*/ 12217165 w 12217165"/>
              <a:gd name="connsiteY2" fmla="*/ 6891750 h 6891750"/>
              <a:gd name="connsiteX3" fmla="*/ 4074250 w 12217165"/>
              <a:gd name="connsiteY3" fmla="*/ 6877896 h 6891750"/>
              <a:gd name="connsiteX4" fmla="*/ 13855 w 12217165"/>
              <a:gd name="connsiteY4" fmla="*/ 6850187 h 6891750"/>
              <a:gd name="connsiteX5" fmla="*/ 0 w 12217165"/>
              <a:gd name="connsiteY5" fmla="*/ 1516187 h 6891750"/>
              <a:gd name="connsiteX6" fmla="*/ 2161309 w 12217165"/>
              <a:gd name="connsiteY6" fmla="*/ 19896 h 6891750"/>
              <a:gd name="connsiteX7" fmla="*/ 5949525 w 12217165"/>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57979 w 12225619"/>
              <a:gd name="connsiteY0" fmla="*/ 0 h 6891750"/>
              <a:gd name="connsiteX1" fmla="*/ 12214308 w 12225619"/>
              <a:gd name="connsiteY1" fmla="*/ 4343205 h 6891750"/>
              <a:gd name="connsiteX2" fmla="*/ 12225619 w 12225619"/>
              <a:gd name="connsiteY2" fmla="*/ 6891750 h 6891750"/>
              <a:gd name="connsiteX3" fmla="*/ 4082704 w 12225619"/>
              <a:gd name="connsiteY3" fmla="*/ 6877896 h 6891750"/>
              <a:gd name="connsiteX4" fmla="*/ 22309 w 12225619"/>
              <a:gd name="connsiteY4" fmla="*/ 6850187 h 6891750"/>
              <a:gd name="connsiteX5" fmla="*/ 8454 w 12225619"/>
              <a:gd name="connsiteY5" fmla="*/ 1516187 h 6891750"/>
              <a:gd name="connsiteX6" fmla="*/ 0 w 12225619"/>
              <a:gd name="connsiteY6" fmla="*/ 19896 h 6891750"/>
              <a:gd name="connsiteX7" fmla="*/ 5957979 w 12225619"/>
              <a:gd name="connsiteY7" fmla="*/ 0 h 6891750"/>
              <a:gd name="connsiteX0" fmla="*/ 5949724 w 12217364"/>
              <a:gd name="connsiteY0" fmla="*/ 0 h 6891750"/>
              <a:gd name="connsiteX1" fmla="*/ 12206053 w 12217364"/>
              <a:gd name="connsiteY1" fmla="*/ 4343205 h 6891750"/>
              <a:gd name="connsiteX2" fmla="*/ 12217364 w 12217364"/>
              <a:gd name="connsiteY2" fmla="*/ 6891750 h 6891750"/>
              <a:gd name="connsiteX3" fmla="*/ 4074449 w 12217364"/>
              <a:gd name="connsiteY3" fmla="*/ 6877896 h 6891750"/>
              <a:gd name="connsiteX4" fmla="*/ 14054 w 12217364"/>
              <a:gd name="connsiteY4" fmla="*/ 6850187 h 6891750"/>
              <a:gd name="connsiteX5" fmla="*/ 199 w 12217364"/>
              <a:gd name="connsiteY5" fmla="*/ 1516187 h 6891750"/>
              <a:gd name="connsiteX6" fmla="*/ 22741 w 12217364"/>
              <a:gd name="connsiteY6" fmla="*/ 19896 h 6891750"/>
              <a:gd name="connsiteX7" fmla="*/ 5949724 w 12217364"/>
              <a:gd name="connsiteY7" fmla="*/ 0 h 6891750"/>
              <a:gd name="connsiteX0" fmla="*/ 5949936 w 12217576"/>
              <a:gd name="connsiteY0" fmla="*/ 0 h 6891750"/>
              <a:gd name="connsiteX1" fmla="*/ 12206265 w 12217576"/>
              <a:gd name="connsiteY1" fmla="*/ 4343205 h 6891750"/>
              <a:gd name="connsiteX2" fmla="*/ 12217576 w 12217576"/>
              <a:gd name="connsiteY2" fmla="*/ 6891750 h 6891750"/>
              <a:gd name="connsiteX3" fmla="*/ 4074661 w 12217576"/>
              <a:gd name="connsiteY3" fmla="*/ 6877896 h 6891750"/>
              <a:gd name="connsiteX4" fmla="*/ 14266 w 12217576"/>
              <a:gd name="connsiteY4" fmla="*/ 6850187 h 6891750"/>
              <a:gd name="connsiteX5" fmla="*/ 411 w 12217576"/>
              <a:gd name="connsiteY5" fmla="*/ 1516187 h 6891750"/>
              <a:gd name="connsiteX6" fmla="*/ 7455 w 12217576"/>
              <a:gd name="connsiteY6" fmla="*/ 19896 h 6891750"/>
              <a:gd name="connsiteX7" fmla="*/ 5949936 w 12217576"/>
              <a:gd name="connsiteY7" fmla="*/ 0 h 6891750"/>
              <a:gd name="connsiteX0" fmla="*/ 5951445 w 12219085"/>
              <a:gd name="connsiteY0" fmla="*/ 0 h 6891750"/>
              <a:gd name="connsiteX1" fmla="*/ 12207774 w 12219085"/>
              <a:gd name="connsiteY1" fmla="*/ 4343205 h 6891750"/>
              <a:gd name="connsiteX2" fmla="*/ 12219085 w 12219085"/>
              <a:gd name="connsiteY2" fmla="*/ 6891750 h 6891750"/>
              <a:gd name="connsiteX3" fmla="*/ 4076170 w 12219085"/>
              <a:gd name="connsiteY3" fmla="*/ 6877896 h 6891750"/>
              <a:gd name="connsiteX4" fmla="*/ 1261 w 12219085"/>
              <a:gd name="connsiteY4" fmla="*/ 6879216 h 6891750"/>
              <a:gd name="connsiteX5" fmla="*/ 1920 w 12219085"/>
              <a:gd name="connsiteY5" fmla="*/ 1516187 h 6891750"/>
              <a:gd name="connsiteX6" fmla="*/ 8964 w 12219085"/>
              <a:gd name="connsiteY6" fmla="*/ 19896 h 6891750"/>
              <a:gd name="connsiteX7" fmla="*/ 5951445 w 12219085"/>
              <a:gd name="connsiteY7" fmla="*/ 0 h 68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19085" h="6891750">
                <a:moveTo>
                  <a:pt x="5951445" y="0"/>
                </a:moveTo>
                <a:lnTo>
                  <a:pt x="12207774" y="4343205"/>
                </a:lnTo>
                <a:cubicBezTo>
                  <a:pt x="12211544" y="5192720"/>
                  <a:pt x="12215315" y="6042235"/>
                  <a:pt x="12219085" y="6891750"/>
                </a:cubicBezTo>
                <a:lnTo>
                  <a:pt x="4076170" y="6877896"/>
                </a:lnTo>
                <a:lnTo>
                  <a:pt x="1261" y="6879216"/>
                </a:lnTo>
                <a:cubicBezTo>
                  <a:pt x="-3357" y="5110452"/>
                  <a:pt x="6538" y="3284951"/>
                  <a:pt x="1920" y="1516187"/>
                </a:cubicBezTo>
                <a:cubicBezTo>
                  <a:pt x="-898" y="1001925"/>
                  <a:pt x="11782" y="518660"/>
                  <a:pt x="8964" y="19896"/>
                </a:cubicBezTo>
                <a:lnTo>
                  <a:pt x="5951445" y="0"/>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32620" y="387487"/>
            <a:ext cx="2189142" cy="910132"/>
          </a:xfrm>
          <a:prstGeom prst="rect">
            <a:avLst/>
          </a:prstGeom>
        </p:spPr>
      </p:pic>
      <p:sp>
        <p:nvSpPr>
          <p:cNvPr id="6" name="Footer Placeholder 3">
            <a:extLst>
              <a:ext uri="{FF2B5EF4-FFF2-40B4-BE49-F238E27FC236}">
                <a16:creationId xmlns:a16="http://schemas.microsoft.com/office/drawing/2014/main" id="{AA963170-CB3C-A344-98BB-A684C53F26A7}"/>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0" name="Title 1">
            <a:extLst>
              <a:ext uri="{FF2B5EF4-FFF2-40B4-BE49-F238E27FC236}">
                <a16:creationId xmlns:a16="http://schemas.microsoft.com/office/drawing/2014/main" id="{DFDCD53E-B970-474F-A296-7F5D3D367047}"/>
              </a:ext>
            </a:extLst>
          </p:cNvPr>
          <p:cNvSpPr>
            <a:spLocks noGrp="1"/>
          </p:cNvSpPr>
          <p:nvPr>
            <p:ph type="title" hasCustomPrompt="1"/>
          </p:nvPr>
        </p:nvSpPr>
        <p:spPr>
          <a:xfrm>
            <a:off x="460744" y="2596681"/>
            <a:ext cx="4135319" cy="990000"/>
          </a:xfrm>
        </p:spPr>
        <p:txBody>
          <a:bodyPr lIns="0" anchor="t">
            <a:noAutofit/>
          </a:bodyPr>
          <a:lstStyle>
            <a:lvl1pPr>
              <a:defRPr lang="en-GB" sz="6000" dirty="0">
                <a:solidFill>
                  <a:schemeClr val="bg1"/>
                </a:solidFill>
                <a:cs typeface="+mn-cs"/>
              </a:defRPr>
            </a:lvl1pPr>
          </a:lstStyle>
          <a:p>
            <a:pPr lvl="0">
              <a:lnSpc>
                <a:spcPct val="90000"/>
              </a:lnSpc>
              <a:spcBef>
                <a:spcPts val="1000"/>
              </a:spcBef>
              <a:buFontTx/>
            </a:pPr>
            <a:r>
              <a:rPr lang="en-US" dirty="0"/>
              <a:t>Thank you.</a:t>
            </a:r>
            <a:endParaRPr lang="en-GB" dirty="0"/>
          </a:p>
        </p:txBody>
      </p:sp>
    </p:spTree>
    <p:extLst>
      <p:ext uri="{BB962C8B-B14F-4D97-AF65-F5344CB8AC3E}">
        <p14:creationId xmlns:p14="http://schemas.microsoft.com/office/powerpoint/2010/main" val="109755552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 Option 3 White">
    <p:bg>
      <p:bgPr>
        <a:solidFill>
          <a:schemeClr val="bg1"/>
        </a:solidFill>
        <a:effectLst/>
      </p:bgPr>
    </p:bg>
    <p:spTree>
      <p:nvGrpSpPr>
        <p:cNvPr id="1" name=""/>
        <p:cNvGrpSpPr/>
        <p:nvPr/>
      </p:nvGrpSpPr>
      <p:grpSpPr>
        <a:xfrm>
          <a:off x="0" y="0"/>
          <a:ext cx="0" cy="0"/>
          <a:chOff x="0" y="0"/>
          <a:chExt cx="0" cy="0"/>
        </a:xfrm>
      </p:grpSpPr>
      <p:sp>
        <p:nvSpPr>
          <p:cNvPr id="9" name="Right Triangle 8">
            <a:extLst>
              <a:ext uri="{FF2B5EF4-FFF2-40B4-BE49-F238E27FC236}">
                <a16:creationId xmlns:a16="http://schemas.microsoft.com/office/drawing/2014/main" id="{5F0F5E84-3D08-463C-A2F4-3F622F79D6AE}"/>
              </a:ext>
            </a:extLst>
          </p:cNvPr>
          <p:cNvSpPr/>
          <p:nvPr userDrawn="1"/>
        </p:nvSpPr>
        <p:spPr>
          <a:xfrm rot="16200000">
            <a:off x="9386887" y="4069666"/>
            <a:ext cx="2805111" cy="280511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7">
            <a:extLst>
              <a:ext uri="{FF2B5EF4-FFF2-40B4-BE49-F238E27FC236}">
                <a16:creationId xmlns:a16="http://schemas.microsoft.com/office/drawing/2014/main" id="{C6635DDF-EA99-074A-B8AA-6DB89B54130D}"/>
              </a:ext>
            </a:extLst>
          </p:cNvPr>
          <p:cNvSpPr>
            <a:spLocks noGrp="1"/>
          </p:cNvSpPr>
          <p:nvPr>
            <p:ph type="pic" sz="quarter" idx="17"/>
          </p:nvPr>
        </p:nvSpPr>
        <p:spPr>
          <a:xfrm>
            <a:off x="4088272" y="1212712"/>
            <a:ext cx="8103729" cy="5645288"/>
          </a:xfrm>
          <a:custGeom>
            <a:avLst/>
            <a:gdLst>
              <a:gd name="connsiteX0" fmla="*/ 8103729 w 8103729"/>
              <a:gd name="connsiteY0" fmla="*/ 0 h 5645288"/>
              <a:gd name="connsiteX1" fmla="*/ 8103729 w 8103729"/>
              <a:gd name="connsiteY1" fmla="*/ 4023746 h 5645288"/>
              <a:gd name="connsiteX2" fmla="*/ 5764894 w 8103729"/>
              <a:gd name="connsiteY2" fmla="*/ 5645288 h 5645288"/>
              <a:gd name="connsiteX3" fmla="*/ 0 w 8103729"/>
              <a:gd name="connsiteY3" fmla="*/ 5645288 h 5645288"/>
            </a:gdLst>
            <a:ahLst/>
            <a:cxnLst>
              <a:cxn ang="0">
                <a:pos x="connsiteX0" y="connsiteY0"/>
              </a:cxn>
              <a:cxn ang="0">
                <a:pos x="connsiteX1" y="connsiteY1"/>
              </a:cxn>
              <a:cxn ang="0">
                <a:pos x="connsiteX2" y="connsiteY2"/>
              </a:cxn>
              <a:cxn ang="0">
                <a:pos x="connsiteX3" y="connsiteY3"/>
              </a:cxn>
            </a:cxnLst>
            <a:rect l="l" t="t" r="r" b="b"/>
            <a:pathLst>
              <a:path w="8103729" h="5645288">
                <a:moveTo>
                  <a:pt x="8103729" y="0"/>
                </a:moveTo>
                <a:lnTo>
                  <a:pt x="8103729" y="4023746"/>
                </a:lnTo>
                <a:lnTo>
                  <a:pt x="5764894" y="5645288"/>
                </a:lnTo>
                <a:lnTo>
                  <a:pt x="0" y="5645288"/>
                </a:lnTo>
                <a:close/>
              </a:path>
            </a:pathLst>
          </a:custGeom>
          <a:solidFill>
            <a:schemeClr val="accent6"/>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sp>
        <p:nvSpPr>
          <p:cNvPr id="5" name="Footer Placeholder 3">
            <a:extLst>
              <a:ext uri="{FF2B5EF4-FFF2-40B4-BE49-F238E27FC236}">
                <a16:creationId xmlns:a16="http://schemas.microsoft.com/office/drawing/2014/main" id="{674EFF21-15C7-764F-A1C2-C75DD4E9CC97}"/>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0" name="Title 1">
            <a:extLst>
              <a:ext uri="{FF2B5EF4-FFF2-40B4-BE49-F238E27FC236}">
                <a16:creationId xmlns:a16="http://schemas.microsoft.com/office/drawing/2014/main" id="{A8871D4E-8962-41E4-B7BC-D6881361FAD4}"/>
              </a:ext>
            </a:extLst>
          </p:cNvPr>
          <p:cNvSpPr>
            <a:spLocks noGrp="1"/>
          </p:cNvSpPr>
          <p:nvPr>
            <p:ph type="title" hasCustomPrompt="1"/>
          </p:nvPr>
        </p:nvSpPr>
        <p:spPr>
          <a:xfrm>
            <a:off x="460744" y="2122014"/>
            <a:ext cx="4135319" cy="990000"/>
          </a:xfrm>
        </p:spPr>
        <p:txBody>
          <a:bodyPr lIns="0" anchor="t">
            <a:noAutofit/>
          </a:bodyPr>
          <a:lstStyle>
            <a:lvl1pPr>
              <a:defRPr lang="en-GB" sz="6000" dirty="0">
                <a:solidFill>
                  <a:schemeClr val="tx2"/>
                </a:solidFill>
                <a:cs typeface="+mn-cs"/>
              </a:defRPr>
            </a:lvl1pPr>
          </a:lstStyle>
          <a:p>
            <a:pPr lvl="0">
              <a:lnSpc>
                <a:spcPct val="90000"/>
              </a:lnSpc>
              <a:spcBef>
                <a:spcPts val="1000"/>
              </a:spcBef>
              <a:buFontTx/>
            </a:pPr>
            <a:r>
              <a:rPr lang="en-US" dirty="0"/>
              <a:t>Thank you.</a:t>
            </a:r>
            <a:endParaRPr lang="en-GB" dirty="0"/>
          </a:p>
        </p:txBody>
      </p:sp>
      <p:cxnSp>
        <p:nvCxnSpPr>
          <p:cNvPr id="13" name="Straight Connector 12">
            <a:extLst>
              <a:ext uri="{FF2B5EF4-FFF2-40B4-BE49-F238E27FC236}">
                <a16:creationId xmlns:a16="http://schemas.microsoft.com/office/drawing/2014/main" id="{F3AB3759-2ABA-419B-8B4A-9D837809ED6D}"/>
              </a:ext>
            </a:extLst>
          </p:cNvPr>
          <p:cNvCxnSpPr/>
          <p:nvPr userDrawn="1"/>
        </p:nvCxnSpPr>
        <p:spPr>
          <a:xfrm>
            <a:off x="457199" y="3214819"/>
            <a:ext cx="4932000" cy="0"/>
          </a:xfrm>
          <a:prstGeom prst="line">
            <a:avLst/>
          </a:prstGeom>
          <a:ln w="22225" cap="rnd">
            <a:gradFill flip="none" rotWithShape="1">
              <a:gsLst>
                <a:gs pos="0">
                  <a:schemeClr val="accent2"/>
                </a:gs>
                <a:gs pos="100000">
                  <a:schemeClr val="accent2">
                    <a:alpha val="0"/>
                  </a:schemeClr>
                </a:gs>
                <a:gs pos="88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4" name="Graphic 34">
            <a:extLst>
              <a:ext uri="{FF2B5EF4-FFF2-40B4-BE49-F238E27FC236}">
                <a16:creationId xmlns:a16="http://schemas.microsoft.com/office/drawing/2014/main" id="{60D24665-7834-4CC0-8EA5-C724896E98D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387" y="3565604"/>
            <a:ext cx="2810216" cy="1168340"/>
          </a:xfrm>
          <a:prstGeom prst="rect">
            <a:avLst/>
          </a:prstGeom>
        </p:spPr>
      </p:pic>
    </p:spTree>
    <p:extLst>
      <p:ext uri="{BB962C8B-B14F-4D97-AF65-F5344CB8AC3E}">
        <p14:creationId xmlns:p14="http://schemas.microsoft.com/office/powerpoint/2010/main" val="358499516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ank You - Option 4 White">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8197EE4D-06D9-6D48-B606-48101EB68744}"/>
              </a:ext>
            </a:extLst>
          </p:cNvPr>
          <p:cNvSpPr>
            <a:spLocks noGrp="1"/>
          </p:cNvSpPr>
          <p:nvPr>
            <p:ph type="pic" sz="quarter" idx="17"/>
          </p:nvPr>
        </p:nvSpPr>
        <p:spPr>
          <a:xfrm>
            <a:off x="-14990" y="0"/>
            <a:ext cx="5724910" cy="6858000"/>
          </a:xfrm>
          <a:custGeom>
            <a:avLst/>
            <a:gdLst>
              <a:gd name="connsiteX0" fmla="*/ 3899193 w 5724910"/>
              <a:gd name="connsiteY0" fmla="*/ 0 h 6858000"/>
              <a:gd name="connsiteX1" fmla="*/ 5724910 w 5724910"/>
              <a:gd name="connsiteY1" fmla="*/ 0 h 6858000"/>
              <a:gd name="connsiteX2" fmla="*/ 5724910 w 5724910"/>
              <a:gd name="connsiteY2" fmla="*/ 4117441 h 6858000"/>
              <a:gd name="connsiteX3" fmla="*/ 1757271 w 5724910"/>
              <a:gd name="connsiteY3" fmla="*/ 6858000 h 6858000"/>
              <a:gd name="connsiteX4" fmla="*/ 0 w 5724910"/>
              <a:gd name="connsiteY4" fmla="*/ 6854510 h 6858000"/>
              <a:gd name="connsiteX5" fmla="*/ 10128 w 5724910"/>
              <a:gd name="connsiteY5" fmla="*/ 270433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4910" h="6858000">
                <a:moveTo>
                  <a:pt x="3899193" y="0"/>
                </a:moveTo>
                <a:lnTo>
                  <a:pt x="5724910" y="0"/>
                </a:lnTo>
                <a:lnTo>
                  <a:pt x="5724910" y="4117441"/>
                </a:lnTo>
                <a:lnTo>
                  <a:pt x="1757271" y="6858000"/>
                </a:lnTo>
                <a:lnTo>
                  <a:pt x="0" y="6854510"/>
                </a:lnTo>
                <a:lnTo>
                  <a:pt x="10128" y="2704339"/>
                </a:lnTo>
                <a:close/>
              </a:path>
            </a:pathLst>
          </a:custGeom>
          <a:solidFill>
            <a:schemeClr val="accent1"/>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sp>
        <p:nvSpPr>
          <p:cNvPr id="9" name="Footer Placeholder 3">
            <a:extLst>
              <a:ext uri="{FF2B5EF4-FFF2-40B4-BE49-F238E27FC236}">
                <a16:creationId xmlns:a16="http://schemas.microsoft.com/office/drawing/2014/main" id="{845B787A-9A74-2449-A25B-7B85FAE02A1B}"/>
              </a:ext>
            </a:extLst>
          </p:cNvPr>
          <p:cNvSpPr>
            <a:spLocks noGrp="1"/>
          </p:cNvSpPr>
          <p:nvPr>
            <p:ph type="ftr" sz="quarter" idx="3"/>
          </p:nvPr>
        </p:nvSpPr>
        <p:spPr>
          <a:xfrm>
            <a:off x="6867465" y="6416675"/>
            <a:ext cx="2390775" cy="23709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7" name="Title 1">
            <a:extLst>
              <a:ext uri="{FF2B5EF4-FFF2-40B4-BE49-F238E27FC236}">
                <a16:creationId xmlns:a16="http://schemas.microsoft.com/office/drawing/2014/main" id="{890C636B-5A5D-4399-980F-44E3735BC72E}"/>
              </a:ext>
            </a:extLst>
          </p:cNvPr>
          <p:cNvSpPr>
            <a:spLocks noGrp="1"/>
          </p:cNvSpPr>
          <p:nvPr>
            <p:ph type="title" hasCustomPrompt="1"/>
          </p:nvPr>
        </p:nvSpPr>
        <p:spPr>
          <a:xfrm>
            <a:off x="6942415" y="2040219"/>
            <a:ext cx="4004632" cy="970378"/>
          </a:xfrm>
        </p:spPr>
        <p:txBody>
          <a:bodyPr vert="horz" lIns="0" tIns="0" rIns="0" bIns="0" rtlCol="0" anchor="b">
            <a:noAutofit/>
          </a:bodyPr>
          <a:lstStyle>
            <a:lvl1pPr>
              <a:defRPr lang="en-GB" sz="6000" dirty="0" smtClean="0">
                <a:solidFill>
                  <a:schemeClr val="tx2"/>
                </a:solidFill>
              </a:defRPr>
            </a:lvl1pPr>
          </a:lstStyle>
          <a:p>
            <a:pPr marR="0" lvl="0" fontAlgn="auto">
              <a:lnSpc>
                <a:spcPct val="90000"/>
              </a:lnSpc>
              <a:spcBef>
                <a:spcPts val="1000"/>
              </a:spcBef>
              <a:spcAft>
                <a:spcPts val="0"/>
              </a:spcAft>
              <a:buClrTx/>
              <a:buSzTx/>
              <a:tabLst/>
            </a:pPr>
            <a:r>
              <a:rPr lang="en-US" dirty="0"/>
              <a:t>Thank you</a:t>
            </a:r>
            <a:endParaRPr lang="en-GB" dirty="0"/>
          </a:p>
        </p:txBody>
      </p:sp>
    </p:spTree>
    <p:extLst>
      <p:ext uri="{BB962C8B-B14F-4D97-AF65-F5344CB8AC3E}">
        <p14:creationId xmlns:p14="http://schemas.microsoft.com/office/powerpoint/2010/main" val="192753018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Content and Picture">
    <p:spTree>
      <p:nvGrpSpPr>
        <p:cNvPr id="1" name=""/>
        <p:cNvGrpSpPr/>
        <p:nvPr/>
      </p:nvGrpSpPr>
      <p:grpSpPr>
        <a:xfrm>
          <a:off x="0" y="0"/>
          <a:ext cx="0" cy="0"/>
          <a:chOff x="0" y="0"/>
          <a:chExt cx="0" cy="0"/>
        </a:xfrm>
      </p:grpSpPr>
      <p:sp>
        <p:nvSpPr>
          <p:cNvPr id="14"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baseline="0">
                <a:solidFill>
                  <a:srgbClr val="063161"/>
                </a:solidFill>
                <a:latin typeface="Georgia" panose="02040502050405020303" pitchFamily="18" charset="0"/>
              </a:defRPr>
            </a:lvl1pPr>
          </a:lstStyle>
          <a:p>
            <a:pPr lvl="0"/>
            <a:r>
              <a:rPr lang="en-IN"/>
              <a:t>Content slide title goes here</a:t>
            </a:r>
            <a:endParaRPr lang="en-US"/>
          </a:p>
        </p:txBody>
      </p:sp>
      <p:sp>
        <p:nvSpPr>
          <p:cNvPr id="15"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a:t>Lorem ipsum dolor sit </a:t>
            </a:r>
            <a:r>
              <a:rPr lang="en-US" err="1"/>
              <a:t>amet</a:t>
            </a:r>
            <a:r>
              <a:rPr lang="en-US"/>
              <a:t>, </a:t>
            </a:r>
            <a:r>
              <a:rPr lang="en-US" err="1"/>
              <a:t>consectetur</a:t>
            </a:r>
            <a:r>
              <a:rPr lang="en-US"/>
              <a:t> </a:t>
            </a:r>
            <a:r>
              <a:rPr lang="en-US" err="1"/>
              <a:t>adipisicing</a:t>
            </a:r>
            <a:r>
              <a:rPr lang="en-US"/>
              <a:t> </a:t>
            </a:r>
            <a:r>
              <a:rPr lang="en-US" err="1"/>
              <a:t>elit</a:t>
            </a:r>
            <a:endParaRPr lang="en-US"/>
          </a:p>
        </p:txBody>
      </p:sp>
      <p:sp>
        <p:nvSpPr>
          <p:cNvPr id="16" name="Slide Number Placeholder 5"/>
          <p:cNvSpPr txBox="1">
            <a:spLocks/>
          </p:cNvSpPr>
          <p:nvPr/>
        </p:nvSpPr>
        <p:spPr>
          <a:xfrm>
            <a:off x="464595"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sz="800" b="1" smtClean="0">
                <a:solidFill>
                  <a:schemeClr val="accent6"/>
                </a:solidFill>
                <a:latin typeface="+mn-lt"/>
              </a:rPr>
              <a:pPr/>
              <a:t>‹#›</a:t>
            </a:fld>
            <a:endParaRPr lang="en-US" sz="800" b="1">
              <a:solidFill>
                <a:schemeClr val="accent6"/>
              </a:solidFill>
              <a:latin typeface="+mn-lt"/>
            </a:endParaRPr>
          </a:p>
        </p:txBody>
      </p:sp>
      <p:sp>
        <p:nvSpPr>
          <p:cNvPr id="17" name="TextBox 16"/>
          <p:cNvSpPr txBox="1"/>
          <p:nvPr/>
        </p:nvSpPr>
        <p:spPr>
          <a:xfrm>
            <a:off x="805723" y="6546567"/>
            <a:ext cx="2361408" cy="215444"/>
          </a:xfrm>
          <a:prstGeom prst="rect">
            <a:avLst/>
          </a:prstGeom>
          <a:noFill/>
        </p:spPr>
        <p:txBody>
          <a:bodyPr wrap="square" lIns="0" tIns="0" rIns="0" bIns="0" rtlCol="0" anchor="ctr">
            <a:noAutofit/>
          </a:bodyPr>
          <a:lstStyle/>
          <a:p>
            <a:r>
              <a:rPr lang="en-US" sz="80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p:nvPicPr>
        <p:blipFill>
          <a:blip r:embed="rId2"/>
          <a:stretch>
            <a:fillRect/>
          </a:stretch>
        </p:blipFill>
        <p:spPr>
          <a:xfrm>
            <a:off x="10893035" y="6462133"/>
            <a:ext cx="839972" cy="309081"/>
          </a:xfrm>
          <a:prstGeom prst="rect">
            <a:avLst/>
          </a:prstGeom>
        </p:spPr>
      </p:pic>
    </p:spTree>
    <p:extLst>
      <p:ext uri="{BB962C8B-B14F-4D97-AF65-F5344CB8AC3E}">
        <p14:creationId xmlns:p14="http://schemas.microsoft.com/office/powerpoint/2010/main" val="5958596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Agenda Slide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72513"/>
          </a:xfrm>
          <a:prstGeom prst="rect">
            <a:avLst/>
          </a:prstGeom>
        </p:spPr>
      </p:pic>
      <p:sp>
        <p:nvSpPr>
          <p:cNvPr id="4" name="Text Placeholder 3"/>
          <p:cNvSpPr>
            <a:spLocks noGrp="1"/>
          </p:cNvSpPr>
          <p:nvPr>
            <p:ph type="body" sz="quarter" idx="10" hasCustomPrompt="1"/>
          </p:nvPr>
        </p:nvSpPr>
        <p:spPr>
          <a:xfrm>
            <a:off x="464594" y="468090"/>
            <a:ext cx="4114800" cy="533400"/>
          </a:xfrm>
          <a:prstGeom prst="rect">
            <a:avLst/>
          </a:prstGeom>
        </p:spPr>
        <p:txBody>
          <a:bodyPr/>
          <a:lstStyle>
            <a:lvl1pPr>
              <a:defRPr sz="3200">
                <a:solidFill>
                  <a:schemeClr val="bg1"/>
                </a:solidFill>
                <a:latin typeface="+mj-lt"/>
              </a:defRPr>
            </a:lvl1pPr>
          </a:lstStyle>
          <a:p>
            <a:r>
              <a:rPr lang="en-US" sz="3200" dirty="0">
                <a:solidFill>
                  <a:schemeClr val="bg1"/>
                </a:solidFill>
              </a:rPr>
              <a:t>Agenda</a:t>
            </a:r>
            <a:r>
              <a:rPr lang="ko-KR" altLang="en-US" sz="3200" dirty="0">
                <a:solidFill>
                  <a:schemeClr val="bg1"/>
                </a:solidFill>
              </a:rPr>
              <a:t> </a:t>
            </a:r>
            <a:r>
              <a:rPr lang="en-US" altLang="ko-KR" sz="3200" dirty="0">
                <a:solidFill>
                  <a:schemeClr val="bg1"/>
                </a:solidFill>
              </a:rPr>
              <a:t>opt 1</a:t>
            </a:r>
            <a:endParaRPr lang="en-US" sz="3200" dirty="0">
              <a:solidFill>
                <a:schemeClr val="bg1"/>
              </a:solidFill>
            </a:endParaRP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4375" y="6446360"/>
            <a:ext cx="868156" cy="340728"/>
          </a:xfrm>
          <a:prstGeom prst="rect">
            <a:avLst/>
          </a:prstGeom>
        </p:spPr>
      </p:pic>
      <p:sp>
        <p:nvSpPr>
          <p:cNvPr id="2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27" name="TextBox 2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Georgia" charset="0"/>
                <a:cs typeface="Georgia" charset="0"/>
              </a:rPr>
              <a:t>® 2017 Copyright Genpact.</a:t>
            </a:r>
            <a:r>
              <a:rPr lang="en-US" sz="800" baseline="0" dirty="0">
                <a:solidFill>
                  <a:schemeClr val="bg1"/>
                </a:solidFill>
                <a:latin typeface="+mn-lt"/>
                <a:ea typeface="Georgia" charset="0"/>
                <a:cs typeface="Georgia" charset="0"/>
              </a:rPr>
              <a:t> </a:t>
            </a:r>
            <a:r>
              <a:rPr lang="en-US" sz="800" dirty="0">
                <a:solidFill>
                  <a:schemeClr val="bg1"/>
                </a:solidFill>
                <a:latin typeface="+mn-lt"/>
                <a:ea typeface="Georgia" charset="0"/>
                <a:cs typeface="Georgia" charset="0"/>
              </a:rPr>
              <a:t>All Rights Reserved.</a:t>
            </a:r>
          </a:p>
        </p:txBody>
      </p:sp>
      <p:sp>
        <p:nvSpPr>
          <p:cNvPr id="8" name="Text Placeholder 5"/>
          <p:cNvSpPr>
            <a:spLocks noGrp="1"/>
          </p:cNvSpPr>
          <p:nvPr>
            <p:ph type="body" sz="quarter" idx="11" hasCustomPrompt="1"/>
          </p:nvPr>
        </p:nvSpPr>
        <p:spPr>
          <a:xfrm>
            <a:off x="464594" y="1828800"/>
            <a:ext cx="9067800" cy="43434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a:solidFill>
                  <a:schemeClr val="bg1"/>
                </a:solidFill>
              </a:defRPr>
            </a:lvl1pPr>
            <a:lvl2pPr>
              <a:defRPr sz="2200">
                <a:solidFill>
                  <a:schemeClr val="bg1"/>
                </a:solidFill>
              </a:defRPr>
            </a:lvl2pPr>
            <a:lvl3pPr>
              <a:defRPr sz="1600">
                <a:solidFill>
                  <a:schemeClr val="bg1"/>
                </a:solidFill>
              </a:defRPr>
            </a:lvl3pPr>
            <a:lvl4pPr>
              <a:defRPr sz="2000">
                <a:solidFill>
                  <a:schemeClr val="bg1"/>
                </a:solidFill>
              </a:defRPr>
            </a:lvl4pPr>
            <a:lvl5pPr>
              <a:defRPr sz="2000">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Georgia" charset="0"/>
                <a:ea typeface="Georgia" charset="0"/>
                <a:cs typeface="Georgia" charset="0"/>
              </a:rPr>
              <a:t>Lorem ipsum dolor sit </a:t>
            </a:r>
            <a:r>
              <a:rPr kumimoji="0" lang="en-US" sz="2000" b="0" i="0" u="none" strike="noStrike" kern="1200" cap="none" spc="0" normalizeH="0" baseline="0" noProof="0" dirty="0" err="1">
                <a:ln>
                  <a:noFill/>
                </a:ln>
                <a:solidFill>
                  <a:schemeClr val="bg1"/>
                </a:solidFill>
                <a:effectLst/>
                <a:uLnTx/>
                <a:uFillTx/>
                <a:latin typeface="Georgia" charset="0"/>
                <a:ea typeface="Georgia" charset="0"/>
                <a:cs typeface="Georgia" charset="0"/>
              </a:rPr>
              <a:t>amet</a:t>
            </a:r>
            <a:r>
              <a:rPr lang="en-US" dirty="0"/>
              <a:t>						1</a:t>
            </a:r>
          </a:p>
          <a:p>
            <a:pPr marL="914400" marR="0" lvl="2" indent="0" algn="l" defTabSz="914400" rtl="0" eaLnBrk="1" fontAlgn="auto" latinLnBrk="0" hangingPunct="1">
              <a:lnSpc>
                <a:spcPct val="100000"/>
              </a:lnSpc>
              <a:spcBef>
                <a:spcPts val="0"/>
              </a:spcBef>
              <a:spcAft>
                <a:spcPts val="0"/>
              </a:spcAft>
              <a:buClrTx/>
              <a:buSzTx/>
              <a:buFontTx/>
              <a:buNone/>
              <a:tabLst/>
              <a:defRPr/>
            </a:pPr>
            <a:endParaRPr lang="en-US" sz="2000" dirty="0">
              <a:solidFill>
                <a:schemeClr val="bg1"/>
              </a:solidFill>
              <a:latin typeface="Georgia" charset="0"/>
              <a:ea typeface="Georgia" charset="0"/>
              <a:cs typeface="Georgia" charset="0"/>
            </a:endParaRPr>
          </a:p>
        </p:txBody>
      </p:sp>
    </p:spTree>
    <p:extLst>
      <p:ext uri="{BB962C8B-B14F-4D97-AF65-F5344CB8AC3E}">
        <p14:creationId xmlns:p14="http://schemas.microsoft.com/office/powerpoint/2010/main" val="3502061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ointer slide">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anchor="t"/>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7 Copyright Genpact. All Rights Reserved.</a:t>
            </a:r>
          </a:p>
        </p:txBody>
      </p:sp>
      <p:pic>
        <p:nvPicPr>
          <p:cNvPr id="18" name="Picture 17"/>
          <p:cNvPicPr>
            <a:picLocks noChangeAspect="1"/>
          </p:cNvPicPr>
          <p:nvPr userDrawn="1"/>
        </p:nvPicPr>
        <p:blipFill>
          <a:blip r:embed="rId2"/>
          <a:stretch>
            <a:fillRect/>
          </a:stretch>
        </p:blipFill>
        <p:spPr>
          <a:xfrm>
            <a:off x="10893034" y="6462131"/>
            <a:ext cx="839972" cy="309081"/>
          </a:xfrm>
          <a:prstGeom prst="rect">
            <a:avLst/>
          </a:prstGeom>
        </p:spPr>
      </p:pic>
      <p:sp>
        <p:nvSpPr>
          <p:cNvPr id="33" name="Text Placeholder 22"/>
          <p:cNvSpPr>
            <a:spLocks noGrp="1"/>
          </p:cNvSpPr>
          <p:nvPr>
            <p:ph type="body" sz="quarter" idx="11" hasCustomPrompt="1"/>
          </p:nvPr>
        </p:nvSpPr>
        <p:spPr>
          <a:xfrm>
            <a:off x="460744" y="471715"/>
            <a:ext cx="7235456" cy="533400"/>
          </a:xfrm>
          <a:prstGeom prst="rect">
            <a:avLst/>
          </a:prstGeom>
        </p:spPr>
        <p:txBody>
          <a:bodyPr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60744" y="976087"/>
            <a:ext cx="9673856" cy="533400"/>
          </a:xfrm>
          <a:prstGeom prst="rect">
            <a:avLst/>
          </a:prstGeom>
        </p:spPr>
        <p:txBody>
          <a:bodyPr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Tree>
    <p:extLst>
      <p:ext uri="{BB962C8B-B14F-4D97-AF65-F5344CB8AC3E}">
        <p14:creationId xmlns:p14="http://schemas.microsoft.com/office/powerpoint/2010/main" val="1892759881"/>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Green Bar_Title and Content">
    <p:spTree>
      <p:nvGrpSpPr>
        <p:cNvPr id="1" name=""/>
        <p:cNvGrpSpPr/>
        <p:nvPr/>
      </p:nvGrpSpPr>
      <p:grpSpPr>
        <a:xfrm>
          <a:off x="0" y="0"/>
          <a:ext cx="0" cy="0"/>
          <a:chOff x="0" y="0"/>
          <a:chExt cx="0" cy="0"/>
        </a:xfrm>
      </p:grpSpPr>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14"/>
          <p:cNvSpPr>
            <a:spLocks noGrp="1" noChangeArrowheads="1"/>
          </p:cNvSpPr>
          <p:nvPr>
            <p:ph idx="1"/>
          </p:nvPr>
        </p:nvSpPr>
        <p:spPr bwMode="auto">
          <a:xfrm>
            <a:off x="287453" y="1262358"/>
            <a:ext cx="11623035"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19690171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CF08A66-4005-484F-8641-D01634DDDAA8}"/>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tx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57198" y="1181779"/>
            <a:ext cx="6443999" cy="381000"/>
          </a:xfrm>
          <a:prstGeom prst="rect">
            <a:avLst/>
          </a:prstGeom>
        </p:spPr>
        <p:txBody>
          <a:bodyPr lIns="0" anchor="t">
            <a:noAutofit/>
          </a:bodyPr>
          <a:lstStyle>
            <a:lvl1pPr marL="0" indent="0">
              <a:buNone/>
              <a:tabLst>
                <a:tab pos="2509838" algn="l"/>
              </a:tabLst>
              <a:defRPr sz="1600" b="0">
                <a:solidFill>
                  <a:schemeClr val="tx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cstate="email">
            <a:extLst>
              <a:ext uri="{28A0092B-C50C-407E-A947-70E740481C1C}">
                <a14:useLocalDpi xmlns:a14="http://schemas.microsoft.com/office/drawing/2010/main"/>
              </a:ext>
            </a:extLst>
          </a:blip>
          <a:stretch>
            <a:fillRect/>
          </a:stretch>
        </p:blipFill>
        <p:spPr>
          <a:xfrm>
            <a:off x="9532620" y="387487"/>
            <a:ext cx="1714500" cy="712800"/>
          </a:xfrm>
          <a:prstGeom prst="rect">
            <a:avLst/>
          </a:prstGeom>
        </p:spPr>
      </p:pic>
      <p:sp>
        <p:nvSpPr>
          <p:cNvPr id="13" name="Footer Placeholder 3">
            <a:extLst>
              <a:ext uri="{FF2B5EF4-FFF2-40B4-BE49-F238E27FC236}">
                <a16:creationId xmlns:a16="http://schemas.microsoft.com/office/drawing/2014/main" id="{7203F0FA-081B-F64D-BCBF-E4C34976390C}"/>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tx1"/>
                </a:solidFill>
                <a:latin typeface="+mn-lt"/>
              </a:defRPr>
            </a:lvl1pPr>
          </a:lstStyle>
          <a:p>
            <a:r>
              <a:rPr lang="en-US" sz="800" dirty="0">
                <a:solidFill>
                  <a:srgbClr val="44546A"/>
                </a:solidFill>
                <a:latin typeface="+mn-lt"/>
                <a:ea typeface="Calibri" charset="0"/>
                <a:cs typeface="Calibri" charset="0"/>
              </a:rPr>
              <a:t>® 2021 Copyright Genpact. All Rights Reserved.</a:t>
            </a:r>
            <a:endParaRPr lang="en-US" dirty="0">
              <a:ea typeface="Cambria" panose="02040503050406030204" pitchFamily="18" charset="0"/>
              <a:cs typeface="Calibri" charset="0"/>
            </a:endParaRPr>
          </a:p>
        </p:txBody>
      </p:sp>
      <p:sp>
        <p:nvSpPr>
          <p:cNvPr id="10" name="Title 1">
            <a:extLst>
              <a:ext uri="{FF2B5EF4-FFF2-40B4-BE49-F238E27FC236}">
                <a16:creationId xmlns:a16="http://schemas.microsoft.com/office/drawing/2014/main" id="{418DAEFC-EF40-4589-9F6B-5C1699274A7D}"/>
              </a:ext>
            </a:extLst>
          </p:cNvPr>
          <p:cNvSpPr>
            <a:spLocks noGrp="1"/>
          </p:cNvSpPr>
          <p:nvPr>
            <p:ph type="title" hasCustomPrompt="1"/>
          </p:nvPr>
        </p:nvSpPr>
        <p:spPr>
          <a:xfrm>
            <a:off x="457199" y="1880257"/>
            <a:ext cx="6443998" cy="990000"/>
          </a:xfrm>
          <a:prstGeom prst="rect">
            <a:avLst/>
          </a:prstGeom>
        </p:spPr>
        <p:txBody>
          <a:bodyPr vert="horz" lIns="0" tIns="0" rIns="0" bIns="0" rtlCol="0" anchor="b">
            <a:noAutofit/>
          </a:bodyPr>
          <a:lstStyle>
            <a:lvl1pPr>
              <a:defRPr lang="en-GB" sz="4000" b="0" smtClean="0">
                <a:solidFill>
                  <a:schemeClr val="tx1"/>
                </a:solidFill>
                <a:latin typeface="+mn-lt"/>
              </a:defRPr>
            </a:lvl1pPr>
          </a:lstStyle>
          <a:p>
            <a:pPr marR="0" lvl="0" fontAlgn="auto">
              <a:lnSpc>
                <a:spcPct val="90000"/>
              </a:lnSpc>
              <a:spcBef>
                <a:spcPts val="1000"/>
              </a:spcBef>
              <a:spcAft>
                <a:spcPts val="0"/>
              </a:spcAft>
              <a:buClrTx/>
              <a:buSzTx/>
              <a:tabLst/>
            </a:pPr>
            <a:r>
              <a:rPr lang="en-US" dirty="0"/>
              <a:t>Title of the deck</a:t>
            </a:r>
            <a:endParaRPr lang="en-GB" dirty="0"/>
          </a:p>
        </p:txBody>
      </p:sp>
      <p:cxnSp>
        <p:nvCxnSpPr>
          <p:cNvPr id="19" name="Straight Connector 18">
            <a:extLst>
              <a:ext uri="{FF2B5EF4-FFF2-40B4-BE49-F238E27FC236}">
                <a16:creationId xmlns:a16="http://schemas.microsoft.com/office/drawing/2014/main" id="{E4121FE1-0434-413C-AB29-F9E60C5D3A5E}"/>
              </a:ext>
            </a:extLst>
          </p:cNvPr>
          <p:cNvCxnSpPr>
            <a:cxnSpLocks/>
          </p:cNvCxnSpPr>
          <p:nvPr userDrawn="1"/>
        </p:nvCxnSpPr>
        <p:spPr>
          <a:xfrm>
            <a:off x="457199" y="3075710"/>
            <a:ext cx="6477001" cy="0"/>
          </a:xfrm>
          <a:prstGeom prst="line">
            <a:avLst/>
          </a:prstGeom>
          <a:ln w="22225" cap="rnd">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942912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 Option 1">
    <p:bg>
      <p:bgPr>
        <a:solidFill>
          <a:schemeClr val="tx1"/>
        </a:solidFill>
        <a:effectLst/>
      </p:bgPr>
    </p:bg>
    <p:spTree>
      <p:nvGrpSpPr>
        <p:cNvPr id="1" name=""/>
        <p:cNvGrpSpPr/>
        <p:nvPr/>
      </p:nvGrpSpPr>
      <p:grpSpPr>
        <a:xfrm>
          <a:off x="0" y="0"/>
          <a:ext cx="0" cy="0"/>
          <a:chOff x="0" y="0"/>
          <a:chExt cx="0" cy="0"/>
        </a:xfrm>
      </p:grpSpPr>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57199" y="3281163"/>
            <a:ext cx="6397626" cy="1218593"/>
          </a:xfrm>
          <a:prstGeom prst="rect">
            <a:avLst/>
          </a:prstGeom>
        </p:spPr>
        <p:txBody>
          <a:bodyPr lIns="0" anchor="t">
            <a:no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marL="0" marR="0" lvl="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a:pPr>
            <a:r>
              <a:rPr lang="da-DK" dirty="0"/>
              <a:t>Subtitle goes here</a:t>
            </a:r>
            <a:endParaRPr lang="en-US" dirty="0"/>
          </a:p>
        </p:txBody>
      </p:sp>
      <p:sp>
        <p:nvSpPr>
          <p:cNvPr id="60" name="Text Placeholder 10">
            <a:extLst>
              <a:ext uri="{FF2B5EF4-FFF2-40B4-BE49-F238E27FC236}">
                <a16:creationId xmlns:a16="http://schemas.microsoft.com/office/drawing/2014/main" id="{86B13E25-8F4C-4776-AE12-AE1FB57ACDAC}"/>
              </a:ext>
            </a:extLst>
          </p:cNvPr>
          <p:cNvSpPr>
            <a:spLocks noGrp="1"/>
          </p:cNvSpPr>
          <p:nvPr>
            <p:ph type="body" sz="quarter" idx="16" hasCustomPrompt="1"/>
          </p:nvPr>
        </p:nvSpPr>
        <p:spPr>
          <a:xfrm>
            <a:off x="457198" y="1181779"/>
            <a:ext cx="6443999" cy="381000"/>
          </a:xfrm>
          <a:prstGeom prst="rect">
            <a:avLst/>
          </a:prstGeom>
        </p:spPr>
        <p:txBody>
          <a:bodyPr lIns="0" anchor="t">
            <a:noAutofit/>
          </a:bodyPr>
          <a:lstStyle>
            <a:lvl1pPr marL="0" indent="0">
              <a:buNone/>
              <a:tabLst>
                <a:tab pos="2509838" algn="l"/>
              </a:tabLst>
              <a:defRPr sz="1600" b="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ate</a:t>
            </a:r>
            <a:endParaRPr lang="en-US"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17" name="Graphic 16">
            <a:extLst>
              <a:ext uri="{FF2B5EF4-FFF2-40B4-BE49-F238E27FC236}">
                <a16:creationId xmlns:a16="http://schemas.microsoft.com/office/drawing/2014/main" id="{5C19C9AC-2634-47D0-8C0A-A04C4A7BFFD9}"/>
              </a:ext>
            </a:extLst>
          </p:cNvPr>
          <p:cNvPicPr>
            <a:picLocks noChangeAspect="1"/>
          </p:cNvPicPr>
          <p:nvPr/>
        </p:nvPicPr>
        <p:blipFill>
          <a:blip cstate="email">
            <a:extLst>
              <a:ext uri="{28A0092B-C50C-407E-A947-70E740481C1C}">
                <a14:useLocalDpi xmlns:a14="http://schemas.microsoft.com/office/drawing/2010/main"/>
              </a:ext>
            </a:extLst>
          </a:blip>
          <a:stretch>
            <a:fillRect/>
          </a:stretch>
        </p:blipFill>
        <p:spPr>
          <a:xfrm>
            <a:off x="9532620" y="387487"/>
            <a:ext cx="2189142" cy="910132"/>
          </a:xfrm>
          <a:prstGeom prst="rect">
            <a:avLst/>
          </a:prstGeom>
        </p:spPr>
      </p:pic>
      <p:sp>
        <p:nvSpPr>
          <p:cNvPr id="13" name="Footer Placeholder 3">
            <a:extLst>
              <a:ext uri="{FF2B5EF4-FFF2-40B4-BE49-F238E27FC236}">
                <a16:creationId xmlns:a16="http://schemas.microsoft.com/office/drawing/2014/main" id="{7203F0FA-081B-F64D-BCBF-E4C34976390C}"/>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bg1"/>
                </a:solidFill>
                <a:latin typeface="+mn-lt"/>
              </a:defRPr>
            </a:lvl1pPr>
          </a:lstStyle>
          <a:p>
            <a:r>
              <a:rPr lang="en-US" dirty="0">
                <a:ea typeface="Cambria" panose="02040503050406030204" pitchFamily="18" charset="0"/>
                <a:cs typeface="Calibri" charset="0"/>
              </a:rPr>
              <a:t>® 2021 Copyright Genpact. All Rights Reserved.</a:t>
            </a:r>
          </a:p>
        </p:txBody>
      </p:sp>
      <p:sp>
        <p:nvSpPr>
          <p:cNvPr id="10" name="Title 1">
            <a:extLst>
              <a:ext uri="{FF2B5EF4-FFF2-40B4-BE49-F238E27FC236}">
                <a16:creationId xmlns:a16="http://schemas.microsoft.com/office/drawing/2014/main" id="{418DAEFC-EF40-4589-9F6B-5C1699274A7D}"/>
              </a:ext>
            </a:extLst>
          </p:cNvPr>
          <p:cNvSpPr>
            <a:spLocks noGrp="1"/>
          </p:cNvSpPr>
          <p:nvPr>
            <p:ph type="title" hasCustomPrompt="1"/>
          </p:nvPr>
        </p:nvSpPr>
        <p:spPr>
          <a:xfrm>
            <a:off x="457199" y="1880257"/>
            <a:ext cx="6443998" cy="990000"/>
          </a:xfrm>
          <a:prstGeom prst="rect">
            <a:avLst/>
          </a:prstGeom>
        </p:spPr>
        <p:txBody>
          <a:bodyPr vert="horz" lIns="0" tIns="0" rIns="0" bIns="0" rtlCol="0" anchor="b">
            <a:noAutofit/>
          </a:bodyPr>
          <a:lstStyle>
            <a:lvl1pPr>
              <a:defRPr lang="en-GB" sz="4000" b="0" smtClean="0">
                <a:solidFill>
                  <a:schemeClr val="bg1"/>
                </a:solidFill>
                <a:latin typeface="+mn-lt"/>
              </a:defRPr>
            </a:lvl1pPr>
          </a:lstStyle>
          <a:p>
            <a:pPr marR="0" lvl="0" fontAlgn="auto">
              <a:lnSpc>
                <a:spcPct val="90000"/>
              </a:lnSpc>
              <a:spcBef>
                <a:spcPts val="1000"/>
              </a:spcBef>
              <a:spcAft>
                <a:spcPts val="0"/>
              </a:spcAft>
              <a:buClrTx/>
              <a:buSzTx/>
              <a:tabLst/>
            </a:pPr>
            <a:r>
              <a:rPr lang="en-US" dirty="0"/>
              <a:t>Title of the deck</a:t>
            </a:r>
            <a:endParaRPr lang="en-GB" dirty="0"/>
          </a:p>
        </p:txBody>
      </p:sp>
      <p:pic>
        <p:nvPicPr>
          <p:cNvPr id="12" name="Picture 11">
            <a:extLst>
              <a:ext uri="{FF2B5EF4-FFF2-40B4-BE49-F238E27FC236}">
                <a16:creationId xmlns:a16="http://schemas.microsoft.com/office/drawing/2014/main" id="{69E0A25F-E8D2-4316-A24E-5DE2E6A2ABB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540"/>
            <a:ext cx="12193200" cy="6865540"/>
          </a:xfrm>
          <a:prstGeom prst="rect">
            <a:avLst/>
          </a:prstGeom>
        </p:spPr>
      </p:pic>
      <p:cxnSp>
        <p:nvCxnSpPr>
          <p:cNvPr id="15" name="Straight Connector 14">
            <a:extLst>
              <a:ext uri="{FF2B5EF4-FFF2-40B4-BE49-F238E27FC236}">
                <a16:creationId xmlns:a16="http://schemas.microsoft.com/office/drawing/2014/main" id="{5822E247-95A4-40AF-AD83-74EEFC0929FD}"/>
              </a:ext>
            </a:extLst>
          </p:cNvPr>
          <p:cNvCxnSpPr>
            <a:cxnSpLocks/>
          </p:cNvCxnSpPr>
          <p:nvPr userDrawn="1"/>
        </p:nvCxnSpPr>
        <p:spPr>
          <a:xfrm>
            <a:off x="457199" y="3075710"/>
            <a:ext cx="6477001" cy="0"/>
          </a:xfrm>
          <a:prstGeom prst="line">
            <a:avLst/>
          </a:prstGeom>
          <a:ln w="22225" cap="rnd">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531439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 White">
    <p:bg>
      <p:bgPr>
        <a:solidFill>
          <a:schemeClr val="bg1"/>
        </a:soli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B2AD7C56-DD36-4108-B250-F008D6977ED8}"/>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0" name="Text Placeholder 9">
            <a:extLst>
              <a:ext uri="{FF2B5EF4-FFF2-40B4-BE49-F238E27FC236}">
                <a16:creationId xmlns:a16="http://schemas.microsoft.com/office/drawing/2014/main" id="{DA67C8A7-566E-6245-9CD3-9765B4FA6600}"/>
              </a:ext>
            </a:extLst>
          </p:cNvPr>
          <p:cNvSpPr>
            <a:spLocks noGrp="1"/>
          </p:cNvSpPr>
          <p:nvPr>
            <p:ph type="body" sz="quarter" idx="11" hasCustomPrompt="1"/>
          </p:nvPr>
        </p:nvSpPr>
        <p:spPr>
          <a:xfrm>
            <a:off x="457199" y="1366979"/>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13" name="Text Placeholder 5">
            <a:extLst>
              <a:ext uri="{FF2B5EF4-FFF2-40B4-BE49-F238E27FC236}">
                <a16:creationId xmlns:a16="http://schemas.microsoft.com/office/drawing/2014/main" id="{824EB0EA-8635-6443-A050-B3327AB2731C}"/>
              </a:ext>
            </a:extLst>
          </p:cNvPr>
          <p:cNvSpPr>
            <a:spLocks noGrp="1"/>
          </p:cNvSpPr>
          <p:nvPr>
            <p:ph type="body" sz="quarter" idx="13"/>
          </p:nvPr>
        </p:nvSpPr>
        <p:spPr>
          <a:xfrm>
            <a:off x="1015360" y="1392819"/>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dirty="0"/>
              <a:t>Click to edit Master text styles</a:t>
            </a:r>
          </a:p>
        </p:txBody>
      </p:sp>
      <p:pic>
        <p:nvPicPr>
          <p:cNvPr id="25" name="Graphic 24">
            <a:extLst>
              <a:ext uri="{FF2B5EF4-FFF2-40B4-BE49-F238E27FC236}">
                <a16:creationId xmlns:a16="http://schemas.microsoft.com/office/drawing/2014/main" id="{1D83DD92-09D1-EE43-BC80-83A0DE3D952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28" name="Footer Placeholder 3">
            <a:extLst>
              <a:ext uri="{FF2B5EF4-FFF2-40B4-BE49-F238E27FC236}">
                <a16:creationId xmlns:a16="http://schemas.microsoft.com/office/drawing/2014/main" id="{45D68DCD-B4B5-C547-B78D-4B5A500F9128}"/>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6" name="Title 1">
            <a:extLst>
              <a:ext uri="{FF2B5EF4-FFF2-40B4-BE49-F238E27FC236}">
                <a16:creationId xmlns:a16="http://schemas.microsoft.com/office/drawing/2014/main" id="{FBCBEE40-2AEA-476A-BD9F-C1BB812005C3}"/>
              </a:ext>
            </a:extLst>
          </p:cNvPr>
          <p:cNvSpPr>
            <a:spLocks noGrp="1"/>
          </p:cNvSpPr>
          <p:nvPr>
            <p:ph type="title" hasCustomPrompt="1"/>
          </p:nvPr>
        </p:nvSpPr>
        <p:spPr>
          <a:xfrm>
            <a:off x="460744" y="417059"/>
            <a:ext cx="5049102" cy="570443"/>
          </a:xfrm>
        </p:spPr>
        <p:txBody>
          <a:bodyPr vert="horz" lIns="0" tIns="0" rIns="0" bIns="0" rtlCol="0" anchor="t">
            <a:noAutofit/>
          </a:bodyPr>
          <a:lstStyle>
            <a:lvl1pPr>
              <a:defRPr lang="en-GB" dirty="0" smtClean="0">
                <a:solidFill>
                  <a:schemeClr val="tx2"/>
                </a:solidFill>
              </a:defRPr>
            </a:lvl1pPr>
          </a:lstStyle>
          <a:p>
            <a:pPr marR="0" lvl="0" fontAlgn="auto">
              <a:lnSpc>
                <a:spcPct val="90000"/>
              </a:lnSpc>
              <a:spcBef>
                <a:spcPts val="1000"/>
              </a:spcBef>
              <a:spcAft>
                <a:spcPts val="0"/>
              </a:spcAft>
              <a:buClrTx/>
              <a:buSzTx/>
              <a:tabLst/>
            </a:pPr>
            <a:r>
              <a:rPr lang="en-US" dirty="0"/>
              <a:t>Agenda</a:t>
            </a:r>
            <a:endParaRPr lang="en-GB" dirty="0"/>
          </a:p>
        </p:txBody>
      </p:sp>
      <p:sp>
        <p:nvSpPr>
          <p:cNvPr id="27" name="Text Placeholder 12">
            <a:extLst>
              <a:ext uri="{FF2B5EF4-FFF2-40B4-BE49-F238E27FC236}">
                <a16:creationId xmlns:a16="http://schemas.microsoft.com/office/drawing/2014/main" id="{BBB72AD8-123F-41E4-AA6D-10D40E09748E}"/>
              </a:ext>
            </a:extLst>
          </p:cNvPr>
          <p:cNvSpPr>
            <a:spLocks noGrp="1"/>
          </p:cNvSpPr>
          <p:nvPr>
            <p:ph type="body" sz="quarter" idx="23" hasCustomPrompt="1"/>
          </p:nvPr>
        </p:nvSpPr>
        <p:spPr>
          <a:xfrm>
            <a:off x="457199" y="2146908"/>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29" name="Text Placeholder 5">
            <a:extLst>
              <a:ext uri="{FF2B5EF4-FFF2-40B4-BE49-F238E27FC236}">
                <a16:creationId xmlns:a16="http://schemas.microsoft.com/office/drawing/2014/main" id="{6CA4F9AE-634E-4C58-9C8D-2B1FAD50BD7D}"/>
              </a:ext>
            </a:extLst>
          </p:cNvPr>
          <p:cNvSpPr>
            <a:spLocks noGrp="1"/>
          </p:cNvSpPr>
          <p:nvPr>
            <p:ph type="body" sz="quarter" idx="24"/>
          </p:nvPr>
        </p:nvSpPr>
        <p:spPr>
          <a:xfrm>
            <a:off x="1015360" y="2172748"/>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dirty="0"/>
              <a:t>Click to edit Master text styles</a:t>
            </a:r>
          </a:p>
        </p:txBody>
      </p:sp>
      <p:sp>
        <p:nvSpPr>
          <p:cNvPr id="30" name="Text Placeholder 18">
            <a:extLst>
              <a:ext uri="{FF2B5EF4-FFF2-40B4-BE49-F238E27FC236}">
                <a16:creationId xmlns:a16="http://schemas.microsoft.com/office/drawing/2014/main" id="{AB83DAD6-F2E4-42E1-A4EE-C687615A3E0F}"/>
              </a:ext>
            </a:extLst>
          </p:cNvPr>
          <p:cNvSpPr>
            <a:spLocks noGrp="1"/>
          </p:cNvSpPr>
          <p:nvPr>
            <p:ph type="body" sz="quarter" idx="25" hasCustomPrompt="1"/>
          </p:nvPr>
        </p:nvSpPr>
        <p:spPr>
          <a:xfrm>
            <a:off x="457199" y="2899597"/>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1" name="Text Placeholder 5">
            <a:extLst>
              <a:ext uri="{FF2B5EF4-FFF2-40B4-BE49-F238E27FC236}">
                <a16:creationId xmlns:a16="http://schemas.microsoft.com/office/drawing/2014/main" id="{90EDD940-259E-4829-8E35-E18B2D80EE67}"/>
              </a:ext>
            </a:extLst>
          </p:cNvPr>
          <p:cNvSpPr>
            <a:spLocks noGrp="1"/>
          </p:cNvSpPr>
          <p:nvPr>
            <p:ph type="body" sz="quarter" idx="26"/>
          </p:nvPr>
        </p:nvSpPr>
        <p:spPr>
          <a:xfrm>
            <a:off x="1015360" y="2925437"/>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dirty="0"/>
              <a:t>Click to edit Master text styles</a:t>
            </a:r>
          </a:p>
        </p:txBody>
      </p:sp>
      <p:sp>
        <p:nvSpPr>
          <p:cNvPr id="32" name="Text Placeholder 19">
            <a:extLst>
              <a:ext uri="{FF2B5EF4-FFF2-40B4-BE49-F238E27FC236}">
                <a16:creationId xmlns:a16="http://schemas.microsoft.com/office/drawing/2014/main" id="{9802C2BE-B1B2-4E86-82FE-3D0646E91890}"/>
              </a:ext>
            </a:extLst>
          </p:cNvPr>
          <p:cNvSpPr>
            <a:spLocks noGrp="1"/>
          </p:cNvSpPr>
          <p:nvPr>
            <p:ph type="body" sz="quarter" idx="27" hasCustomPrompt="1"/>
          </p:nvPr>
        </p:nvSpPr>
        <p:spPr>
          <a:xfrm>
            <a:off x="457199" y="367952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3" name="Text Placeholder 5">
            <a:extLst>
              <a:ext uri="{FF2B5EF4-FFF2-40B4-BE49-F238E27FC236}">
                <a16:creationId xmlns:a16="http://schemas.microsoft.com/office/drawing/2014/main" id="{18EBD071-CF30-4469-9F10-CB42C7916FAF}"/>
              </a:ext>
            </a:extLst>
          </p:cNvPr>
          <p:cNvSpPr>
            <a:spLocks noGrp="1"/>
          </p:cNvSpPr>
          <p:nvPr>
            <p:ph type="body" sz="quarter" idx="28"/>
          </p:nvPr>
        </p:nvSpPr>
        <p:spPr>
          <a:xfrm>
            <a:off x="1015360" y="3705366"/>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dirty="0"/>
              <a:t>Click to edit Master text styles</a:t>
            </a:r>
          </a:p>
        </p:txBody>
      </p:sp>
      <p:sp>
        <p:nvSpPr>
          <p:cNvPr id="35" name="Text Placeholder 22">
            <a:extLst>
              <a:ext uri="{FF2B5EF4-FFF2-40B4-BE49-F238E27FC236}">
                <a16:creationId xmlns:a16="http://schemas.microsoft.com/office/drawing/2014/main" id="{B3C1887B-BFF0-4968-B8C3-0F83E6652465}"/>
              </a:ext>
            </a:extLst>
          </p:cNvPr>
          <p:cNvSpPr>
            <a:spLocks noGrp="1"/>
          </p:cNvSpPr>
          <p:nvPr>
            <p:ph type="body" sz="quarter" idx="29" hasCustomPrompt="1"/>
          </p:nvPr>
        </p:nvSpPr>
        <p:spPr>
          <a:xfrm>
            <a:off x="457199" y="4434106"/>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2"/>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6" name="Text Placeholder 5">
            <a:extLst>
              <a:ext uri="{FF2B5EF4-FFF2-40B4-BE49-F238E27FC236}">
                <a16:creationId xmlns:a16="http://schemas.microsoft.com/office/drawing/2014/main" id="{AA1582F3-1BA9-4358-BFE5-9640A017A06E}"/>
              </a:ext>
            </a:extLst>
          </p:cNvPr>
          <p:cNvSpPr>
            <a:spLocks noGrp="1"/>
          </p:cNvSpPr>
          <p:nvPr>
            <p:ph type="body" sz="quarter" idx="30"/>
          </p:nvPr>
        </p:nvSpPr>
        <p:spPr>
          <a:xfrm>
            <a:off x="1015360" y="4459946"/>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dirty="0"/>
              <a:t>Click to edit Master text styles</a:t>
            </a:r>
          </a:p>
        </p:txBody>
      </p:sp>
      <p:sp>
        <p:nvSpPr>
          <p:cNvPr id="37" name="Text Placeholder 23">
            <a:extLst>
              <a:ext uri="{FF2B5EF4-FFF2-40B4-BE49-F238E27FC236}">
                <a16:creationId xmlns:a16="http://schemas.microsoft.com/office/drawing/2014/main" id="{1D0E6C05-C89A-499C-9021-D2FEEC605C57}"/>
              </a:ext>
            </a:extLst>
          </p:cNvPr>
          <p:cNvSpPr>
            <a:spLocks noGrp="1"/>
          </p:cNvSpPr>
          <p:nvPr>
            <p:ph type="body" sz="quarter" idx="31" hasCustomPrompt="1"/>
          </p:nvPr>
        </p:nvSpPr>
        <p:spPr>
          <a:xfrm>
            <a:off x="457199" y="5214035"/>
            <a:ext cx="272470" cy="375681"/>
          </a:xfrm>
          <a:custGeom>
            <a:avLst/>
            <a:gdLst>
              <a:gd name="connsiteX0" fmla="*/ 135118 w 272470"/>
              <a:gd name="connsiteY0" fmla="*/ 0 h 375681"/>
              <a:gd name="connsiteX1" fmla="*/ 272470 w 272470"/>
              <a:gd name="connsiteY1" fmla="*/ 95583 h 375681"/>
              <a:gd name="connsiteX2" fmla="*/ 272470 w 272470"/>
              <a:gd name="connsiteY2" fmla="*/ 282314 h 375681"/>
              <a:gd name="connsiteX3" fmla="*/ 136235 w 272470"/>
              <a:gd name="connsiteY3" fmla="*/ 375681 h 375681"/>
              <a:gd name="connsiteX4" fmla="*/ 0 w 272470"/>
              <a:gd name="connsiteY4" fmla="*/ 283423 h 375681"/>
              <a:gd name="connsiteX5" fmla="*/ 0 w 272470"/>
              <a:gd name="connsiteY5" fmla="*/ 95583 h 37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470" h="375681">
                <a:moveTo>
                  <a:pt x="135118" y="0"/>
                </a:moveTo>
                <a:lnTo>
                  <a:pt x="272470" y="95583"/>
                </a:lnTo>
                <a:lnTo>
                  <a:pt x="272470" y="282314"/>
                </a:lnTo>
                <a:lnTo>
                  <a:pt x="136235" y="375681"/>
                </a:lnTo>
                <a:lnTo>
                  <a:pt x="0" y="283423"/>
                </a:lnTo>
                <a:lnTo>
                  <a:pt x="0" y="95583"/>
                </a:lnTo>
                <a:close/>
              </a:path>
            </a:pathLst>
          </a:custGeom>
          <a:solidFill>
            <a:schemeClr val="accent1"/>
          </a:solidFill>
        </p:spPr>
        <p:txBody>
          <a:bodyPr wrap="square" lIns="0" tIns="0" rIns="0" bIns="0" anchor="ctr" anchorCtr="0">
            <a:noAutofit/>
          </a:bodyPr>
          <a:lstStyle>
            <a:lvl1pPr marL="0" indent="0" algn="ctr">
              <a:buNone/>
              <a:defRPr sz="1600" b="0">
                <a:solidFill>
                  <a:schemeClr val="bg1"/>
                </a:solidFill>
                <a:latin typeface="+mn-lt"/>
              </a:defRPr>
            </a:lvl1pPr>
            <a:lvl2pPr marL="266700" indent="0">
              <a:buNone/>
              <a:defRPr/>
            </a:lvl2pPr>
          </a:lstStyle>
          <a:p>
            <a:pPr lvl="0"/>
            <a:r>
              <a:rPr lang="en-US" dirty="0"/>
              <a:t>#</a:t>
            </a:r>
          </a:p>
        </p:txBody>
      </p:sp>
      <p:sp>
        <p:nvSpPr>
          <p:cNvPr id="38" name="Text Placeholder 5">
            <a:extLst>
              <a:ext uri="{FF2B5EF4-FFF2-40B4-BE49-F238E27FC236}">
                <a16:creationId xmlns:a16="http://schemas.microsoft.com/office/drawing/2014/main" id="{C9F730AD-E09A-4443-8E8F-D5734BB2D7E5}"/>
              </a:ext>
            </a:extLst>
          </p:cNvPr>
          <p:cNvSpPr>
            <a:spLocks noGrp="1"/>
          </p:cNvSpPr>
          <p:nvPr>
            <p:ph type="body" sz="quarter" idx="32"/>
          </p:nvPr>
        </p:nvSpPr>
        <p:spPr>
          <a:xfrm>
            <a:off x="1015360" y="5239875"/>
            <a:ext cx="4494486" cy="324000"/>
          </a:xfrm>
          <a:prstGeom prst="rect">
            <a:avLst/>
          </a:prstGeom>
        </p:spPr>
        <p:txBody>
          <a:bodyPr>
            <a:noAutofit/>
          </a:bodyPr>
          <a:lstStyle>
            <a:lvl1pPr marL="0" indent="0">
              <a:buNone/>
              <a:defRPr sz="1600" b="0">
                <a:solidFill>
                  <a:schemeClr val="tx2"/>
                </a:solidFill>
                <a:latin typeface="+mn-lt"/>
              </a:defRPr>
            </a:lvl1pPr>
            <a:lvl2pPr marL="266700" indent="0">
              <a:buNone/>
              <a:defRPr/>
            </a:lvl2pPr>
          </a:lstStyle>
          <a:p>
            <a:pPr lvl="0"/>
            <a:r>
              <a:rPr lang="en-US" dirty="0"/>
              <a:t>Click to edit Master text styles</a:t>
            </a:r>
          </a:p>
        </p:txBody>
      </p:sp>
      <p:sp>
        <p:nvSpPr>
          <p:cNvPr id="21" name="Picture Placeholder 28">
            <a:extLst>
              <a:ext uri="{FF2B5EF4-FFF2-40B4-BE49-F238E27FC236}">
                <a16:creationId xmlns:a16="http://schemas.microsoft.com/office/drawing/2014/main" id="{53D3D8CF-E605-4768-9603-689E5785C0A2}"/>
              </a:ext>
            </a:extLst>
          </p:cNvPr>
          <p:cNvSpPr>
            <a:spLocks noGrp="1"/>
          </p:cNvSpPr>
          <p:nvPr>
            <p:ph type="pic" sz="quarter" idx="10"/>
          </p:nvPr>
        </p:nvSpPr>
        <p:spPr>
          <a:xfrm>
            <a:off x="5205400" y="1"/>
            <a:ext cx="6986601" cy="4853941"/>
          </a:xfrm>
          <a:custGeom>
            <a:avLst/>
            <a:gdLst>
              <a:gd name="connsiteX0" fmla="*/ 0 w 6986601"/>
              <a:gd name="connsiteY0" fmla="*/ 0 h 4853941"/>
              <a:gd name="connsiteX1" fmla="*/ 5002307 w 6986601"/>
              <a:gd name="connsiteY1" fmla="*/ 0 h 4853941"/>
              <a:gd name="connsiteX2" fmla="*/ 6986601 w 6986601"/>
              <a:gd name="connsiteY2" fmla="*/ 1372945 h 4853941"/>
              <a:gd name="connsiteX3" fmla="*/ 6986601 w 6986601"/>
              <a:gd name="connsiteY3" fmla="*/ 4853941 h 4853941"/>
            </a:gdLst>
            <a:ahLst/>
            <a:cxnLst>
              <a:cxn ang="0">
                <a:pos x="connsiteX0" y="connsiteY0"/>
              </a:cxn>
              <a:cxn ang="0">
                <a:pos x="connsiteX1" y="connsiteY1"/>
              </a:cxn>
              <a:cxn ang="0">
                <a:pos x="connsiteX2" y="connsiteY2"/>
              </a:cxn>
              <a:cxn ang="0">
                <a:pos x="connsiteX3" y="connsiteY3"/>
              </a:cxn>
            </a:cxnLst>
            <a:rect l="l" t="t" r="r" b="b"/>
            <a:pathLst>
              <a:path w="6986601" h="4853941">
                <a:moveTo>
                  <a:pt x="0" y="0"/>
                </a:moveTo>
                <a:lnTo>
                  <a:pt x="5002307" y="0"/>
                </a:lnTo>
                <a:lnTo>
                  <a:pt x="6986601" y="1372945"/>
                </a:lnTo>
                <a:lnTo>
                  <a:pt x="6986601" y="4853941"/>
                </a:lnTo>
                <a:close/>
              </a:path>
            </a:pathLst>
          </a:custGeom>
          <a:solidFill>
            <a:schemeClr val="accent6"/>
          </a:solidFill>
        </p:spPr>
        <p:txBody>
          <a:bodyPr wrap="square" bIns="1080000"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sp>
        <p:nvSpPr>
          <p:cNvPr id="23" name="Rectangle 22">
            <a:extLst>
              <a:ext uri="{FF2B5EF4-FFF2-40B4-BE49-F238E27FC236}">
                <a16:creationId xmlns:a16="http://schemas.microsoft.com/office/drawing/2014/main" id="{7F0447E7-2370-40EB-9592-91B302D0C289}"/>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120781891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Opt2">
    <p:bg>
      <p:bgPr>
        <a:solidFill>
          <a:schemeClr val="bg1"/>
        </a:solidFill>
        <a:effectLst/>
      </p:bgPr>
    </p:bg>
    <p:spTree>
      <p:nvGrpSpPr>
        <p:cNvPr id="1" name=""/>
        <p:cNvGrpSpPr/>
        <p:nvPr/>
      </p:nvGrpSpPr>
      <p:grpSpPr>
        <a:xfrm>
          <a:off x="0" y="0"/>
          <a:ext cx="0" cy="0"/>
          <a:chOff x="0" y="0"/>
          <a:chExt cx="0" cy="0"/>
        </a:xfrm>
      </p:grpSpPr>
      <p:pic>
        <p:nvPicPr>
          <p:cNvPr id="57" name="Picture 56">
            <a:extLst>
              <a:ext uri="{FF2B5EF4-FFF2-40B4-BE49-F238E27FC236}">
                <a16:creationId xmlns:a16="http://schemas.microsoft.com/office/drawing/2014/main" id="{1A80FE34-F12C-478F-B85D-1553E3A7C1E6}"/>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
        <p:nvSpPr>
          <p:cNvPr id="823" name="Freeform: Shape 822">
            <a:extLst>
              <a:ext uri="{FF2B5EF4-FFF2-40B4-BE49-F238E27FC236}">
                <a16:creationId xmlns:a16="http://schemas.microsoft.com/office/drawing/2014/main" id="{A8081AB6-4BB2-4983-AC34-F342664D8757}"/>
              </a:ext>
            </a:extLst>
          </p:cNvPr>
          <p:cNvSpPr/>
          <p:nvPr userDrawn="1"/>
        </p:nvSpPr>
        <p:spPr>
          <a:xfrm>
            <a:off x="6757988" y="3"/>
            <a:ext cx="5434010" cy="3783039"/>
          </a:xfrm>
          <a:custGeom>
            <a:avLst/>
            <a:gdLst>
              <a:gd name="connsiteX0" fmla="*/ 0 w 8204200"/>
              <a:gd name="connsiteY0" fmla="*/ 0 h 5753100"/>
              <a:gd name="connsiteX1" fmla="*/ 8204200 w 8204200"/>
              <a:gd name="connsiteY1" fmla="*/ 5753100 h 5753100"/>
              <a:gd name="connsiteX2" fmla="*/ 8204200 w 8204200"/>
              <a:gd name="connsiteY2" fmla="*/ 25400 h 5753100"/>
              <a:gd name="connsiteX3" fmla="*/ 0 w 8204200"/>
              <a:gd name="connsiteY3" fmla="*/ 0 h 5753100"/>
              <a:gd name="connsiteX0" fmla="*/ 0 w 8204200"/>
              <a:gd name="connsiteY0" fmla="*/ 12700 h 5765800"/>
              <a:gd name="connsiteX1" fmla="*/ 8204200 w 8204200"/>
              <a:gd name="connsiteY1" fmla="*/ 5765800 h 5765800"/>
              <a:gd name="connsiteX2" fmla="*/ 8204200 w 8204200"/>
              <a:gd name="connsiteY2" fmla="*/ 0 h 5765800"/>
              <a:gd name="connsiteX3" fmla="*/ 0 w 8204200"/>
              <a:gd name="connsiteY3" fmla="*/ 12700 h 5765800"/>
              <a:gd name="connsiteX0" fmla="*/ 0 w 8204200"/>
              <a:gd name="connsiteY0" fmla="*/ 0 h 5765800"/>
              <a:gd name="connsiteX1" fmla="*/ 8204200 w 8204200"/>
              <a:gd name="connsiteY1" fmla="*/ 5765800 h 5765800"/>
              <a:gd name="connsiteX2" fmla="*/ 8204200 w 8204200"/>
              <a:gd name="connsiteY2" fmla="*/ 0 h 5765800"/>
              <a:gd name="connsiteX3" fmla="*/ 0 w 8204200"/>
              <a:gd name="connsiteY3" fmla="*/ 0 h 5765800"/>
              <a:gd name="connsiteX0" fmla="*/ 0 w 8204200"/>
              <a:gd name="connsiteY0" fmla="*/ 0 h 5711586"/>
              <a:gd name="connsiteX1" fmla="*/ 8204200 w 8204200"/>
              <a:gd name="connsiteY1" fmla="*/ 5711586 h 5711586"/>
              <a:gd name="connsiteX2" fmla="*/ 8204200 w 8204200"/>
              <a:gd name="connsiteY2" fmla="*/ 0 h 5711586"/>
              <a:gd name="connsiteX3" fmla="*/ 0 w 8204200"/>
              <a:gd name="connsiteY3" fmla="*/ 0 h 5711586"/>
            </a:gdLst>
            <a:ahLst/>
            <a:cxnLst>
              <a:cxn ang="0">
                <a:pos x="connsiteX0" y="connsiteY0"/>
              </a:cxn>
              <a:cxn ang="0">
                <a:pos x="connsiteX1" y="connsiteY1"/>
              </a:cxn>
              <a:cxn ang="0">
                <a:pos x="connsiteX2" y="connsiteY2"/>
              </a:cxn>
              <a:cxn ang="0">
                <a:pos x="connsiteX3" y="connsiteY3"/>
              </a:cxn>
            </a:cxnLst>
            <a:rect l="l" t="t" r="r" b="b"/>
            <a:pathLst>
              <a:path w="8204200" h="5711586">
                <a:moveTo>
                  <a:pt x="0" y="0"/>
                </a:moveTo>
                <a:lnTo>
                  <a:pt x="8204200" y="5711586"/>
                </a:lnTo>
                <a:lnTo>
                  <a:pt x="8204200" y="0"/>
                </a:lnTo>
                <a:lnTo>
                  <a:pt x="0" y="0"/>
                </a:lnTo>
                <a:close/>
              </a:path>
            </a:pathLst>
          </a:cu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1" name="Text Placeholder 22">
            <a:extLst>
              <a:ext uri="{FF2B5EF4-FFF2-40B4-BE49-F238E27FC236}">
                <a16:creationId xmlns:a16="http://schemas.microsoft.com/office/drawing/2014/main" id="{99169826-4FD7-477D-A963-5D0AFF31E70B}"/>
              </a:ext>
            </a:extLst>
          </p:cNvPr>
          <p:cNvSpPr>
            <a:spLocks noGrp="1"/>
          </p:cNvSpPr>
          <p:nvPr userDrawn="1">
            <p:ph type="body" sz="quarter" idx="11" hasCustomPrompt="1"/>
          </p:nvPr>
        </p:nvSpPr>
        <p:spPr>
          <a:xfrm>
            <a:off x="457199" y="370296"/>
            <a:ext cx="5638801" cy="533400"/>
          </a:xfrm>
          <a:prstGeom prst="rect">
            <a:avLst/>
          </a:prstGeom>
        </p:spPr>
        <p:txBody>
          <a:bodyPr lIns="0" anchor="t"/>
          <a:lstStyle>
            <a:lvl1pPr marL="0" indent="0">
              <a:buNone/>
              <a:defRPr sz="3200">
                <a:solidFill>
                  <a:schemeClr val="tx1"/>
                </a:solidFill>
                <a:latin typeface="+mn-lt"/>
                <a:ea typeface="Cambria" panose="02040503050406030204" pitchFamily="18" charset="0"/>
              </a:defRPr>
            </a:lvl1pPr>
          </a:lstStyle>
          <a:p>
            <a:pPr lvl="0"/>
            <a:r>
              <a:rPr lang="en-US" dirty="0"/>
              <a:t>Agenda</a:t>
            </a:r>
          </a:p>
        </p:txBody>
      </p:sp>
      <p:sp>
        <p:nvSpPr>
          <p:cNvPr id="29" name="Freeform: Shape 28">
            <a:extLst>
              <a:ext uri="{FF2B5EF4-FFF2-40B4-BE49-F238E27FC236}">
                <a16:creationId xmlns:a16="http://schemas.microsoft.com/office/drawing/2014/main" id="{2EA99EAF-DE5F-49FE-8F2D-D38766513AEB}"/>
              </a:ext>
            </a:extLst>
          </p:cNvPr>
          <p:cNvSpPr/>
          <p:nvPr userDrawn="1"/>
        </p:nvSpPr>
        <p:spPr>
          <a:xfrm>
            <a:off x="9564369" y="2294763"/>
            <a:ext cx="2627631" cy="364912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2"/>
              </a:gs>
              <a:gs pos="92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391"/>
            <a:endParaRPr lang="en-US">
              <a:latin typeface="+mn-lt"/>
            </a:endParaRPr>
          </a:p>
        </p:txBody>
      </p:sp>
      <p:sp>
        <p:nvSpPr>
          <p:cNvPr id="26" name="Freeform: Shape 25">
            <a:extLst>
              <a:ext uri="{FF2B5EF4-FFF2-40B4-BE49-F238E27FC236}">
                <a16:creationId xmlns:a16="http://schemas.microsoft.com/office/drawing/2014/main" id="{9B2D78C8-D80E-44EC-9352-47BA41DDD9C9}"/>
              </a:ext>
            </a:extLst>
          </p:cNvPr>
          <p:cNvSpPr/>
          <p:nvPr userDrawn="1"/>
        </p:nvSpPr>
        <p:spPr>
          <a:xfrm>
            <a:off x="6757989" y="0"/>
            <a:ext cx="5434010" cy="3791920"/>
          </a:xfrm>
          <a:custGeom>
            <a:avLst/>
            <a:gdLst>
              <a:gd name="connsiteX0" fmla="*/ 0 w 8204200"/>
              <a:gd name="connsiteY0" fmla="*/ 0 h 5753100"/>
              <a:gd name="connsiteX1" fmla="*/ 8204200 w 8204200"/>
              <a:gd name="connsiteY1" fmla="*/ 5753100 h 5753100"/>
              <a:gd name="connsiteX2" fmla="*/ 8204200 w 8204200"/>
              <a:gd name="connsiteY2" fmla="*/ 25400 h 5753100"/>
              <a:gd name="connsiteX3" fmla="*/ 0 w 8204200"/>
              <a:gd name="connsiteY3" fmla="*/ 0 h 5753100"/>
              <a:gd name="connsiteX0" fmla="*/ 0 w 8204200"/>
              <a:gd name="connsiteY0" fmla="*/ 12700 h 5765800"/>
              <a:gd name="connsiteX1" fmla="*/ 8204200 w 8204200"/>
              <a:gd name="connsiteY1" fmla="*/ 5765800 h 5765800"/>
              <a:gd name="connsiteX2" fmla="*/ 8204200 w 8204200"/>
              <a:gd name="connsiteY2" fmla="*/ 0 h 5765800"/>
              <a:gd name="connsiteX3" fmla="*/ 0 w 8204200"/>
              <a:gd name="connsiteY3" fmla="*/ 12700 h 5765800"/>
              <a:gd name="connsiteX0" fmla="*/ 0 w 8204200"/>
              <a:gd name="connsiteY0" fmla="*/ 0 h 5765800"/>
              <a:gd name="connsiteX1" fmla="*/ 8204200 w 8204200"/>
              <a:gd name="connsiteY1" fmla="*/ 5765800 h 5765800"/>
              <a:gd name="connsiteX2" fmla="*/ 8204200 w 8204200"/>
              <a:gd name="connsiteY2" fmla="*/ 0 h 5765800"/>
              <a:gd name="connsiteX3" fmla="*/ 0 w 8204200"/>
              <a:gd name="connsiteY3" fmla="*/ 0 h 5765800"/>
              <a:gd name="connsiteX0" fmla="*/ 0 w 8204200"/>
              <a:gd name="connsiteY0" fmla="*/ 0 h 5724995"/>
              <a:gd name="connsiteX1" fmla="*/ 8204200 w 8204200"/>
              <a:gd name="connsiteY1" fmla="*/ 5724995 h 5724995"/>
              <a:gd name="connsiteX2" fmla="*/ 8204200 w 8204200"/>
              <a:gd name="connsiteY2" fmla="*/ 0 h 5724995"/>
              <a:gd name="connsiteX3" fmla="*/ 0 w 8204200"/>
              <a:gd name="connsiteY3" fmla="*/ 0 h 5724995"/>
            </a:gdLst>
            <a:ahLst/>
            <a:cxnLst>
              <a:cxn ang="0">
                <a:pos x="connsiteX0" y="connsiteY0"/>
              </a:cxn>
              <a:cxn ang="0">
                <a:pos x="connsiteX1" y="connsiteY1"/>
              </a:cxn>
              <a:cxn ang="0">
                <a:pos x="connsiteX2" y="connsiteY2"/>
              </a:cxn>
              <a:cxn ang="0">
                <a:pos x="connsiteX3" y="connsiteY3"/>
              </a:cxn>
            </a:cxnLst>
            <a:rect l="l" t="t" r="r" b="b"/>
            <a:pathLst>
              <a:path w="8204200" h="5724995">
                <a:moveTo>
                  <a:pt x="0" y="0"/>
                </a:moveTo>
                <a:lnTo>
                  <a:pt x="8204200" y="5724995"/>
                </a:lnTo>
                <a:lnTo>
                  <a:pt x="8204200" y="0"/>
                </a:lnTo>
                <a:lnTo>
                  <a:pt x="0" y="0"/>
                </a:lnTo>
                <a:close/>
              </a:path>
            </a:pathLst>
          </a:custGeom>
          <a:gradFill>
            <a:gsLst>
              <a:gs pos="100000">
                <a:schemeClr val="accent1">
                  <a:alpha val="25000"/>
                </a:schemeClr>
              </a:gs>
              <a:gs pos="8000">
                <a:schemeClr val="bg2">
                  <a:alpha val="4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mn-lt"/>
            </a:endParaRPr>
          </a:p>
        </p:txBody>
      </p:sp>
      <p:sp>
        <p:nvSpPr>
          <p:cNvPr id="27" name="Freeform: Shape 26">
            <a:extLst>
              <a:ext uri="{FF2B5EF4-FFF2-40B4-BE49-F238E27FC236}">
                <a16:creationId xmlns:a16="http://schemas.microsoft.com/office/drawing/2014/main" id="{16C71076-988E-4C20-8453-C92DDA2EC7F6}"/>
              </a:ext>
            </a:extLst>
          </p:cNvPr>
          <p:cNvSpPr/>
          <p:nvPr userDrawn="1"/>
        </p:nvSpPr>
        <p:spPr>
          <a:xfrm>
            <a:off x="8350916" y="5373"/>
            <a:ext cx="3841084" cy="4348045"/>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125" h="4438650">
                <a:moveTo>
                  <a:pt x="0" y="0"/>
                </a:moveTo>
                <a:lnTo>
                  <a:pt x="2641600" y="1784350"/>
                </a:lnTo>
                <a:lnTo>
                  <a:pt x="1384300" y="2673350"/>
                </a:lnTo>
                <a:lnTo>
                  <a:pt x="3911600" y="4438650"/>
                </a:lnTo>
                <a:lnTo>
                  <a:pt x="3921125" y="6350"/>
                </a:lnTo>
                <a:lnTo>
                  <a:pt x="0" y="0"/>
                </a:lnTo>
                <a:close/>
              </a:path>
            </a:pathLst>
          </a:custGeom>
          <a:gradFill>
            <a:gsLst>
              <a:gs pos="20000">
                <a:schemeClr val="accent1"/>
              </a:gs>
              <a:gs pos="75000">
                <a:schemeClr val="accent1">
                  <a:alpha val="33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391"/>
            <a:endParaRPr lang="en-US">
              <a:latin typeface="+mn-lt"/>
            </a:endParaRPr>
          </a:p>
        </p:txBody>
      </p:sp>
      <p:pic>
        <p:nvPicPr>
          <p:cNvPr id="11" name="Picture 2">
            <a:extLst>
              <a:ext uri="{FF2B5EF4-FFF2-40B4-BE49-F238E27FC236}">
                <a16:creationId xmlns:a16="http://schemas.microsoft.com/office/drawing/2014/main" id="{CEB43CF6-E34F-4937-9EBF-FC6938C1ACEE}"/>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Slide Number Placeholder 5">
            <a:extLst>
              <a:ext uri="{FF2B5EF4-FFF2-40B4-BE49-F238E27FC236}">
                <a16:creationId xmlns:a16="http://schemas.microsoft.com/office/drawing/2014/main" id="{D2D6A46A-F5B4-4324-9056-E85E518E1CB8}"/>
              </a:ext>
            </a:extLst>
          </p:cNvPr>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tx1"/>
                </a:solidFill>
                <a:latin typeface="+mn-lt"/>
              </a:rPr>
              <a:pPr/>
              <a:t>‹#›</a:t>
            </a:fld>
            <a:endParaRPr lang="en-US" b="1" dirty="0">
              <a:solidFill>
                <a:schemeClr val="tx1"/>
              </a:solidFill>
              <a:latin typeface="+mn-lt"/>
            </a:endParaRPr>
          </a:p>
        </p:txBody>
      </p:sp>
      <p:sp>
        <p:nvSpPr>
          <p:cNvPr id="16" name="TextBox 15">
            <a:extLst>
              <a:ext uri="{FF2B5EF4-FFF2-40B4-BE49-F238E27FC236}">
                <a16:creationId xmlns:a16="http://schemas.microsoft.com/office/drawing/2014/main" id="{95893B68-ACC4-4C41-8064-3EF6A5D0DEBB}"/>
              </a:ext>
            </a:extLst>
          </p:cNvPr>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rgbClr val="44546A"/>
                </a:solidFill>
                <a:latin typeface="+mn-lt"/>
                <a:ea typeface="Calibri" charset="0"/>
                <a:cs typeface="Calibri" charset="0"/>
              </a:rPr>
              <a:t>® 2021 Copyright Genpact. All Rights Reserved.</a:t>
            </a:r>
          </a:p>
        </p:txBody>
      </p:sp>
    </p:spTree>
    <p:extLst>
      <p:ext uri="{BB962C8B-B14F-4D97-AF65-F5344CB8AC3E}">
        <p14:creationId xmlns:p14="http://schemas.microsoft.com/office/powerpoint/2010/main" val="2692688226"/>
      </p:ext>
    </p:extLst>
  </p:cSld>
  <p:clrMapOvr>
    <a:masterClrMapping/>
  </p:clrMapOvr>
  <p:extLst>
    <p:ext uri="{DCECCB84-F9BA-43D5-87BE-67443E8EF086}">
      <p15:sldGuideLst xmlns:p15="http://schemas.microsoft.com/office/powerpoint/2012/main">
        <p15:guide id="1" pos="279">
          <p15:clr>
            <a:srgbClr val="FBAE40"/>
          </p15:clr>
        </p15:guide>
        <p15:guide id="2" pos="7401">
          <p15:clr>
            <a:srgbClr val="FBAE40"/>
          </p15:clr>
        </p15:guide>
        <p15:guide id="3" orient="horz" pos="232">
          <p15:clr>
            <a:srgbClr val="FBAE40"/>
          </p15:clr>
        </p15:guide>
        <p15:guide id="4" orient="horz" pos="401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Agenda Opt2">
    <p:bg>
      <p:bgPr>
        <a:solidFill>
          <a:schemeClr val="tx1"/>
        </a:solidFill>
        <a:effectLst/>
      </p:bgPr>
    </p:bg>
    <p:spTree>
      <p:nvGrpSpPr>
        <p:cNvPr id="1" name=""/>
        <p:cNvGrpSpPr/>
        <p:nvPr/>
      </p:nvGrpSpPr>
      <p:grpSpPr>
        <a:xfrm>
          <a:off x="0" y="0"/>
          <a:ext cx="0" cy="0"/>
          <a:chOff x="0" y="0"/>
          <a:chExt cx="0" cy="0"/>
        </a:xfrm>
      </p:grpSpPr>
      <p:sp>
        <p:nvSpPr>
          <p:cNvPr id="823" name="Freeform: Shape 822">
            <a:extLst>
              <a:ext uri="{FF2B5EF4-FFF2-40B4-BE49-F238E27FC236}">
                <a16:creationId xmlns:a16="http://schemas.microsoft.com/office/drawing/2014/main" id="{A8081AB6-4BB2-4983-AC34-F342664D8757}"/>
              </a:ext>
            </a:extLst>
          </p:cNvPr>
          <p:cNvSpPr/>
          <p:nvPr userDrawn="1"/>
        </p:nvSpPr>
        <p:spPr>
          <a:xfrm>
            <a:off x="6757988" y="3"/>
            <a:ext cx="5434010" cy="3783039"/>
          </a:xfrm>
          <a:custGeom>
            <a:avLst/>
            <a:gdLst>
              <a:gd name="connsiteX0" fmla="*/ 0 w 8204200"/>
              <a:gd name="connsiteY0" fmla="*/ 0 h 5753100"/>
              <a:gd name="connsiteX1" fmla="*/ 8204200 w 8204200"/>
              <a:gd name="connsiteY1" fmla="*/ 5753100 h 5753100"/>
              <a:gd name="connsiteX2" fmla="*/ 8204200 w 8204200"/>
              <a:gd name="connsiteY2" fmla="*/ 25400 h 5753100"/>
              <a:gd name="connsiteX3" fmla="*/ 0 w 8204200"/>
              <a:gd name="connsiteY3" fmla="*/ 0 h 5753100"/>
              <a:gd name="connsiteX0" fmla="*/ 0 w 8204200"/>
              <a:gd name="connsiteY0" fmla="*/ 12700 h 5765800"/>
              <a:gd name="connsiteX1" fmla="*/ 8204200 w 8204200"/>
              <a:gd name="connsiteY1" fmla="*/ 5765800 h 5765800"/>
              <a:gd name="connsiteX2" fmla="*/ 8204200 w 8204200"/>
              <a:gd name="connsiteY2" fmla="*/ 0 h 5765800"/>
              <a:gd name="connsiteX3" fmla="*/ 0 w 8204200"/>
              <a:gd name="connsiteY3" fmla="*/ 12700 h 5765800"/>
              <a:gd name="connsiteX0" fmla="*/ 0 w 8204200"/>
              <a:gd name="connsiteY0" fmla="*/ 0 h 5765800"/>
              <a:gd name="connsiteX1" fmla="*/ 8204200 w 8204200"/>
              <a:gd name="connsiteY1" fmla="*/ 5765800 h 5765800"/>
              <a:gd name="connsiteX2" fmla="*/ 8204200 w 8204200"/>
              <a:gd name="connsiteY2" fmla="*/ 0 h 5765800"/>
              <a:gd name="connsiteX3" fmla="*/ 0 w 8204200"/>
              <a:gd name="connsiteY3" fmla="*/ 0 h 5765800"/>
              <a:gd name="connsiteX0" fmla="*/ 0 w 8204200"/>
              <a:gd name="connsiteY0" fmla="*/ 0 h 5711586"/>
              <a:gd name="connsiteX1" fmla="*/ 8204200 w 8204200"/>
              <a:gd name="connsiteY1" fmla="*/ 5711586 h 5711586"/>
              <a:gd name="connsiteX2" fmla="*/ 8204200 w 8204200"/>
              <a:gd name="connsiteY2" fmla="*/ 0 h 5711586"/>
              <a:gd name="connsiteX3" fmla="*/ 0 w 8204200"/>
              <a:gd name="connsiteY3" fmla="*/ 0 h 5711586"/>
            </a:gdLst>
            <a:ahLst/>
            <a:cxnLst>
              <a:cxn ang="0">
                <a:pos x="connsiteX0" y="connsiteY0"/>
              </a:cxn>
              <a:cxn ang="0">
                <a:pos x="connsiteX1" y="connsiteY1"/>
              </a:cxn>
              <a:cxn ang="0">
                <a:pos x="connsiteX2" y="connsiteY2"/>
              </a:cxn>
              <a:cxn ang="0">
                <a:pos x="connsiteX3" y="connsiteY3"/>
              </a:cxn>
            </a:cxnLst>
            <a:rect l="l" t="t" r="r" b="b"/>
            <a:pathLst>
              <a:path w="8204200" h="5711586">
                <a:moveTo>
                  <a:pt x="0" y="0"/>
                </a:moveTo>
                <a:lnTo>
                  <a:pt x="8204200" y="5711586"/>
                </a:lnTo>
                <a:lnTo>
                  <a:pt x="8204200" y="0"/>
                </a:lnTo>
                <a:lnTo>
                  <a:pt x="0" y="0"/>
                </a:lnTo>
                <a:close/>
              </a:path>
            </a:pathLst>
          </a:cu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41" name="Text Placeholder 22">
            <a:extLst>
              <a:ext uri="{FF2B5EF4-FFF2-40B4-BE49-F238E27FC236}">
                <a16:creationId xmlns:a16="http://schemas.microsoft.com/office/drawing/2014/main" id="{99169826-4FD7-477D-A963-5D0AFF31E70B}"/>
              </a:ext>
            </a:extLst>
          </p:cNvPr>
          <p:cNvSpPr>
            <a:spLocks noGrp="1"/>
          </p:cNvSpPr>
          <p:nvPr userDrawn="1">
            <p:ph type="body" sz="quarter" idx="11" hasCustomPrompt="1"/>
          </p:nvPr>
        </p:nvSpPr>
        <p:spPr>
          <a:xfrm>
            <a:off x="457199" y="370296"/>
            <a:ext cx="5638801" cy="533400"/>
          </a:xfrm>
          <a:prstGeom prst="rect">
            <a:avLst/>
          </a:prstGeom>
        </p:spPr>
        <p:txBody>
          <a:bodyPr lIns="0" anchor="t"/>
          <a:lstStyle>
            <a:lvl1pPr marL="0" indent="0">
              <a:buNone/>
              <a:defRPr sz="3200">
                <a:solidFill>
                  <a:schemeClr val="bg1"/>
                </a:solidFill>
                <a:latin typeface="+mn-lt"/>
                <a:ea typeface="Cambria" panose="02040503050406030204" pitchFamily="18" charset="0"/>
              </a:defRPr>
            </a:lvl1pPr>
          </a:lstStyle>
          <a:p>
            <a:pPr lvl="0"/>
            <a:r>
              <a:rPr lang="en-US" dirty="0"/>
              <a:t>Agenda</a:t>
            </a:r>
          </a:p>
        </p:txBody>
      </p:sp>
      <p:sp>
        <p:nvSpPr>
          <p:cNvPr id="29" name="Freeform: Shape 28">
            <a:extLst>
              <a:ext uri="{FF2B5EF4-FFF2-40B4-BE49-F238E27FC236}">
                <a16:creationId xmlns:a16="http://schemas.microsoft.com/office/drawing/2014/main" id="{2EA99EAF-DE5F-49FE-8F2D-D38766513AEB}"/>
              </a:ext>
            </a:extLst>
          </p:cNvPr>
          <p:cNvSpPr/>
          <p:nvPr userDrawn="1"/>
        </p:nvSpPr>
        <p:spPr>
          <a:xfrm>
            <a:off x="9564369" y="2294763"/>
            <a:ext cx="2627631" cy="3649124"/>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2"/>
              </a:gs>
              <a:gs pos="92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391"/>
            <a:endParaRPr lang="en-US">
              <a:latin typeface="+mn-lt"/>
            </a:endParaRPr>
          </a:p>
        </p:txBody>
      </p:sp>
      <p:sp>
        <p:nvSpPr>
          <p:cNvPr id="26" name="Freeform: Shape 25">
            <a:extLst>
              <a:ext uri="{FF2B5EF4-FFF2-40B4-BE49-F238E27FC236}">
                <a16:creationId xmlns:a16="http://schemas.microsoft.com/office/drawing/2014/main" id="{9B2D78C8-D80E-44EC-9352-47BA41DDD9C9}"/>
              </a:ext>
            </a:extLst>
          </p:cNvPr>
          <p:cNvSpPr/>
          <p:nvPr userDrawn="1"/>
        </p:nvSpPr>
        <p:spPr>
          <a:xfrm>
            <a:off x="6757989" y="0"/>
            <a:ext cx="5434010" cy="3791920"/>
          </a:xfrm>
          <a:custGeom>
            <a:avLst/>
            <a:gdLst>
              <a:gd name="connsiteX0" fmla="*/ 0 w 8204200"/>
              <a:gd name="connsiteY0" fmla="*/ 0 h 5753100"/>
              <a:gd name="connsiteX1" fmla="*/ 8204200 w 8204200"/>
              <a:gd name="connsiteY1" fmla="*/ 5753100 h 5753100"/>
              <a:gd name="connsiteX2" fmla="*/ 8204200 w 8204200"/>
              <a:gd name="connsiteY2" fmla="*/ 25400 h 5753100"/>
              <a:gd name="connsiteX3" fmla="*/ 0 w 8204200"/>
              <a:gd name="connsiteY3" fmla="*/ 0 h 5753100"/>
              <a:gd name="connsiteX0" fmla="*/ 0 w 8204200"/>
              <a:gd name="connsiteY0" fmla="*/ 12700 h 5765800"/>
              <a:gd name="connsiteX1" fmla="*/ 8204200 w 8204200"/>
              <a:gd name="connsiteY1" fmla="*/ 5765800 h 5765800"/>
              <a:gd name="connsiteX2" fmla="*/ 8204200 w 8204200"/>
              <a:gd name="connsiteY2" fmla="*/ 0 h 5765800"/>
              <a:gd name="connsiteX3" fmla="*/ 0 w 8204200"/>
              <a:gd name="connsiteY3" fmla="*/ 12700 h 5765800"/>
              <a:gd name="connsiteX0" fmla="*/ 0 w 8204200"/>
              <a:gd name="connsiteY0" fmla="*/ 0 h 5765800"/>
              <a:gd name="connsiteX1" fmla="*/ 8204200 w 8204200"/>
              <a:gd name="connsiteY1" fmla="*/ 5765800 h 5765800"/>
              <a:gd name="connsiteX2" fmla="*/ 8204200 w 8204200"/>
              <a:gd name="connsiteY2" fmla="*/ 0 h 5765800"/>
              <a:gd name="connsiteX3" fmla="*/ 0 w 8204200"/>
              <a:gd name="connsiteY3" fmla="*/ 0 h 5765800"/>
              <a:gd name="connsiteX0" fmla="*/ 0 w 8204200"/>
              <a:gd name="connsiteY0" fmla="*/ 0 h 5724995"/>
              <a:gd name="connsiteX1" fmla="*/ 8204200 w 8204200"/>
              <a:gd name="connsiteY1" fmla="*/ 5724995 h 5724995"/>
              <a:gd name="connsiteX2" fmla="*/ 8204200 w 8204200"/>
              <a:gd name="connsiteY2" fmla="*/ 0 h 5724995"/>
              <a:gd name="connsiteX3" fmla="*/ 0 w 8204200"/>
              <a:gd name="connsiteY3" fmla="*/ 0 h 5724995"/>
            </a:gdLst>
            <a:ahLst/>
            <a:cxnLst>
              <a:cxn ang="0">
                <a:pos x="connsiteX0" y="connsiteY0"/>
              </a:cxn>
              <a:cxn ang="0">
                <a:pos x="connsiteX1" y="connsiteY1"/>
              </a:cxn>
              <a:cxn ang="0">
                <a:pos x="connsiteX2" y="connsiteY2"/>
              </a:cxn>
              <a:cxn ang="0">
                <a:pos x="connsiteX3" y="connsiteY3"/>
              </a:cxn>
            </a:cxnLst>
            <a:rect l="l" t="t" r="r" b="b"/>
            <a:pathLst>
              <a:path w="8204200" h="5724995">
                <a:moveTo>
                  <a:pt x="0" y="0"/>
                </a:moveTo>
                <a:lnTo>
                  <a:pt x="8204200" y="5724995"/>
                </a:lnTo>
                <a:lnTo>
                  <a:pt x="8204200" y="0"/>
                </a:lnTo>
                <a:lnTo>
                  <a:pt x="0" y="0"/>
                </a:lnTo>
                <a:close/>
              </a:path>
            </a:pathLst>
          </a:custGeom>
          <a:gradFill>
            <a:gsLst>
              <a:gs pos="100000">
                <a:schemeClr val="accent1">
                  <a:alpha val="25000"/>
                </a:schemeClr>
              </a:gs>
              <a:gs pos="8000">
                <a:schemeClr val="bg2">
                  <a:alpha val="4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mn-lt"/>
            </a:endParaRPr>
          </a:p>
        </p:txBody>
      </p:sp>
      <p:sp>
        <p:nvSpPr>
          <p:cNvPr id="27" name="Freeform: Shape 26">
            <a:extLst>
              <a:ext uri="{FF2B5EF4-FFF2-40B4-BE49-F238E27FC236}">
                <a16:creationId xmlns:a16="http://schemas.microsoft.com/office/drawing/2014/main" id="{16C71076-988E-4C20-8453-C92DDA2EC7F6}"/>
              </a:ext>
            </a:extLst>
          </p:cNvPr>
          <p:cNvSpPr/>
          <p:nvPr userDrawn="1"/>
        </p:nvSpPr>
        <p:spPr>
          <a:xfrm>
            <a:off x="8350916" y="5373"/>
            <a:ext cx="3841084" cy="4348045"/>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1125" h="4438650">
                <a:moveTo>
                  <a:pt x="0" y="0"/>
                </a:moveTo>
                <a:lnTo>
                  <a:pt x="2641600" y="1784350"/>
                </a:lnTo>
                <a:lnTo>
                  <a:pt x="1384300" y="2673350"/>
                </a:lnTo>
                <a:lnTo>
                  <a:pt x="3911600" y="4438650"/>
                </a:lnTo>
                <a:lnTo>
                  <a:pt x="3921125" y="6350"/>
                </a:lnTo>
                <a:lnTo>
                  <a:pt x="0" y="0"/>
                </a:lnTo>
                <a:close/>
              </a:path>
            </a:pathLst>
          </a:custGeom>
          <a:gradFill>
            <a:gsLst>
              <a:gs pos="20000">
                <a:schemeClr val="accent1"/>
              </a:gs>
              <a:gs pos="75000">
                <a:schemeClr val="accent1">
                  <a:alpha val="33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391"/>
            <a:endParaRPr lang="en-US">
              <a:latin typeface="+mn-lt"/>
            </a:endParaRPr>
          </a:p>
        </p:txBody>
      </p:sp>
      <p:sp>
        <p:nvSpPr>
          <p:cNvPr id="59" name="Title 4">
            <a:extLst>
              <a:ext uri="{FF2B5EF4-FFF2-40B4-BE49-F238E27FC236}">
                <a16:creationId xmlns:a16="http://schemas.microsoft.com/office/drawing/2014/main" id="{90104BC6-5059-41E3-85C1-7B019DBCC6EB}"/>
              </a:ext>
            </a:extLst>
          </p:cNvPr>
          <p:cNvSpPr txBox="1">
            <a:spLocks/>
          </p:cNvSpPr>
          <p:nvPr userDrawn="1"/>
        </p:nvSpPr>
        <p:spPr>
          <a:xfrm>
            <a:off x="728219" y="6436977"/>
            <a:ext cx="2319251" cy="190848"/>
          </a:xfrm>
          <a:prstGeom prst="rect">
            <a:avLst/>
          </a:prstGeom>
        </p:spPr>
        <p:txBody>
          <a:bodyPr lIns="0" tIns="0" rIns="0" bIns="0" anchor="ctr"/>
          <a:lstStyle>
            <a:lvl1pPr algn="l" defTabSz="914400" rtl="0" eaLnBrk="1" latinLnBrk="0" hangingPunct="1">
              <a:lnSpc>
                <a:spcPct val="90000"/>
              </a:lnSpc>
              <a:spcBef>
                <a:spcPct val="0"/>
              </a:spcBef>
              <a:buNone/>
              <a:defRPr sz="3000" kern="1200">
                <a:solidFill>
                  <a:srgbClr val="053061"/>
                </a:solidFill>
                <a:latin typeface="Georgia" charset="0"/>
                <a:ea typeface="Georgia" charset="0"/>
                <a:cs typeface="Georgia" charset="0"/>
              </a:defRPr>
            </a:lvl1pPr>
          </a:lstStyle>
          <a:p>
            <a:r>
              <a:rPr lang="en-US" sz="800" dirty="0">
                <a:solidFill>
                  <a:schemeClr val="bg1"/>
                </a:solidFill>
                <a:latin typeface="+mn-lt"/>
                <a:ea typeface="Cambria" panose="02040503050406030204" pitchFamily="18" charset="0"/>
                <a:cs typeface="Calibri" charset="0"/>
              </a:rPr>
              <a:t>® 2021 Copyright Genpact. All Rights Reserved.</a:t>
            </a:r>
          </a:p>
        </p:txBody>
      </p:sp>
      <p:sp>
        <p:nvSpPr>
          <p:cNvPr id="60" name="Slide Number Placeholder 5">
            <a:extLst>
              <a:ext uri="{FF2B5EF4-FFF2-40B4-BE49-F238E27FC236}">
                <a16:creationId xmlns:a16="http://schemas.microsoft.com/office/drawing/2014/main" id="{7D986E72-138A-4F18-BE0F-C4871FE335B2}"/>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1"/>
                </a:solidFill>
                <a:latin typeface="+mn-lt"/>
                <a:ea typeface="Cambria" panose="02040503050406030204" pitchFamily="18" charset="0"/>
              </a:rPr>
              <a:pPr algn="l"/>
              <a:t>‹#›</a:t>
            </a:fld>
            <a:endParaRPr lang="en-US" b="1" dirty="0">
              <a:solidFill>
                <a:schemeClr val="bg1"/>
              </a:solidFill>
              <a:latin typeface="+mn-lt"/>
              <a:ea typeface="Cambria" panose="02040503050406030204" pitchFamily="18" charset="0"/>
            </a:endParaRPr>
          </a:p>
        </p:txBody>
      </p:sp>
      <p:pic>
        <p:nvPicPr>
          <p:cNvPr id="11" name="Picture 10">
            <a:extLst>
              <a:ext uri="{FF2B5EF4-FFF2-40B4-BE49-F238E27FC236}">
                <a16:creationId xmlns:a16="http://schemas.microsoft.com/office/drawing/2014/main" id="{4C6F0166-758C-47D3-AF14-B72715282B8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7540"/>
            <a:ext cx="12193200" cy="6865540"/>
          </a:xfrm>
          <a:prstGeom prst="rect">
            <a:avLst/>
          </a:prstGeom>
        </p:spPr>
      </p:pic>
      <p:pic>
        <p:nvPicPr>
          <p:cNvPr id="12" name="Picture 2">
            <a:extLst>
              <a:ext uri="{FF2B5EF4-FFF2-40B4-BE49-F238E27FC236}">
                <a16:creationId xmlns:a16="http://schemas.microsoft.com/office/drawing/2014/main" id="{C61C1543-156C-40B1-85D3-F339D116CC0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5265545"/>
      </p:ext>
    </p:extLst>
  </p:cSld>
  <p:clrMapOvr>
    <a:masterClrMapping/>
  </p:clrMapOvr>
  <p:extLst>
    <p:ext uri="{DCECCB84-F9BA-43D5-87BE-67443E8EF086}">
      <p15:sldGuideLst xmlns:p15="http://schemas.microsoft.com/office/powerpoint/2012/main">
        <p15:guide id="1" pos="279">
          <p15:clr>
            <a:srgbClr val="FBAE40"/>
          </p15:clr>
        </p15:guide>
        <p15:guide id="2" pos="7401">
          <p15:clr>
            <a:srgbClr val="FBAE40"/>
          </p15:clr>
        </p15:guide>
        <p15:guide id="3" orient="horz" pos="232">
          <p15:clr>
            <a:srgbClr val="FBAE40"/>
          </p15:clr>
        </p15:guide>
        <p15:guide id="4" orient="horz" pos="40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ide Divider Option 2">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37363E61-7CF1-A94D-B206-5B49A9CC194D}"/>
              </a:ext>
            </a:extLst>
          </p:cNvPr>
          <p:cNvSpPr>
            <a:spLocks noGrp="1"/>
          </p:cNvSpPr>
          <p:nvPr>
            <p:ph type="pic" sz="quarter" idx="10"/>
          </p:nvPr>
        </p:nvSpPr>
        <p:spPr>
          <a:xfrm>
            <a:off x="2528966" y="141209"/>
            <a:ext cx="9663034" cy="6716791"/>
          </a:xfrm>
          <a:custGeom>
            <a:avLst/>
            <a:gdLst>
              <a:gd name="connsiteX0" fmla="*/ 9663034 w 9663034"/>
              <a:gd name="connsiteY0" fmla="*/ 0 h 6716791"/>
              <a:gd name="connsiteX1" fmla="*/ 9663034 w 9663034"/>
              <a:gd name="connsiteY1" fmla="*/ 4814575 h 6716791"/>
              <a:gd name="connsiteX2" fmla="*/ 6941731 w 9663034"/>
              <a:gd name="connsiteY2" fmla="*/ 6716791 h 6716791"/>
              <a:gd name="connsiteX3" fmla="*/ 0 w 9663034"/>
              <a:gd name="connsiteY3" fmla="*/ 6716791 h 6716791"/>
            </a:gdLst>
            <a:ahLst/>
            <a:cxnLst>
              <a:cxn ang="0">
                <a:pos x="connsiteX0" y="connsiteY0"/>
              </a:cxn>
              <a:cxn ang="0">
                <a:pos x="connsiteX1" y="connsiteY1"/>
              </a:cxn>
              <a:cxn ang="0">
                <a:pos x="connsiteX2" y="connsiteY2"/>
              </a:cxn>
              <a:cxn ang="0">
                <a:pos x="connsiteX3" y="connsiteY3"/>
              </a:cxn>
            </a:cxnLst>
            <a:rect l="l" t="t" r="r" b="b"/>
            <a:pathLst>
              <a:path w="9663034" h="6716791">
                <a:moveTo>
                  <a:pt x="9663034" y="0"/>
                </a:moveTo>
                <a:lnTo>
                  <a:pt x="9663034" y="4814575"/>
                </a:lnTo>
                <a:lnTo>
                  <a:pt x="6941731" y="6716791"/>
                </a:lnTo>
                <a:lnTo>
                  <a:pt x="0" y="6716791"/>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57199" y="2645439"/>
            <a:ext cx="5986800" cy="579600"/>
          </a:xfrm>
          <a:prstGeom prst="rect">
            <a:avLst/>
          </a:prstGeom>
        </p:spPr>
        <p:txBody>
          <a:bodyPr lIns="0" anchor="t">
            <a:noAutofit/>
          </a:bodyPr>
          <a:lstStyle>
            <a:lvl1pPr marL="0" indent="0">
              <a:buNone/>
              <a:defRPr sz="1600">
                <a:solidFill>
                  <a:schemeClr val="tx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sp>
        <p:nvSpPr>
          <p:cNvPr id="15" name="Title 1">
            <a:extLst>
              <a:ext uri="{FF2B5EF4-FFF2-40B4-BE49-F238E27FC236}">
                <a16:creationId xmlns:a16="http://schemas.microsoft.com/office/drawing/2014/main" id="{EB28338C-0118-4339-8B11-1628D97DA4BA}"/>
              </a:ext>
            </a:extLst>
          </p:cNvPr>
          <p:cNvSpPr>
            <a:spLocks noGrp="1"/>
          </p:cNvSpPr>
          <p:nvPr>
            <p:ph type="title" hasCustomPrompt="1"/>
          </p:nvPr>
        </p:nvSpPr>
        <p:spPr>
          <a:xfrm>
            <a:off x="460744" y="1232704"/>
            <a:ext cx="5983255" cy="970378"/>
          </a:xfrm>
          <a:prstGeom prst="rect">
            <a:avLst/>
          </a:prstGeom>
        </p:spPr>
        <p:txBody>
          <a:bodyPr vert="horz" lIns="0" tIns="0" rIns="0" bIns="0" rtlCol="0" anchor="b">
            <a:noAutofit/>
          </a:bodyPr>
          <a:lstStyle>
            <a:lvl1pPr>
              <a:defRPr lang="en-GB" sz="4000" dirty="0" smtClean="0">
                <a:solidFill>
                  <a:schemeClr val="tx1"/>
                </a:solidFill>
              </a:defRPr>
            </a:lvl1pPr>
          </a:lstStyle>
          <a:p>
            <a:pPr marR="0" lvl="0" fontAlgn="auto">
              <a:lnSpc>
                <a:spcPct val="90000"/>
              </a:lnSpc>
              <a:spcBef>
                <a:spcPts val="1000"/>
              </a:spcBef>
              <a:spcAft>
                <a:spcPts val="0"/>
              </a:spcAft>
              <a:buClrTx/>
              <a:buSzTx/>
              <a:tabLst/>
            </a:pPr>
            <a:r>
              <a:rPr lang="en-US" dirty="0"/>
              <a:t>Slide divider option-2</a:t>
            </a:r>
            <a:endParaRPr lang="en-GB" dirty="0"/>
          </a:p>
        </p:txBody>
      </p:sp>
      <p:sp>
        <p:nvSpPr>
          <p:cNvPr id="19" name="Freeform 17">
            <a:extLst>
              <a:ext uri="{FF2B5EF4-FFF2-40B4-BE49-F238E27FC236}">
                <a16:creationId xmlns:a16="http://schemas.microsoft.com/office/drawing/2014/main" id="{8AAF5C74-629F-40FE-8A11-11DE7262969F}"/>
              </a:ext>
            </a:extLst>
          </p:cNvPr>
          <p:cNvSpPr/>
          <p:nvPr userDrawn="1"/>
        </p:nvSpPr>
        <p:spPr>
          <a:xfrm>
            <a:off x="0" y="4910678"/>
            <a:ext cx="4279900" cy="1947322"/>
          </a:xfrm>
          <a:custGeom>
            <a:avLst/>
            <a:gdLst>
              <a:gd name="connsiteX0" fmla="*/ 1467015 w 4279900"/>
              <a:gd name="connsiteY0" fmla="*/ 0 h 1947322"/>
              <a:gd name="connsiteX1" fmla="*/ 4279900 w 4279900"/>
              <a:gd name="connsiteY1" fmla="*/ 1947322 h 1947322"/>
              <a:gd name="connsiteX2" fmla="*/ 0 w 4279900"/>
              <a:gd name="connsiteY2" fmla="*/ 1947322 h 1947322"/>
              <a:gd name="connsiteX3" fmla="*/ 0 w 4279900"/>
              <a:gd name="connsiteY3" fmla="*/ 1020577 h 1947322"/>
            </a:gdLst>
            <a:ahLst/>
            <a:cxnLst>
              <a:cxn ang="0">
                <a:pos x="connsiteX0" y="connsiteY0"/>
              </a:cxn>
              <a:cxn ang="0">
                <a:pos x="connsiteX1" y="connsiteY1"/>
              </a:cxn>
              <a:cxn ang="0">
                <a:pos x="connsiteX2" y="connsiteY2"/>
              </a:cxn>
              <a:cxn ang="0">
                <a:pos x="connsiteX3" y="connsiteY3"/>
              </a:cxn>
            </a:cxnLst>
            <a:rect l="l" t="t" r="r" b="b"/>
            <a:pathLst>
              <a:path w="4279900" h="1947322">
                <a:moveTo>
                  <a:pt x="1467015" y="0"/>
                </a:moveTo>
                <a:lnTo>
                  <a:pt x="4279900" y="1947322"/>
                </a:lnTo>
                <a:lnTo>
                  <a:pt x="0" y="1947322"/>
                </a:lnTo>
                <a:lnTo>
                  <a:pt x="0" y="1020577"/>
                </a:lnTo>
                <a:close/>
              </a:path>
            </a:pathLst>
          </a:custGeom>
          <a:gradFill>
            <a:gsLst>
              <a:gs pos="0">
                <a:srgbClr val="FF555F"/>
              </a:gs>
              <a:gs pos="93000">
                <a:srgbClr val="FF555F">
                  <a:alpha val="0"/>
                </a:srgbClr>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21" name="Freeform 23">
            <a:extLst>
              <a:ext uri="{FF2B5EF4-FFF2-40B4-BE49-F238E27FC236}">
                <a16:creationId xmlns:a16="http://schemas.microsoft.com/office/drawing/2014/main" id="{D85993E9-D6C7-4C08-8D88-C75211ED5229}"/>
              </a:ext>
            </a:extLst>
          </p:cNvPr>
          <p:cNvSpPr/>
          <p:nvPr userDrawn="1"/>
        </p:nvSpPr>
        <p:spPr>
          <a:xfrm>
            <a:off x="1745857" y="5440650"/>
            <a:ext cx="2442751" cy="1417350"/>
          </a:xfrm>
          <a:custGeom>
            <a:avLst/>
            <a:gdLst>
              <a:gd name="connsiteX0" fmla="*/ 2031703 w 2442751"/>
              <a:gd name="connsiteY0" fmla="*/ 0 h 1417350"/>
              <a:gd name="connsiteX1" fmla="*/ 2442751 w 2442751"/>
              <a:gd name="connsiteY1" fmla="*/ 267995 h 1417350"/>
              <a:gd name="connsiteX2" fmla="*/ 783199 w 2442751"/>
              <a:gd name="connsiteY2" fmla="*/ 1417350 h 1417350"/>
              <a:gd name="connsiteX3" fmla="*/ 0 w 2442751"/>
              <a:gd name="connsiteY3" fmla="*/ 1417350 h 1417350"/>
            </a:gdLst>
            <a:ahLst/>
            <a:cxnLst>
              <a:cxn ang="0">
                <a:pos x="connsiteX0" y="connsiteY0"/>
              </a:cxn>
              <a:cxn ang="0">
                <a:pos x="connsiteX1" y="connsiteY1"/>
              </a:cxn>
              <a:cxn ang="0">
                <a:pos x="connsiteX2" y="connsiteY2"/>
              </a:cxn>
              <a:cxn ang="0">
                <a:pos x="connsiteX3" y="connsiteY3"/>
              </a:cxn>
            </a:cxnLst>
            <a:rect l="l" t="t" r="r" b="b"/>
            <a:pathLst>
              <a:path w="2442751" h="1417350">
                <a:moveTo>
                  <a:pt x="2031703" y="0"/>
                </a:moveTo>
                <a:lnTo>
                  <a:pt x="2442751" y="267995"/>
                </a:lnTo>
                <a:lnTo>
                  <a:pt x="783199" y="1417350"/>
                </a:lnTo>
                <a:lnTo>
                  <a:pt x="0" y="1417350"/>
                </a:lnTo>
                <a:close/>
              </a:path>
            </a:pathLst>
          </a:custGeom>
          <a:gradFill>
            <a:gsLst>
              <a:gs pos="0">
                <a:srgbClr val="00AECF"/>
              </a:gs>
              <a:gs pos="89000">
                <a:srgbClr val="00AECF">
                  <a:alpha val="0"/>
                </a:srgbClr>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22" name="Freeform 28">
            <a:extLst>
              <a:ext uri="{FF2B5EF4-FFF2-40B4-BE49-F238E27FC236}">
                <a16:creationId xmlns:a16="http://schemas.microsoft.com/office/drawing/2014/main" id="{A051EA78-00F8-4594-925A-A13002B2BF29}"/>
              </a:ext>
            </a:extLst>
          </p:cNvPr>
          <p:cNvSpPr/>
          <p:nvPr userDrawn="1"/>
        </p:nvSpPr>
        <p:spPr>
          <a:xfrm rot="10800000">
            <a:off x="9763185" y="-1"/>
            <a:ext cx="2428815" cy="1426848"/>
          </a:xfrm>
          <a:custGeom>
            <a:avLst/>
            <a:gdLst>
              <a:gd name="connsiteX0" fmla="*/ 991465 w 2428815"/>
              <a:gd name="connsiteY0" fmla="*/ 1426848 h 1426848"/>
              <a:gd name="connsiteX1" fmla="*/ 0 w 2428815"/>
              <a:gd name="connsiteY1" fmla="*/ 1426848 h 1426848"/>
              <a:gd name="connsiteX2" fmla="*/ 0 w 2428815"/>
              <a:gd name="connsiteY2" fmla="*/ 1283606 h 1426848"/>
              <a:gd name="connsiteX3" fmla="*/ 1845489 w 2428815"/>
              <a:gd name="connsiteY3" fmla="*/ 0 h 1426848"/>
              <a:gd name="connsiteX4" fmla="*/ 2428815 w 2428815"/>
              <a:gd name="connsiteY4" fmla="*/ 399380 h 1426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8815" h="1426848">
                <a:moveTo>
                  <a:pt x="991465" y="1426848"/>
                </a:moveTo>
                <a:lnTo>
                  <a:pt x="0" y="1426848"/>
                </a:lnTo>
                <a:lnTo>
                  <a:pt x="0" y="1283606"/>
                </a:lnTo>
                <a:lnTo>
                  <a:pt x="1845489" y="0"/>
                </a:lnTo>
                <a:lnTo>
                  <a:pt x="2428815" y="399380"/>
                </a:lnTo>
                <a:close/>
              </a:path>
            </a:pathLst>
          </a:custGeom>
          <a:gradFill>
            <a:gsLst>
              <a:gs pos="0">
                <a:srgbClr val="FF555F"/>
              </a:gs>
              <a:gs pos="89000">
                <a:srgbClr val="FF555F">
                  <a:alpha val="0"/>
                </a:srgbClr>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14" name="Footer Placeholder 3">
            <a:extLst>
              <a:ext uri="{FF2B5EF4-FFF2-40B4-BE49-F238E27FC236}">
                <a16:creationId xmlns:a16="http://schemas.microsoft.com/office/drawing/2014/main" id="{08964F2C-66D2-2D42-BC61-BC06971F043C}"/>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1"/>
                </a:solidFill>
              </a:defRPr>
            </a:lvl1pPr>
          </a:lstStyle>
          <a:p>
            <a:r>
              <a:rPr lang="en-US" dirty="0">
                <a:ea typeface="Cambria" panose="02040503050406030204" pitchFamily="18" charset="0"/>
                <a:cs typeface="Calibri" charset="0"/>
              </a:rPr>
              <a:t>® 2021 Copyright Genpact. All Rights Reserved.</a:t>
            </a:r>
          </a:p>
        </p:txBody>
      </p:sp>
      <p:cxnSp>
        <p:nvCxnSpPr>
          <p:cNvPr id="13" name="Straight Connector 12">
            <a:extLst>
              <a:ext uri="{FF2B5EF4-FFF2-40B4-BE49-F238E27FC236}">
                <a16:creationId xmlns:a16="http://schemas.microsoft.com/office/drawing/2014/main" id="{62F143B0-C82E-46C5-B40F-B959591241C8}"/>
              </a:ext>
            </a:extLst>
          </p:cNvPr>
          <p:cNvCxnSpPr>
            <a:cxnSpLocks/>
          </p:cNvCxnSpPr>
          <p:nvPr userDrawn="1"/>
        </p:nvCxnSpPr>
        <p:spPr>
          <a:xfrm>
            <a:off x="457199" y="2424260"/>
            <a:ext cx="6477001" cy="0"/>
          </a:xfrm>
          <a:prstGeom prst="line">
            <a:avLst/>
          </a:prstGeom>
          <a:ln w="22225" cap="rnd">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6" name="Picture 2">
            <a:extLst>
              <a:ext uri="{FF2B5EF4-FFF2-40B4-BE49-F238E27FC236}">
                <a16:creationId xmlns:a16="http://schemas.microsoft.com/office/drawing/2014/main" id="{3DEA7CB0-F6D6-4DBD-95AA-553AF1C6E58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990597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lide Divider Option 2">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971836C-F710-4B07-8DD3-32801BAE36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540"/>
            <a:ext cx="12193200" cy="6865540"/>
          </a:xfrm>
          <a:prstGeom prst="rect">
            <a:avLst/>
          </a:prstGeom>
        </p:spPr>
      </p:pic>
      <p:sp>
        <p:nvSpPr>
          <p:cNvPr id="20" name="Picture Placeholder 19">
            <a:extLst>
              <a:ext uri="{FF2B5EF4-FFF2-40B4-BE49-F238E27FC236}">
                <a16:creationId xmlns:a16="http://schemas.microsoft.com/office/drawing/2014/main" id="{37363E61-7CF1-A94D-B206-5B49A9CC194D}"/>
              </a:ext>
            </a:extLst>
          </p:cNvPr>
          <p:cNvSpPr>
            <a:spLocks noGrp="1"/>
          </p:cNvSpPr>
          <p:nvPr>
            <p:ph type="pic" sz="quarter" idx="10"/>
          </p:nvPr>
        </p:nvSpPr>
        <p:spPr>
          <a:xfrm>
            <a:off x="2528966" y="141209"/>
            <a:ext cx="9663034" cy="6716791"/>
          </a:xfrm>
          <a:custGeom>
            <a:avLst/>
            <a:gdLst>
              <a:gd name="connsiteX0" fmla="*/ 9663034 w 9663034"/>
              <a:gd name="connsiteY0" fmla="*/ 0 h 6716791"/>
              <a:gd name="connsiteX1" fmla="*/ 9663034 w 9663034"/>
              <a:gd name="connsiteY1" fmla="*/ 4814575 h 6716791"/>
              <a:gd name="connsiteX2" fmla="*/ 6941731 w 9663034"/>
              <a:gd name="connsiteY2" fmla="*/ 6716791 h 6716791"/>
              <a:gd name="connsiteX3" fmla="*/ 0 w 9663034"/>
              <a:gd name="connsiteY3" fmla="*/ 6716791 h 6716791"/>
            </a:gdLst>
            <a:ahLst/>
            <a:cxnLst>
              <a:cxn ang="0">
                <a:pos x="connsiteX0" y="connsiteY0"/>
              </a:cxn>
              <a:cxn ang="0">
                <a:pos x="connsiteX1" y="connsiteY1"/>
              </a:cxn>
              <a:cxn ang="0">
                <a:pos x="connsiteX2" y="connsiteY2"/>
              </a:cxn>
              <a:cxn ang="0">
                <a:pos x="connsiteX3" y="connsiteY3"/>
              </a:cxn>
            </a:cxnLst>
            <a:rect l="l" t="t" r="r" b="b"/>
            <a:pathLst>
              <a:path w="9663034" h="6716791">
                <a:moveTo>
                  <a:pt x="9663034" y="0"/>
                </a:moveTo>
                <a:lnTo>
                  <a:pt x="9663034" y="4814575"/>
                </a:lnTo>
                <a:lnTo>
                  <a:pt x="6941731" y="6716791"/>
                </a:lnTo>
                <a:lnTo>
                  <a:pt x="0" y="6716791"/>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sp>
        <p:nvSpPr>
          <p:cNvPr id="19" name="Freeform 17">
            <a:extLst>
              <a:ext uri="{FF2B5EF4-FFF2-40B4-BE49-F238E27FC236}">
                <a16:creationId xmlns:a16="http://schemas.microsoft.com/office/drawing/2014/main" id="{8AAF5C74-629F-40FE-8A11-11DE7262969F}"/>
              </a:ext>
            </a:extLst>
          </p:cNvPr>
          <p:cNvSpPr/>
          <p:nvPr userDrawn="1"/>
        </p:nvSpPr>
        <p:spPr>
          <a:xfrm>
            <a:off x="0" y="4910678"/>
            <a:ext cx="4279900" cy="1947322"/>
          </a:xfrm>
          <a:custGeom>
            <a:avLst/>
            <a:gdLst>
              <a:gd name="connsiteX0" fmla="*/ 1467015 w 4279900"/>
              <a:gd name="connsiteY0" fmla="*/ 0 h 1947322"/>
              <a:gd name="connsiteX1" fmla="*/ 4279900 w 4279900"/>
              <a:gd name="connsiteY1" fmla="*/ 1947322 h 1947322"/>
              <a:gd name="connsiteX2" fmla="*/ 0 w 4279900"/>
              <a:gd name="connsiteY2" fmla="*/ 1947322 h 1947322"/>
              <a:gd name="connsiteX3" fmla="*/ 0 w 4279900"/>
              <a:gd name="connsiteY3" fmla="*/ 1020577 h 1947322"/>
            </a:gdLst>
            <a:ahLst/>
            <a:cxnLst>
              <a:cxn ang="0">
                <a:pos x="connsiteX0" y="connsiteY0"/>
              </a:cxn>
              <a:cxn ang="0">
                <a:pos x="connsiteX1" y="connsiteY1"/>
              </a:cxn>
              <a:cxn ang="0">
                <a:pos x="connsiteX2" y="connsiteY2"/>
              </a:cxn>
              <a:cxn ang="0">
                <a:pos x="connsiteX3" y="connsiteY3"/>
              </a:cxn>
            </a:cxnLst>
            <a:rect l="l" t="t" r="r" b="b"/>
            <a:pathLst>
              <a:path w="4279900" h="1947322">
                <a:moveTo>
                  <a:pt x="1467015" y="0"/>
                </a:moveTo>
                <a:lnTo>
                  <a:pt x="4279900" y="1947322"/>
                </a:lnTo>
                <a:lnTo>
                  <a:pt x="0" y="1947322"/>
                </a:lnTo>
                <a:lnTo>
                  <a:pt x="0" y="1020577"/>
                </a:lnTo>
                <a:close/>
              </a:path>
            </a:pathLst>
          </a:custGeom>
          <a:gradFill>
            <a:gsLst>
              <a:gs pos="0">
                <a:srgbClr val="FF555F"/>
              </a:gs>
              <a:gs pos="93000">
                <a:srgbClr val="FF555F">
                  <a:alpha val="0"/>
                </a:srgbClr>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21" name="Freeform 23">
            <a:extLst>
              <a:ext uri="{FF2B5EF4-FFF2-40B4-BE49-F238E27FC236}">
                <a16:creationId xmlns:a16="http://schemas.microsoft.com/office/drawing/2014/main" id="{D85993E9-D6C7-4C08-8D88-C75211ED5229}"/>
              </a:ext>
            </a:extLst>
          </p:cNvPr>
          <p:cNvSpPr/>
          <p:nvPr userDrawn="1"/>
        </p:nvSpPr>
        <p:spPr>
          <a:xfrm>
            <a:off x="1745857" y="5440650"/>
            <a:ext cx="2442751" cy="1417350"/>
          </a:xfrm>
          <a:custGeom>
            <a:avLst/>
            <a:gdLst>
              <a:gd name="connsiteX0" fmla="*/ 2031703 w 2442751"/>
              <a:gd name="connsiteY0" fmla="*/ 0 h 1417350"/>
              <a:gd name="connsiteX1" fmla="*/ 2442751 w 2442751"/>
              <a:gd name="connsiteY1" fmla="*/ 267995 h 1417350"/>
              <a:gd name="connsiteX2" fmla="*/ 783199 w 2442751"/>
              <a:gd name="connsiteY2" fmla="*/ 1417350 h 1417350"/>
              <a:gd name="connsiteX3" fmla="*/ 0 w 2442751"/>
              <a:gd name="connsiteY3" fmla="*/ 1417350 h 1417350"/>
            </a:gdLst>
            <a:ahLst/>
            <a:cxnLst>
              <a:cxn ang="0">
                <a:pos x="connsiteX0" y="connsiteY0"/>
              </a:cxn>
              <a:cxn ang="0">
                <a:pos x="connsiteX1" y="connsiteY1"/>
              </a:cxn>
              <a:cxn ang="0">
                <a:pos x="connsiteX2" y="connsiteY2"/>
              </a:cxn>
              <a:cxn ang="0">
                <a:pos x="connsiteX3" y="connsiteY3"/>
              </a:cxn>
            </a:cxnLst>
            <a:rect l="l" t="t" r="r" b="b"/>
            <a:pathLst>
              <a:path w="2442751" h="1417350">
                <a:moveTo>
                  <a:pt x="2031703" y="0"/>
                </a:moveTo>
                <a:lnTo>
                  <a:pt x="2442751" y="267995"/>
                </a:lnTo>
                <a:lnTo>
                  <a:pt x="783199" y="1417350"/>
                </a:lnTo>
                <a:lnTo>
                  <a:pt x="0" y="1417350"/>
                </a:lnTo>
                <a:close/>
              </a:path>
            </a:pathLst>
          </a:custGeom>
          <a:gradFill>
            <a:gsLst>
              <a:gs pos="0">
                <a:srgbClr val="00AECF"/>
              </a:gs>
              <a:gs pos="89000">
                <a:srgbClr val="00AECF">
                  <a:alpha val="0"/>
                </a:srgbClr>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22" name="Freeform 28">
            <a:extLst>
              <a:ext uri="{FF2B5EF4-FFF2-40B4-BE49-F238E27FC236}">
                <a16:creationId xmlns:a16="http://schemas.microsoft.com/office/drawing/2014/main" id="{A051EA78-00F8-4594-925A-A13002B2BF29}"/>
              </a:ext>
            </a:extLst>
          </p:cNvPr>
          <p:cNvSpPr/>
          <p:nvPr userDrawn="1"/>
        </p:nvSpPr>
        <p:spPr>
          <a:xfrm rot="10800000">
            <a:off x="9763185" y="-1"/>
            <a:ext cx="2428815" cy="1426848"/>
          </a:xfrm>
          <a:custGeom>
            <a:avLst/>
            <a:gdLst>
              <a:gd name="connsiteX0" fmla="*/ 991465 w 2428815"/>
              <a:gd name="connsiteY0" fmla="*/ 1426848 h 1426848"/>
              <a:gd name="connsiteX1" fmla="*/ 0 w 2428815"/>
              <a:gd name="connsiteY1" fmla="*/ 1426848 h 1426848"/>
              <a:gd name="connsiteX2" fmla="*/ 0 w 2428815"/>
              <a:gd name="connsiteY2" fmla="*/ 1283606 h 1426848"/>
              <a:gd name="connsiteX3" fmla="*/ 1845489 w 2428815"/>
              <a:gd name="connsiteY3" fmla="*/ 0 h 1426848"/>
              <a:gd name="connsiteX4" fmla="*/ 2428815 w 2428815"/>
              <a:gd name="connsiteY4" fmla="*/ 399380 h 1426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8815" h="1426848">
                <a:moveTo>
                  <a:pt x="991465" y="1426848"/>
                </a:moveTo>
                <a:lnTo>
                  <a:pt x="0" y="1426848"/>
                </a:lnTo>
                <a:lnTo>
                  <a:pt x="0" y="1283606"/>
                </a:lnTo>
                <a:lnTo>
                  <a:pt x="1845489" y="0"/>
                </a:lnTo>
                <a:lnTo>
                  <a:pt x="2428815" y="399380"/>
                </a:lnTo>
                <a:close/>
              </a:path>
            </a:pathLst>
          </a:custGeom>
          <a:gradFill>
            <a:gsLst>
              <a:gs pos="0">
                <a:srgbClr val="FF555F"/>
              </a:gs>
              <a:gs pos="89000">
                <a:srgbClr val="FF555F">
                  <a:alpha val="0"/>
                </a:srgbClr>
              </a:gs>
            </a:gsLst>
            <a:lin ang="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12" name="Slide Number Placeholder 5">
            <a:extLst>
              <a:ext uri="{FF2B5EF4-FFF2-40B4-BE49-F238E27FC236}">
                <a16:creationId xmlns:a16="http://schemas.microsoft.com/office/drawing/2014/main" id="{45F13918-72BE-A948-812C-7F1FA995E53A}"/>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1"/>
                </a:solidFill>
                <a:latin typeface="+mn-lt"/>
                <a:ea typeface="Cambria" panose="02040503050406030204" pitchFamily="18" charset="0"/>
              </a:rPr>
              <a:pPr algn="l"/>
              <a:t>‹#›</a:t>
            </a:fld>
            <a:endParaRPr lang="en-US" b="1" dirty="0">
              <a:solidFill>
                <a:schemeClr val="bg1"/>
              </a:solidFill>
              <a:latin typeface="+mn-lt"/>
              <a:ea typeface="Cambria" panose="02040503050406030204" pitchFamily="18" charset="0"/>
            </a:endParaRPr>
          </a:p>
        </p:txBody>
      </p:sp>
      <p:sp>
        <p:nvSpPr>
          <p:cNvPr id="14" name="Footer Placeholder 3">
            <a:extLst>
              <a:ext uri="{FF2B5EF4-FFF2-40B4-BE49-F238E27FC236}">
                <a16:creationId xmlns:a16="http://schemas.microsoft.com/office/drawing/2014/main" id="{08964F2C-66D2-2D42-BC61-BC06971F043C}"/>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1"/>
                </a:solidFill>
              </a:defRPr>
            </a:lvl1pPr>
          </a:lstStyle>
          <a:p>
            <a:r>
              <a:rPr lang="en-US" dirty="0">
                <a:ea typeface="Cambria" panose="02040503050406030204" pitchFamily="18" charset="0"/>
                <a:cs typeface="Calibri" charset="0"/>
              </a:rPr>
              <a:t>® 2021 Copyright Genpact. All Rights Reserved.</a:t>
            </a:r>
          </a:p>
        </p:txBody>
      </p:sp>
      <p:sp>
        <p:nvSpPr>
          <p:cNvPr id="23" name="Slide Number Placeholder 5">
            <a:extLst>
              <a:ext uri="{FF2B5EF4-FFF2-40B4-BE49-F238E27FC236}">
                <a16:creationId xmlns:a16="http://schemas.microsoft.com/office/drawing/2014/main" id="{ADC32E83-7051-4988-BCEB-BB52366F78B7}"/>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1"/>
                </a:solidFill>
                <a:latin typeface="+mn-lt"/>
                <a:ea typeface="Cambria" panose="02040503050406030204" pitchFamily="18" charset="0"/>
              </a:rPr>
              <a:pPr algn="l"/>
              <a:t>‹#›</a:t>
            </a:fld>
            <a:endParaRPr lang="en-US" b="1" dirty="0">
              <a:solidFill>
                <a:schemeClr val="bg1"/>
              </a:solidFill>
              <a:latin typeface="+mn-lt"/>
              <a:ea typeface="Cambria" panose="02040503050406030204" pitchFamily="18" charset="0"/>
            </a:endParaRPr>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57199" y="2645439"/>
            <a:ext cx="5986800" cy="579600"/>
          </a:xfrm>
          <a:prstGeom prst="rect">
            <a:avLst/>
          </a:prstGeom>
        </p:spPr>
        <p:txBody>
          <a:bodyPr lIns="0" anchor="t">
            <a:noAutofit/>
          </a:bodyPr>
          <a:lstStyle>
            <a:lvl1pPr marL="0" indent="0">
              <a:buNone/>
              <a:defRPr sz="1600">
                <a:solidFill>
                  <a:schemeClr val="bg1"/>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sp>
        <p:nvSpPr>
          <p:cNvPr id="15" name="Title 1">
            <a:extLst>
              <a:ext uri="{FF2B5EF4-FFF2-40B4-BE49-F238E27FC236}">
                <a16:creationId xmlns:a16="http://schemas.microsoft.com/office/drawing/2014/main" id="{EB28338C-0118-4339-8B11-1628D97DA4BA}"/>
              </a:ext>
            </a:extLst>
          </p:cNvPr>
          <p:cNvSpPr>
            <a:spLocks noGrp="1"/>
          </p:cNvSpPr>
          <p:nvPr>
            <p:ph type="title" hasCustomPrompt="1"/>
          </p:nvPr>
        </p:nvSpPr>
        <p:spPr>
          <a:xfrm>
            <a:off x="460744" y="1232704"/>
            <a:ext cx="5983255" cy="970378"/>
          </a:xfrm>
          <a:prstGeom prst="rect">
            <a:avLst/>
          </a:prstGeom>
        </p:spPr>
        <p:txBody>
          <a:bodyPr vert="horz" lIns="0" tIns="0" rIns="0" bIns="0" rtlCol="0" anchor="b">
            <a:noAutofit/>
          </a:bodyPr>
          <a:lstStyle>
            <a:lvl1pPr>
              <a:defRPr lang="en-GB" sz="4000" dirty="0" smtClean="0">
                <a:solidFill>
                  <a:schemeClr val="bg1"/>
                </a:solidFill>
              </a:defRPr>
            </a:lvl1pPr>
          </a:lstStyle>
          <a:p>
            <a:pPr marR="0" lvl="0" fontAlgn="auto">
              <a:lnSpc>
                <a:spcPct val="90000"/>
              </a:lnSpc>
              <a:spcBef>
                <a:spcPts val="1000"/>
              </a:spcBef>
              <a:spcAft>
                <a:spcPts val="0"/>
              </a:spcAft>
              <a:buClrTx/>
              <a:buSzTx/>
              <a:tabLst/>
            </a:pPr>
            <a:r>
              <a:rPr lang="en-US" dirty="0"/>
              <a:t>Slide divider option-2</a:t>
            </a:r>
            <a:endParaRPr lang="en-GB" dirty="0"/>
          </a:p>
        </p:txBody>
      </p:sp>
      <p:cxnSp>
        <p:nvCxnSpPr>
          <p:cNvPr id="16" name="Straight Connector 15">
            <a:extLst>
              <a:ext uri="{FF2B5EF4-FFF2-40B4-BE49-F238E27FC236}">
                <a16:creationId xmlns:a16="http://schemas.microsoft.com/office/drawing/2014/main" id="{CC1D4B34-A817-49FE-B5E1-821775696084}"/>
              </a:ext>
            </a:extLst>
          </p:cNvPr>
          <p:cNvCxnSpPr>
            <a:cxnSpLocks/>
          </p:cNvCxnSpPr>
          <p:nvPr userDrawn="1"/>
        </p:nvCxnSpPr>
        <p:spPr>
          <a:xfrm>
            <a:off x="457199" y="2424260"/>
            <a:ext cx="6477001" cy="0"/>
          </a:xfrm>
          <a:prstGeom prst="line">
            <a:avLst/>
          </a:prstGeom>
          <a:ln w="22225" cap="rnd">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B6A0B013-A708-4138-87D7-AB8377CF57FC}"/>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868192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ointer slide">
    <p:spTree>
      <p:nvGrpSpPr>
        <p:cNvPr id="1" name=""/>
        <p:cNvGrpSpPr/>
        <p:nvPr/>
      </p:nvGrpSpPr>
      <p:grpSpPr>
        <a:xfrm>
          <a:off x="0" y="0"/>
          <a:ext cx="0" cy="0"/>
          <a:chOff x="0" y="0"/>
          <a:chExt cx="0" cy="0"/>
        </a:xfrm>
      </p:grpSpPr>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tx1"/>
                </a:solidFill>
                <a:latin typeface="+mn-lt"/>
              </a:rPr>
              <a:pPr/>
              <a:t>‹#›</a:t>
            </a:fld>
            <a:endParaRPr lang="en-US" b="1" dirty="0">
              <a:solidFill>
                <a:schemeClr val="tx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rgbClr val="44546A"/>
                </a:solidFill>
                <a:latin typeface="+mn-lt"/>
                <a:ea typeface="Calibri" charset="0"/>
                <a:cs typeface="Calibri" charset="0"/>
              </a:rPr>
              <a:t>® 2021 Copyright Genpact. All Rights Reserved.</a:t>
            </a:r>
          </a:p>
        </p:txBody>
      </p:sp>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tx1"/>
                </a:solidFill>
                <a:latin typeface="Georgia" panose="02040502050405020303" pitchFamily="18" charset="0"/>
              </a:defRPr>
            </a:lvl1pPr>
          </a:lstStyle>
          <a:p>
            <a:pPr lvl="0"/>
            <a:r>
              <a:rPr lang="en-US" dirty="0"/>
              <a:t>Content slide title goes here</a:t>
            </a:r>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a:extLst>
              <a:ext uri="{FF2B5EF4-FFF2-40B4-BE49-F238E27FC236}">
                <a16:creationId xmlns:a16="http://schemas.microsoft.com/office/drawing/2014/main" id="{041F27B5-6974-4AC3-A00B-5E3E490D1F9B}"/>
              </a:ext>
            </a:extLst>
          </p:cNvPr>
          <p:cNvPicPr>
            <a:picLocks noChangeAspect="1"/>
          </p:cNvPicPr>
          <p:nvPr userDrawn="1"/>
        </p:nvPicPr>
        <p:blipFill>
          <a:blip r:embed="rId3" cstate="email">
            <a:alphaModFix amt="60000"/>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8" name="Rectangle 7">
            <a:extLst>
              <a:ext uri="{FF2B5EF4-FFF2-40B4-BE49-F238E27FC236}">
                <a16:creationId xmlns:a16="http://schemas.microsoft.com/office/drawing/2014/main" id="{11994DDA-B59D-4152-B352-D4965C0AEE7C}"/>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9" name="Freeform: Shape 8">
            <a:extLst>
              <a:ext uri="{FF2B5EF4-FFF2-40B4-BE49-F238E27FC236}">
                <a16:creationId xmlns:a16="http://schemas.microsoft.com/office/drawing/2014/main" id="{DA9BE734-E028-45D1-B2FF-A2B9CB10F476}"/>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0" name="Freeform: Shape 9">
            <a:extLst>
              <a:ext uri="{FF2B5EF4-FFF2-40B4-BE49-F238E27FC236}">
                <a16:creationId xmlns:a16="http://schemas.microsoft.com/office/drawing/2014/main" id="{DB51706F-A792-49F6-8385-770F9AE4F56E}"/>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Tree>
    <p:extLst>
      <p:ext uri="{BB962C8B-B14F-4D97-AF65-F5344CB8AC3E}">
        <p14:creationId xmlns:p14="http://schemas.microsoft.com/office/powerpoint/2010/main" val="2585828087"/>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Pointer slide">
    <p:spTree>
      <p:nvGrpSpPr>
        <p:cNvPr id="1" name=""/>
        <p:cNvGrpSpPr/>
        <p:nvPr/>
      </p:nvGrpSpPr>
      <p:grpSpPr>
        <a:xfrm>
          <a:off x="0" y="0"/>
          <a:ext cx="0" cy="0"/>
          <a:chOff x="0" y="0"/>
          <a:chExt cx="0" cy="0"/>
        </a:xfrm>
      </p:grpSpPr>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tx1"/>
                </a:solidFill>
                <a:latin typeface="+mn-lt"/>
              </a:rPr>
              <a:pPr/>
              <a:t>‹#›</a:t>
            </a:fld>
            <a:endParaRPr lang="en-US" b="1" dirty="0">
              <a:solidFill>
                <a:schemeClr val="tx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rgbClr val="44546A"/>
                </a:solidFill>
                <a:latin typeface="+mn-lt"/>
                <a:ea typeface="Calibri" charset="0"/>
                <a:cs typeface="Calibri" charset="0"/>
              </a:rPr>
              <a:t>® 2021 Copyright Genpact. All Rights Reserved.</a:t>
            </a:r>
          </a:p>
        </p:txBody>
      </p:sp>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tx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57200" y="976087"/>
            <a:ext cx="11277600" cy="533400"/>
          </a:xfrm>
          <a:prstGeom prst="rect">
            <a:avLst/>
          </a:prstGeom>
        </p:spPr>
        <p:txBody>
          <a:bodyPr lIns="0" rIns="0" anchor="t" anchorCtr="0"/>
          <a:lstStyle>
            <a:lvl1pPr>
              <a:defRPr sz="2200">
                <a:solidFill>
                  <a:schemeClr val="tx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293CAD57-DD63-4B2B-A9AD-DF9A3370B549}"/>
              </a:ext>
            </a:extLst>
          </p:cNvPr>
          <p:cNvPicPr>
            <a:picLocks noChangeAspect="1"/>
          </p:cNvPicPr>
          <p:nvPr userDrawn="1"/>
        </p:nvPicPr>
        <p:blipFill>
          <a:blip r:embed="rId3" cstate="email">
            <a:alphaModFix amt="60000"/>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9" name="Freeform: Shape 8">
            <a:extLst>
              <a:ext uri="{FF2B5EF4-FFF2-40B4-BE49-F238E27FC236}">
                <a16:creationId xmlns:a16="http://schemas.microsoft.com/office/drawing/2014/main" id="{95C738EF-0A68-487E-858C-1BEBA03E6625}"/>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0" name="Freeform: Shape 9">
            <a:extLst>
              <a:ext uri="{FF2B5EF4-FFF2-40B4-BE49-F238E27FC236}">
                <a16:creationId xmlns:a16="http://schemas.microsoft.com/office/drawing/2014/main" id="{90DC4CFF-01DF-40EF-B860-4B443C43C392}"/>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1" name="Rectangle 10">
            <a:extLst>
              <a:ext uri="{FF2B5EF4-FFF2-40B4-BE49-F238E27FC236}">
                <a16:creationId xmlns:a16="http://schemas.microsoft.com/office/drawing/2014/main" id="{2DC2740C-9AB8-446E-9A02-02FE1B90E568}"/>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2753440674"/>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Pointer slide">
    <p:bg>
      <p:bgPr>
        <a:solidFill>
          <a:schemeClr val="tx1"/>
        </a:solidFill>
        <a:effectLst/>
      </p:bgPr>
    </p:bg>
    <p:spTree>
      <p:nvGrpSpPr>
        <p:cNvPr id="1" name=""/>
        <p:cNvGrpSpPr/>
        <p:nvPr/>
      </p:nvGrpSpPr>
      <p:grpSpPr>
        <a:xfrm>
          <a:off x="0" y="0"/>
          <a:ext cx="0" cy="0"/>
          <a:chOff x="0" y="0"/>
          <a:chExt cx="0" cy="0"/>
        </a:xfrm>
      </p:grpSpPr>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Calibri" charset="0"/>
                <a:cs typeface="Calibri" charset="0"/>
              </a:rPr>
              <a:t>® 2021 Copyright Genpact. All Rights Reserved.</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293CAD57-DD63-4B2B-A9AD-DF9A3370B549}"/>
              </a:ext>
            </a:extLst>
          </p:cNvPr>
          <p:cNvPicPr>
            <a:picLocks noChangeAspect="1"/>
          </p:cNvPicPr>
          <p:nvPr userDrawn="1"/>
        </p:nvPicPr>
        <p:blipFill>
          <a:blip r:embed="rId3" cstate="email">
            <a:alphaModFix amt="60000"/>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11" name="Rectangle 10">
            <a:extLst>
              <a:ext uri="{FF2B5EF4-FFF2-40B4-BE49-F238E27FC236}">
                <a16:creationId xmlns:a16="http://schemas.microsoft.com/office/drawing/2014/main" id="{2DC2740C-9AB8-446E-9A02-02FE1B90E568}"/>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pic>
        <p:nvPicPr>
          <p:cNvPr id="12" name="Picture 11">
            <a:extLst>
              <a:ext uri="{FF2B5EF4-FFF2-40B4-BE49-F238E27FC236}">
                <a16:creationId xmlns:a16="http://schemas.microsoft.com/office/drawing/2014/main" id="{EB60F489-CDB2-491F-97B2-A2CC01F62C9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7540"/>
            <a:ext cx="12193200" cy="6865540"/>
          </a:xfrm>
          <a:prstGeom prst="rect">
            <a:avLst/>
          </a:prstGeom>
        </p:spPr>
      </p:pic>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bg1"/>
                </a:solidFill>
                <a:latin typeface="+mn-lt"/>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57200" y="976087"/>
            <a:ext cx="11277600" cy="533400"/>
          </a:xfrm>
          <a:prstGeom prst="rect">
            <a:avLst/>
          </a:prstGeom>
        </p:spPr>
        <p:txBody>
          <a:bodyPr lIns="0" rIns="0" anchor="t" anchorCtr="0"/>
          <a:lstStyle>
            <a:lvl1pPr>
              <a:defRPr sz="220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9" name="Freeform: Shape 8">
            <a:extLst>
              <a:ext uri="{FF2B5EF4-FFF2-40B4-BE49-F238E27FC236}">
                <a16:creationId xmlns:a16="http://schemas.microsoft.com/office/drawing/2014/main" id="{95C738EF-0A68-487E-858C-1BEBA03E6625}"/>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latin typeface="+mn-lt"/>
            </a:endParaRPr>
          </a:p>
        </p:txBody>
      </p:sp>
      <p:sp>
        <p:nvSpPr>
          <p:cNvPr id="10" name="Freeform: Shape 9">
            <a:extLst>
              <a:ext uri="{FF2B5EF4-FFF2-40B4-BE49-F238E27FC236}">
                <a16:creationId xmlns:a16="http://schemas.microsoft.com/office/drawing/2014/main" id="{90DC4CFF-01DF-40EF-B860-4B443C43C392}"/>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latin typeface="+mn-lt"/>
            </a:endParaRPr>
          </a:p>
        </p:txBody>
      </p:sp>
    </p:spTree>
    <p:extLst>
      <p:ext uri="{BB962C8B-B14F-4D97-AF65-F5344CB8AC3E}">
        <p14:creationId xmlns:p14="http://schemas.microsoft.com/office/powerpoint/2010/main" val="3377021645"/>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Pointer slide">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lIns="0" rIns="0" anchor="t" anchorCtr="0"/>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chemeClr val="tx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chemeClr val="tx1"/>
                </a:solidFill>
              </a:defRPr>
            </a:lvl2pPr>
            <a:lvl3pPr marL="1200150" indent="-285750">
              <a:spcBef>
                <a:spcPts val="600"/>
              </a:spcBef>
              <a:spcAft>
                <a:spcPts val="600"/>
              </a:spcAft>
              <a:buClr>
                <a:srgbClr val="C00000"/>
              </a:buClr>
              <a:buFont typeface="Georgia" panose="02040502050405020303" pitchFamily="18" charset="0"/>
              <a:buChar char="─"/>
              <a:defRPr sz="1200">
                <a:solidFill>
                  <a:schemeClr val="tx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tx1"/>
                </a:solidFill>
                <a:latin typeface="+mn-lt"/>
              </a:rPr>
              <a:pPr/>
              <a:t>‹#›</a:t>
            </a:fld>
            <a:endParaRPr lang="en-US" b="1" dirty="0">
              <a:solidFill>
                <a:schemeClr val="tx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rgbClr val="44546A"/>
                </a:solidFill>
                <a:latin typeface="+mn-lt"/>
                <a:ea typeface="Calibri" charset="0"/>
                <a:cs typeface="Calibri" charset="0"/>
              </a:rPr>
              <a:t>® 2021 Copyright Genpact. All Rights Reserved.</a:t>
            </a:r>
          </a:p>
        </p:txBody>
      </p:sp>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tx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57200" y="976087"/>
            <a:ext cx="11277600" cy="533400"/>
          </a:xfrm>
          <a:prstGeom prst="rect">
            <a:avLst/>
          </a:prstGeom>
        </p:spPr>
        <p:txBody>
          <a:bodyPr lIns="0" rIns="0" anchor="t" anchorCtr="0"/>
          <a:lstStyle>
            <a:lvl1pPr>
              <a:defRPr sz="2200">
                <a:solidFill>
                  <a:schemeClr val="tx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a:extLst>
              <a:ext uri="{FF2B5EF4-FFF2-40B4-BE49-F238E27FC236}">
                <a16:creationId xmlns:a16="http://schemas.microsoft.com/office/drawing/2014/main" id="{FA790BA1-B4B5-4E2F-8B32-CCF0889DF85C}"/>
              </a:ext>
            </a:extLst>
          </p:cNvPr>
          <p:cNvPicPr>
            <a:picLocks noChangeAspect="1"/>
          </p:cNvPicPr>
          <p:nvPr userDrawn="1"/>
        </p:nvPicPr>
        <p:blipFill>
          <a:blip r:embed="rId3" cstate="email">
            <a:alphaModFix amt="60000"/>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10" name="Freeform: Shape 9">
            <a:extLst>
              <a:ext uri="{FF2B5EF4-FFF2-40B4-BE49-F238E27FC236}">
                <a16:creationId xmlns:a16="http://schemas.microsoft.com/office/drawing/2014/main" id="{39826C4F-B17B-4A35-960C-AB900FB1A08E}"/>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1" name="Freeform: Shape 10">
            <a:extLst>
              <a:ext uri="{FF2B5EF4-FFF2-40B4-BE49-F238E27FC236}">
                <a16:creationId xmlns:a16="http://schemas.microsoft.com/office/drawing/2014/main" id="{30792A17-9848-4AB8-9E8B-8A0BD7EF2FE0}"/>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2" name="Rectangle 11">
            <a:extLst>
              <a:ext uri="{FF2B5EF4-FFF2-40B4-BE49-F238E27FC236}">
                <a16:creationId xmlns:a16="http://schemas.microsoft.com/office/drawing/2014/main" id="{7E45A12A-55C1-46FA-B9DF-CF9CED780E37}"/>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3952461952"/>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Pointer slide">
    <p:bg>
      <p:bgPr>
        <a:solidFill>
          <a:schemeClr val="tx1"/>
        </a:solidFill>
        <a:effectLst/>
      </p:bgPr>
    </p:bg>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lIns="0" rIns="0" anchor="t" anchorCtr="0"/>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chemeClr val="bg1"/>
                </a:solidFill>
                <a:latin typeface="+mn-lt"/>
              </a:defRPr>
            </a:lvl1pPr>
            <a:lvl2pPr marL="742950" indent="-285750">
              <a:spcBef>
                <a:spcPts val="600"/>
              </a:spcBef>
              <a:spcAft>
                <a:spcPts val="600"/>
              </a:spcAft>
              <a:buClr>
                <a:srgbClr val="EA3946"/>
              </a:buClr>
              <a:buFont typeface="Arial" panose="020B0604020202020204" pitchFamily="34" charset="0"/>
              <a:buChar char="•"/>
              <a:defRPr sz="1600">
                <a:solidFill>
                  <a:schemeClr val="bg1"/>
                </a:solidFill>
                <a:latin typeface="+mn-lt"/>
              </a:defRPr>
            </a:lvl2pPr>
            <a:lvl3pPr marL="1200150" indent="-285750">
              <a:spcBef>
                <a:spcPts val="600"/>
              </a:spcBef>
              <a:spcAft>
                <a:spcPts val="600"/>
              </a:spcAft>
              <a:buClr>
                <a:srgbClr val="C00000"/>
              </a:buClr>
              <a:buFont typeface="Georgia" panose="02040502050405020303" pitchFamily="18" charset="0"/>
              <a:buChar char="─"/>
              <a:defRPr sz="1200">
                <a:solidFill>
                  <a:schemeClr val="bg1"/>
                </a:solidFill>
                <a:latin typeface="+mn-lt"/>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Calibri" charset="0"/>
                <a:cs typeface="Calibri" charset="0"/>
              </a:rPr>
              <a:t>® 2021 Copyright Genpact. All Rights Reserved.</a:t>
            </a:r>
          </a:p>
        </p:txBody>
      </p:sp>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bg1"/>
                </a:solidFill>
                <a:latin typeface="+mn-lt"/>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57200" y="976087"/>
            <a:ext cx="11277600" cy="533400"/>
          </a:xfrm>
          <a:prstGeom prst="rect">
            <a:avLst/>
          </a:prstGeom>
        </p:spPr>
        <p:txBody>
          <a:bodyPr lIns="0" rIns="0" anchor="t" anchorCtr="0"/>
          <a:lstStyle>
            <a:lvl1pPr>
              <a:defRPr sz="220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Freeform: Shape 9">
            <a:extLst>
              <a:ext uri="{FF2B5EF4-FFF2-40B4-BE49-F238E27FC236}">
                <a16:creationId xmlns:a16="http://schemas.microsoft.com/office/drawing/2014/main" id="{39826C4F-B17B-4A35-960C-AB900FB1A08E}"/>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latin typeface="+mn-lt"/>
            </a:endParaRPr>
          </a:p>
        </p:txBody>
      </p:sp>
      <p:sp>
        <p:nvSpPr>
          <p:cNvPr id="11" name="Freeform: Shape 10">
            <a:extLst>
              <a:ext uri="{FF2B5EF4-FFF2-40B4-BE49-F238E27FC236}">
                <a16:creationId xmlns:a16="http://schemas.microsoft.com/office/drawing/2014/main" id="{30792A17-9848-4AB8-9E8B-8A0BD7EF2FE0}"/>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latin typeface="+mn-lt"/>
            </a:endParaRPr>
          </a:p>
        </p:txBody>
      </p:sp>
      <p:sp>
        <p:nvSpPr>
          <p:cNvPr id="12" name="Rectangle 11">
            <a:extLst>
              <a:ext uri="{FF2B5EF4-FFF2-40B4-BE49-F238E27FC236}">
                <a16:creationId xmlns:a16="http://schemas.microsoft.com/office/drawing/2014/main" id="{7E45A12A-55C1-46FA-B9DF-CF9CED780E37}"/>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solidFill>
                <a:schemeClr val="bg1"/>
              </a:solidFill>
              <a:latin typeface="+mn-lt"/>
            </a:endParaRPr>
          </a:p>
        </p:txBody>
      </p:sp>
      <p:pic>
        <p:nvPicPr>
          <p:cNvPr id="13" name="Picture 12">
            <a:extLst>
              <a:ext uri="{FF2B5EF4-FFF2-40B4-BE49-F238E27FC236}">
                <a16:creationId xmlns:a16="http://schemas.microsoft.com/office/drawing/2014/main" id="{FC304556-6924-4ED6-B327-CACFA1DA794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7540"/>
            <a:ext cx="12193200" cy="6865540"/>
          </a:xfrm>
          <a:prstGeom prst="rect">
            <a:avLst/>
          </a:prstGeom>
        </p:spPr>
      </p:pic>
    </p:spTree>
    <p:extLst>
      <p:ext uri="{BB962C8B-B14F-4D97-AF65-F5344CB8AC3E}">
        <p14:creationId xmlns:p14="http://schemas.microsoft.com/office/powerpoint/2010/main" val="4256294687"/>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Pointer slide">
    <p:spTree>
      <p:nvGrpSpPr>
        <p:cNvPr id="1" name=""/>
        <p:cNvGrpSpPr/>
        <p:nvPr/>
      </p:nvGrpSpPr>
      <p:grpSpPr>
        <a:xfrm>
          <a:off x="0" y="0"/>
          <a:ext cx="0" cy="0"/>
          <a:chOff x="0" y="0"/>
          <a:chExt cx="0" cy="0"/>
        </a:xfrm>
      </p:grpSpPr>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tx1"/>
                </a:solidFill>
                <a:latin typeface="+mn-lt"/>
              </a:rPr>
              <a:pPr/>
              <a:t>‹#›</a:t>
            </a:fld>
            <a:endParaRPr lang="en-US" b="1" dirty="0">
              <a:solidFill>
                <a:schemeClr val="tx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rgbClr val="44546A"/>
                </a:solidFill>
                <a:latin typeface="+mn-lt"/>
                <a:ea typeface="Calibri" charset="0"/>
                <a:cs typeface="Calibri" charset="0"/>
              </a:rPr>
              <a:t>® 2021 Copyright Genpact. All Rights Reserved.</a:t>
            </a:r>
          </a:p>
        </p:txBody>
      </p:sp>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tx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57200" y="976087"/>
            <a:ext cx="11277600" cy="533400"/>
          </a:xfrm>
          <a:prstGeom prst="rect">
            <a:avLst/>
          </a:prstGeom>
        </p:spPr>
        <p:txBody>
          <a:bodyPr lIns="0" rIns="0" anchor="t" anchorCtr="0"/>
          <a:lstStyle>
            <a:lvl1pPr>
              <a:defRPr sz="2200">
                <a:solidFill>
                  <a:schemeClr val="tx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 name="Text Placeholder 2"/>
          <p:cNvSpPr>
            <a:spLocks noGrp="1"/>
          </p:cNvSpPr>
          <p:nvPr>
            <p:ph type="body" sz="quarter" idx="13"/>
          </p:nvPr>
        </p:nvSpPr>
        <p:spPr>
          <a:xfrm>
            <a:off x="457200" y="12700"/>
            <a:ext cx="11274552" cy="366712"/>
          </a:xfrm>
          <a:prstGeom prst="rect">
            <a:avLst/>
          </a:prstGeom>
        </p:spPr>
        <p:txBody>
          <a:bodyPr lIns="0" rIns="0" anchor="ctr" anchorCtr="0"/>
          <a:lstStyle>
            <a:lvl1pPr>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p:txBody>
      </p:sp>
      <p:sp>
        <p:nvSpPr>
          <p:cNvPr id="8" name="Text Placeholder 22"/>
          <p:cNvSpPr>
            <a:spLocks noGrp="1"/>
          </p:cNvSpPr>
          <p:nvPr>
            <p:ph type="body" sz="quarter" idx="14" hasCustomPrompt="1"/>
          </p:nvPr>
        </p:nvSpPr>
        <p:spPr>
          <a:xfrm>
            <a:off x="457200" y="1846944"/>
            <a:ext cx="11277600" cy="3892551"/>
          </a:xfrm>
          <a:prstGeom prst="rect">
            <a:avLst/>
          </a:prstGeom>
        </p:spPr>
        <p:txBody>
          <a:bodyPr lIns="0" rIns="0" anchor="t" anchorCtr="0"/>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chemeClr val="tx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chemeClr val="tx1"/>
                </a:solidFill>
              </a:defRPr>
            </a:lvl2pPr>
            <a:lvl3pPr marL="1200150" indent="-285750">
              <a:spcBef>
                <a:spcPts val="600"/>
              </a:spcBef>
              <a:spcAft>
                <a:spcPts val="600"/>
              </a:spcAft>
              <a:buClr>
                <a:srgbClr val="C00000"/>
              </a:buClr>
              <a:buFont typeface="Georgia" panose="02040502050405020303" pitchFamily="18" charset="0"/>
              <a:buChar char="─"/>
              <a:defRPr sz="1200">
                <a:solidFill>
                  <a:schemeClr val="tx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a:extLst>
              <a:ext uri="{FF2B5EF4-FFF2-40B4-BE49-F238E27FC236}">
                <a16:creationId xmlns:a16="http://schemas.microsoft.com/office/drawing/2014/main" id="{870A5C5B-46FB-4F63-8578-7B0C1D66ED65}"/>
              </a:ext>
            </a:extLst>
          </p:cNvPr>
          <p:cNvPicPr>
            <a:picLocks noChangeAspect="1"/>
          </p:cNvPicPr>
          <p:nvPr userDrawn="1"/>
        </p:nvPicPr>
        <p:blipFill>
          <a:blip r:embed="rId3" cstate="email">
            <a:alphaModFix amt="60000"/>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11" name="Freeform: Shape 10">
            <a:extLst>
              <a:ext uri="{FF2B5EF4-FFF2-40B4-BE49-F238E27FC236}">
                <a16:creationId xmlns:a16="http://schemas.microsoft.com/office/drawing/2014/main" id="{B4D7EFF1-C891-43E9-90E7-655403B6518A}"/>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2" name="Freeform: Shape 11">
            <a:extLst>
              <a:ext uri="{FF2B5EF4-FFF2-40B4-BE49-F238E27FC236}">
                <a16:creationId xmlns:a16="http://schemas.microsoft.com/office/drawing/2014/main" id="{77B42479-A61B-4F38-9A43-8D70763F6A2E}"/>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3" name="Rectangle 12">
            <a:extLst>
              <a:ext uri="{FF2B5EF4-FFF2-40B4-BE49-F238E27FC236}">
                <a16:creationId xmlns:a16="http://schemas.microsoft.com/office/drawing/2014/main" id="{56B5D6AF-512F-4D84-B4C7-AF21753E42EC}"/>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3281051483"/>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Divider Option 1">
    <p:bg>
      <p:bgPr>
        <a:solidFill>
          <a:schemeClr val="bg1"/>
        </a:solidFill>
        <a:effectLst/>
      </p:bgPr>
    </p:bg>
    <p:spTree>
      <p:nvGrpSpPr>
        <p:cNvPr id="1" name=""/>
        <p:cNvGrpSpPr/>
        <p:nvPr/>
      </p:nvGrpSpPr>
      <p:grpSpPr>
        <a:xfrm>
          <a:off x="0" y="0"/>
          <a:ext cx="0" cy="0"/>
          <a:chOff x="0" y="0"/>
          <a:chExt cx="0" cy="0"/>
        </a:xfrm>
      </p:grpSpPr>
      <p:sp>
        <p:nvSpPr>
          <p:cNvPr id="21" name="Freeform 20">
            <a:extLst>
              <a:ext uri="{FF2B5EF4-FFF2-40B4-BE49-F238E27FC236}">
                <a16:creationId xmlns:a16="http://schemas.microsoft.com/office/drawing/2014/main" id="{AD3AE23F-988B-564F-876F-C0158BED6563}"/>
              </a:ext>
            </a:extLst>
          </p:cNvPr>
          <p:cNvSpPr/>
          <p:nvPr/>
        </p:nvSpPr>
        <p:spPr>
          <a:xfrm>
            <a:off x="0" y="-3821"/>
            <a:ext cx="3119527" cy="2170074"/>
          </a:xfrm>
          <a:custGeom>
            <a:avLst/>
            <a:gdLst>
              <a:gd name="connsiteX0" fmla="*/ 0 w 3119527"/>
              <a:gd name="connsiteY0" fmla="*/ 0 h 2170074"/>
              <a:gd name="connsiteX1" fmla="*/ 3119527 w 3119527"/>
              <a:gd name="connsiteY1" fmla="*/ 1224 h 2170074"/>
              <a:gd name="connsiteX2" fmla="*/ 0 w 3119527"/>
              <a:gd name="connsiteY2" fmla="*/ 2170074 h 2170074"/>
            </a:gdLst>
            <a:ahLst/>
            <a:cxnLst>
              <a:cxn ang="0">
                <a:pos x="connsiteX0" y="connsiteY0"/>
              </a:cxn>
              <a:cxn ang="0">
                <a:pos x="connsiteX1" y="connsiteY1"/>
              </a:cxn>
              <a:cxn ang="0">
                <a:pos x="connsiteX2" y="connsiteY2"/>
              </a:cxn>
            </a:cxnLst>
            <a:rect l="l" t="t" r="r" b="b"/>
            <a:pathLst>
              <a:path w="3119527" h="2170074">
                <a:moveTo>
                  <a:pt x="0" y="0"/>
                </a:moveTo>
                <a:lnTo>
                  <a:pt x="3119527" y="1224"/>
                </a:lnTo>
                <a:lnTo>
                  <a:pt x="0" y="2170074"/>
                </a:lnTo>
                <a:close/>
              </a:path>
            </a:pathLst>
          </a:custGeom>
          <a:gradFill>
            <a:gsLst>
              <a:gs pos="0">
                <a:srgbClr val="007199"/>
              </a:gs>
              <a:gs pos="100000">
                <a:srgbClr val="00AECF"/>
              </a:gs>
            </a:gsLst>
            <a:lin ang="6600000" scaled="0"/>
          </a:gradFill>
          <a:ln w="12700" cap="flat" cmpd="sng" algn="ctr">
            <a:noFill/>
            <a:prstDash val="solid"/>
            <a:miter lim="800000"/>
          </a:ln>
          <a:effectLst/>
        </p:spPr>
        <p:txBody>
          <a:bodyPr wrap="square" rtlCol="0" anchor="ctr">
            <a:noAutofit/>
          </a:bodyPr>
          <a:lstStyle/>
          <a:p>
            <a:pPr marL="0" marR="0" lvl="0" indent="0" algn="ctr" defTabSz="91439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Freeform 17">
            <a:extLst>
              <a:ext uri="{FF2B5EF4-FFF2-40B4-BE49-F238E27FC236}">
                <a16:creationId xmlns:a16="http://schemas.microsoft.com/office/drawing/2014/main" id="{64203167-F8D4-5045-BC57-8D5D46A2DF5D}"/>
              </a:ext>
            </a:extLst>
          </p:cNvPr>
          <p:cNvSpPr/>
          <p:nvPr/>
        </p:nvSpPr>
        <p:spPr>
          <a:xfrm>
            <a:off x="0" y="-9519"/>
            <a:ext cx="2249484" cy="1571852"/>
          </a:xfrm>
          <a:custGeom>
            <a:avLst/>
            <a:gdLst>
              <a:gd name="connsiteX0" fmla="*/ 2249484 w 2249484"/>
              <a:gd name="connsiteY0" fmla="*/ 0 h 1571852"/>
              <a:gd name="connsiteX1" fmla="*/ 0 w 2249484"/>
              <a:gd name="connsiteY1" fmla="*/ 1571852 h 1571852"/>
              <a:gd name="connsiteX2" fmla="*/ 0 w 2249484"/>
              <a:gd name="connsiteY2" fmla="*/ 5454 h 1571852"/>
            </a:gdLst>
            <a:ahLst/>
            <a:cxnLst>
              <a:cxn ang="0">
                <a:pos x="connsiteX0" y="connsiteY0"/>
              </a:cxn>
              <a:cxn ang="0">
                <a:pos x="connsiteX1" y="connsiteY1"/>
              </a:cxn>
              <a:cxn ang="0">
                <a:pos x="connsiteX2" y="connsiteY2"/>
              </a:cxn>
            </a:cxnLst>
            <a:rect l="l" t="t" r="r" b="b"/>
            <a:pathLst>
              <a:path w="2249484" h="1571852">
                <a:moveTo>
                  <a:pt x="2249484" y="0"/>
                </a:moveTo>
                <a:lnTo>
                  <a:pt x="0" y="1571852"/>
                </a:lnTo>
                <a:lnTo>
                  <a:pt x="0" y="5454"/>
                </a:lnTo>
                <a:close/>
              </a:path>
            </a:pathLst>
          </a:custGeom>
          <a:gradFill>
            <a:gsLst>
              <a:gs pos="0">
                <a:srgbClr val="FF555F"/>
              </a:gs>
              <a:gs pos="62000">
                <a:srgbClr val="073262"/>
              </a:gs>
            </a:gsLst>
            <a:lin ang="66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BD1E0693-F664-448A-9D7A-93A03D6B7E90}"/>
              </a:ext>
            </a:extLst>
          </p:cNvPr>
          <p:cNvSpPr/>
          <p:nvPr/>
        </p:nvSpPr>
        <p:spPr>
          <a:xfrm>
            <a:off x="-11983" y="1997929"/>
            <a:ext cx="887194" cy="1242604"/>
          </a:xfrm>
          <a:custGeom>
            <a:avLst/>
            <a:gdLst>
              <a:gd name="connsiteX0" fmla="*/ 19050 w 1838325"/>
              <a:gd name="connsiteY0" fmla="*/ 0 h 1276350"/>
              <a:gd name="connsiteX1" fmla="*/ 1838325 w 1838325"/>
              <a:gd name="connsiteY1" fmla="*/ 1276350 h 1276350"/>
              <a:gd name="connsiteX2" fmla="*/ 0 w 1838325"/>
              <a:gd name="connsiteY2" fmla="*/ 1276350 h 1276350"/>
              <a:gd name="connsiteX3" fmla="*/ 19050 w 1838325"/>
              <a:gd name="connsiteY3" fmla="*/ 0 h 1276350"/>
              <a:gd name="connsiteX0" fmla="*/ 0 w 1819275"/>
              <a:gd name="connsiteY0" fmla="*/ 0 h 1276350"/>
              <a:gd name="connsiteX1" fmla="*/ 1819275 w 1819275"/>
              <a:gd name="connsiteY1" fmla="*/ 1276350 h 1276350"/>
              <a:gd name="connsiteX2" fmla="*/ 20790 w 1819275"/>
              <a:gd name="connsiteY2" fmla="*/ 1276350 h 1276350"/>
              <a:gd name="connsiteX3" fmla="*/ 0 w 1819275"/>
              <a:gd name="connsiteY3" fmla="*/ 0 h 1276350"/>
              <a:gd name="connsiteX0" fmla="*/ 0 w 1807892"/>
              <a:gd name="connsiteY0" fmla="*/ 0 h 1276350"/>
              <a:gd name="connsiteX1" fmla="*/ 1807892 w 1807892"/>
              <a:gd name="connsiteY1" fmla="*/ 1276350 h 1276350"/>
              <a:gd name="connsiteX2" fmla="*/ 9407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2046931"/>
              <a:gd name="connsiteY0" fmla="*/ 0 h 1274281"/>
              <a:gd name="connsiteX1" fmla="*/ 2046931 w 2046931"/>
              <a:gd name="connsiteY1" fmla="*/ 1268074 h 1274281"/>
              <a:gd name="connsiteX2" fmla="*/ 3717 w 2046931"/>
              <a:gd name="connsiteY2" fmla="*/ 1274281 h 1274281"/>
              <a:gd name="connsiteX3" fmla="*/ 0 w 2046931"/>
              <a:gd name="connsiteY3" fmla="*/ 0 h 1274281"/>
              <a:gd name="connsiteX0" fmla="*/ 0 w 2046931"/>
              <a:gd name="connsiteY0" fmla="*/ 0 h 1141859"/>
              <a:gd name="connsiteX1" fmla="*/ 2046931 w 2046931"/>
              <a:gd name="connsiteY1" fmla="*/ 1135652 h 1141859"/>
              <a:gd name="connsiteX2" fmla="*/ 3717 w 2046931"/>
              <a:gd name="connsiteY2" fmla="*/ 1141859 h 1141859"/>
              <a:gd name="connsiteX3" fmla="*/ 0 w 2046931"/>
              <a:gd name="connsiteY3" fmla="*/ 0 h 1141859"/>
              <a:gd name="connsiteX0" fmla="*/ 19318 w 2066249"/>
              <a:gd name="connsiteY0" fmla="*/ 0 h 1994325"/>
              <a:gd name="connsiteX1" fmla="*/ 2066249 w 2066249"/>
              <a:gd name="connsiteY1" fmla="*/ 1135652 h 1994325"/>
              <a:gd name="connsiteX2" fmla="*/ 269 w 2066249"/>
              <a:gd name="connsiteY2" fmla="*/ 1994325 h 1994325"/>
              <a:gd name="connsiteX3" fmla="*/ 19318 w 2066249"/>
              <a:gd name="connsiteY3" fmla="*/ 0 h 1994325"/>
              <a:gd name="connsiteX0" fmla="*/ 19318 w 2043483"/>
              <a:gd name="connsiteY0" fmla="*/ 0 h 1994325"/>
              <a:gd name="connsiteX1" fmla="*/ 2043483 w 2043483"/>
              <a:gd name="connsiteY1" fmla="*/ 1110823 h 1994325"/>
              <a:gd name="connsiteX2" fmla="*/ 269 w 2043483"/>
              <a:gd name="connsiteY2" fmla="*/ 1994325 h 1994325"/>
              <a:gd name="connsiteX3" fmla="*/ 19318 w 2043483"/>
              <a:gd name="connsiteY3" fmla="*/ 0 h 1994325"/>
              <a:gd name="connsiteX0" fmla="*/ 8129 w 2032294"/>
              <a:gd name="connsiteY0" fmla="*/ 0 h 2159852"/>
              <a:gd name="connsiteX1" fmla="*/ 2032294 w 2032294"/>
              <a:gd name="connsiteY1" fmla="*/ 1110823 h 2159852"/>
              <a:gd name="connsiteX2" fmla="*/ 463 w 2032294"/>
              <a:gd name="connsiteY2" fmla="*/ 2159852 h 2159852"/>
              <a:gd name="connsiteX3" fmla="*/ 8129 w 2032294"/>
              <a:gd name="connsiteY3" fmla="*/ 0 h 2159852"/>
              <a:gd name="connsiteX0" fmla="*/ 0 w 2104430"/>
              <a:gd name="connsiteY0" fmla="*/ 0 h 1843086"/>
              <a:gd name="connsiteX1" fmla="*/ 2104430 w 2104430"/>
              <a:gd name="connsiteY1" fmla="*/ 794057 h 1843086"/>
              <a:gd name="connsiteX2" fmla="*/ 72599 w 2104430"/>
              <a:gd name="connsiteY2" fmla="*/ 1843086 h 1843086"/>
              <a:gd name="connsiteX3" fmla="*/ 0 w 2104430"/>
              <a:gd name="connsiteY3" fmla="*/ 0 h 1843086"/>
              <a:gd name="connsiteX0" fmla="*/ 0 w 2044232"/>
              <a:gd name="connsiteY0" fmla="*/ 0 h 2152308"/>
              <a:gd name="connsiteX1" fmla="*/ 2044232 w 2044232"/>
              <a:gd name="connsiteY1" fmla="*/ 1103279 h 2152308"/>
              <a:gd name="connsiteX2" fmla="*/ 12401 w 2044232"/>
              <a:gd name="connsiteY2" fmla="*/ 2152308 h 2152308"/>
              <a:gd name="connsiteX3" fmla="*/ 0 w 2044232"/>
              <a:gd name="connsiteY3" fmla="*/ 0 h 2152308"/>
            </a:gdLst>
            <a:ahLst/>
            <a:cxnLst>
              <a:cxn ang="0">
                <a:pos x="connsiteX0" y="connsiteY0"/>
              </a:cxn>
              <a:cxn ang="0">
                <a:pos x="connsiteX1" y="connsiteY1"/>
              </a:cxn>
              <a:cxn ang="0">
                <a:pos x="connsiteX2" y="connsiteY2"/>
              </a:cxn>
              <a:cxn ang="0">
                <a:pos x="connsiteX3" y="connsiteY3"/>
              </a:cxn>
            </a:cxnLst>
            <a:rect l="l" t="t" r="r" b="b"/>
            <a:pathLst>
              <a:path w="2044232" h="2152308">
                <a:moveTo>
                  <a:pt x="0" y="0"/>
                </a:moveTo>
                <a:lnTo>
                  <a:pt x="2044232" y="1103279"/>
                </a:lnTo>
                <a:lnTo>
                  <a:pt x="12401" y="2152308"/>
                </a:lnTo>
                <a:cubicBezTo>
                  <a:pt x="9265" y="1726858"/>
                  <a:pt x="3136" y="425450"/>
                  <a:pt x="0" y="0"/>
                </a:cubicBezTo>
                <a:close/>
              </a:path>
            </a:pathLst>
          </a:custGeom>
          <a:gradFill>
            <a:gsLst>
              <a:gs pos="9000">
                <a:srgbClr val="FF555F">
                  <a:alpha val="0"/>
                </a:srgbClr>
              </a:gs>
              <a:gs pos="100000">
                <a:srgbClr val="FF555F"/>
              </a:gs>
            </a:gsLst>
            <a:lin ang="4200000" scaled="0"/>
          </a:gra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7" name="Picture Placeholder 16">
            <a:extLst>
              <a:ext uri="{FF2B5EF4-FFF2-40B4-BE49-F238E27FC236}">
                <a16:creationId xmlns:a16="http://schemas.microsoft.com/office/drawing/2014/main" id="{D5BDCB9F-EF00-4740-A039-6C5374289B01}"/>
              </a:ext>
            </a:extLst>
          </p:cNvPr>
          <p:cNvSpPr>
            <a:spLocks noGrp="1"/>
          </p:cNvSpPr>
          <p:nvPr>
            <p:ph type="pic" sz="quarter" idx="10"/>
          </p:nvPr>
        </p:nvSpPr>
        <p:spPr>
          <a:xfrm>
            <a:off x="3648114" y="-9519"/>
            <a:ext cx="8543886" cy="5941720"/>
          </a:xfrm>
          <a:custGeom>
            <a:avLst/>
            <a:gdLst>
              <a:gd name="connsiteX0" fmla="*/ 0 w 8543886"/>
              <a:gd name="connsiteY0" fmla="*/ 0 h 5941720"/>
              <a:gd name="connsiteX1" fmla="*/ 8543886 w 8543886"/>
              <a:gd name="connsiteY1" fmla="*/ 0 h 5941720"/>
              <a:gd name="connsiteX2" fmla="*/ 8543886 w 8543886"/>
              <a:gd name="connsiteY2" fmla="*/ 5941720 h 5941720"/>
            </a:gdLst>
            <a:ahLst/>
            <a:cxnLst>
              <a:cxn ang="0">
                <a:pos x="connsiteX0" y="connsiteY0"/>
              </a:cxn>
              <a:cxn ang="0">
                <a:pos x="connsiteX1" y="connsiteY1"/>
              </a:cxn>
              <a:cxn ang="0">
                <a:pos x="connsiteX2" y="connsiteY2"/>
              </a:cxn>
            </a:cxnLst>
            <a:rect l="l" t="t" r="r" b="b"/>
            <a:pathLst>
              <a:path w="8543886" h="5941720">
                <a:moveTo>
                  <a:pt x="0" y="0"/>
                </a:moveTo>
                <a:lnTo>
                  <a:pt x="8543886" y="0"/>
                </a:lnTo>
                <a:lnTo>
                  <a:pt x="8543886" y="5941720"/>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57199" y="4972997"/>
            <a:ext cx="5986800" cy="579600"/>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pic>
        <p:nvPicPr>
          <p:cNvPr id="23" name="Graphic 22">
            <a:extLst>
              <a:ext uri="{FF2B5EF4-FFF2-40B4-BE49-F238E27FC236}">
                <a16:creationId xmlns:a16="http://schemas.microsoft.com/office/drawing/2014/main" id="{B87D776C-79F6-D44E-9FFA-CA482D54AFBA}"/>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5" name="Slide Number Placeholder 5">
            <a:extLst>
              <a:ext uri="{FF2B5EF4-FFF2-40B4-BE49-F238E27FC236}">
                <a16:creationId xmlns:a16="http://schemas.microsoft.com/office/drawing/2014/main" id="{03C47DF5-E9CA-D246-8B77-BF35B13D89F9}"/>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9" name="Footer Placeholder 3">
            <a:extLst>
              <a:ext uri="{FF2B5EF4-FFF2-40B4-BE49-F238E27FC236}">
                <a16:creationId xmlns:a16="http://schemas.microsoft.com/office/drawing/2014/main" id="{FF882762-C970-ED43-B6AA-137193AA4F96}"/>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4" name="Title 1">
            <a:extLst>
              <a:ext uri="{FF2B5EF4-FFF2-40B4-BE49-F238E27FC236}">
                <a16:creationId xmlns:a16="http://schemas.microsoft.com/office/drawing/2014/main" id="{ACEF1787-A2E1-458A-BF2D-A3E6A5C67824}"/>
              </a:ext>
            </a:extLst>
          </p:cNvPr>
          <p:cNvSpPr>
            <a:spLocks noGrp="1"/>
          </p:cNvSpPr>
          <p:nvPr>
            <p:ph type="title" hasCustomPrompt="1"/>
          </p:nvPr>
        </p:nvSpPr>
        <p:spPr>
          <a:xfrm>
            <a:off x="460744" y="3560262"/>
            <a:ext cx="5983255" cy="970378"/>
          </a:xfrm>
        </p:spPr>
        <p:txBody>
          <a:bodyPr vert="horz" lIns="0" tIns="0" rIns="0" bIns="0" rtlCol="0" anchor="b">
            <a:noAutofit/>
          </a:bodyPr>
          <a:lstStyle>
            <a:lvl1pPr>
              <a:defRPr lang="en-GB" sz="4000" b="0" dirty="0" smtClean="0"/>
            </a:lvl1pPr>
          </a:lstStyle>
          <a:p>
            <a:pPr marR="0" lvl="0" fontAlgn="auto">
              <a:lnSpc>
                <a:spcPct val="90000"/>
              </a:lnSpc>
              <a:spcBef>
                <a:spcPts val="1000"/>
              </a:spcBef>
              <a:spcAft>
                <a:spcPts val="0"/>
              </a:spcAft>
              <a:buClrTx/>
              <a:buSzTx/>
              <a:tabLst/>
            </a:pPr>
            <a:r>
              <a:rPr lang="en-US" dirty="0"/>
              <a:t>Slide divider option-1</a:t>
            </a:r>
            <a:endParaRPr lang="en-GB" dirty="0"/>
          </a:p>
        </p:txBody>
      </p:sp>
      <p:sp>
        <p:nvSpPr>
          <p:cNvPr id="20" name="Freeform 17">
            <a:extLst>
              <a:ext uri="{FF2B5EF4-FFF2-40B4-BE49-F238E27FC236}">
                <a16:creationId xmlns:a16="http://schemas.microsoft.com/office/drawing/2014/main" id="{667D5848-2C00-434A-95F4-0BB2E59ACF12}"/>
              </a:ext>
            </a:extLst>
          </p:cNvPr>
          <p:cNvSpPr/>
          <p:nvPr userDrawn="1"/>
        </p:nvSpPr>
        <p:spPr>
          <a:xfrm>
            <a:off x="0" y="-9519"/>
            <a:ext cx="2249484" cy="1571852"/>
          </a:xfrm>
          <a:custGeom>
            <a:avLst/>
            <a:gdLst>
              <a:gd name="connsiteX0" fmla="*/ 2249484 w 2249484"/>
              <a:gd name="connsiteY0" fmla="*/ 0 h 1571852"/>
              <a:gd name="connsiteX1" fmla="*/ 0 w 2249484"/>
              <a:gd name="connsiteY1" fmla="*/ 1571852 h 1571852"/>
              <a:gd name="connsiteX2" fmla="*/ 0 w 2249484"/>
              <a:gd name="connsiteY2" fmla="*/ 5454 h 1571852"/>
            </a:gdLst>
            <a:ahLst/>
            <a:cxnLst>
              <a:cxn ang="0">
                <a:pos x="connsiteX0" y="connsiteY0"/>
              </a:cxn>
              <a:cxn ang="0">
                <a:pos x="connsiteX1" y="connsiteY1"/>
              </a:cxn>
              <a:cxn ang="0">
                <a:pos x="connsiteX2" y="connsiteY2"/>
              </a:cxn>
            </a:cxnLst>
            <a:rect l="l" t="t" r="r" b="b"/>
            <a:pathLst>
              <a:path w="2249484" h="1571852">
                <a:moveTo>
                  <a:pt x="2249484" y="0"/>
                </a:moveTo>
                <a:lnTo>
                  <a:pt x="0" y="1571852"/>
                </a:lnTo>
                <a:lnTo>
                  <a:pt x="0" y="5454"/>
                </a:lnTo>
                <a:close/>
              </a:path>
            </a:pathLst>
          </a:custGeom>
          <a:gradFill>
            <a:gsLst>
              <a:gs pos="0">
                <a:srgbClr val="FF555F"/>
              </a:gs>
              <a:gs pos="62000">
                <a:srgbClr val="073262"/>
              </a:gs>
            </a:gsLst>
            <a:lin ang="6600000" scaled="0"/>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97E7568-823C-4CBD-8378-DB4576EA10FD}"/>
              </a:ext>
            </a:extLst>
          </p:cNvPr>
          <p:cNvSpPr/>
          <p:nvPr userDrawn="1"/>
        </p:nvSpPr>
        <p:spPr>
          <a:xfrm>
            <a:off x="-11983" y="1997929"/>
            <a:ext cx="887194" cy="1242604"/>
          </a:xfrm>
          <a:custGeom>
            <a:avLst/>
            <a:gdLst>
              <a:gd name="connsiteX0" fmla="*/ 19050 w 1838325"/>
              <a:gd name="connsiteY0" fmla="*/ 0 h 1276350"/>
              <a:gd name="connsiteX1" fmla="*/ 1838325 w 1838325"/>
              <a:gd name="connsiteY1" fmla="*/ 1276350 h 1276350"/>
              <a:gd name="connsiteX2" fmla="*/ 0 w 1838325"/>
              <a:gd name="connsiteY2" fmla="*/ 1276350 h 1276350"/>
              <a:gd name="connsiteX3" fmla="*/ 19050 w 1838325"/>
              <a:gd name="connsiteY3" fmla="*/ 0 h 1276350"/>
              <a:gd name="connsiteX0" fmla="*/ 0 w 1819275"/>
              <a:gd name="connsiteY0" fmla="*/ 0 h 1276350"/>
              <a:gd name="connsiteX1" fmla="*/ 1819275 w 1819275"/>
              <a:gd name="connsiteY1" fmla="*/ 1276350 h 1276350"/>
              <a:gd name="connsiteX2" fmla="*/ 20790 w 1819275"/>
              <a:gd name="connsiteY2" fmla="*/ 1276350 h 1276350"/>
              <a:gd name="connsiteX3" fmla="*/ 0 w 1819275"/>
              <a:gd name="connsiteY3" fmla="*/ 0 h 1276350"/>
              <a:gd name="connsiteX0" fmla="*/ 0 w 1807892"/>
              <a:gd name="connsiteY0" fmla="*/ 0 h 1276350"/>
              <a:gd name="connsiteX1" fmla="*/ 1807892 w 1807892"/>
              <a:gd name="connsiteY1" fmla="*/ 1276350 h 1276350"/>
              <a:gd name="connsiteX2" fmla="*/ 9407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6562 w 1807892"/>
              <a:gd name="connsiteY2" fmla="*/ 1276350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1807892"/>
              <a:gd name="connsiteY0" fmla="*/ 0 h 1276350"/>
              <a:gd name="connsiteX1" fmla="*/ 1807892 w 1807892"/>
              <a:gd name="connsiteY1" fmla="*/ 1276350 h 1276350"/>
              <a:gd name="connsiteX2" fmla="*/ 3717 w 1807892"/>
              <a:gd name="connsiteY2" fmla="*/ 1274281 h 1276350"/>
              <a:gd name="connsiteX3" fmla="*/ 0 w 1807892"/>
              <a:gd name="connsiteY3" fmla="*/ 0 h 1276350"/>
              <a:gd name="connsiteX0" fmla="*/ 0 w 2046931"/>
              <a:gd name="connsiteY0" fmla="*/ 0 h 1274281"/>
              <a:gd name="connsiteX1" fmla="*/ 2046931 w 2046931"/>
              <a:gd name="connsiteY1" fmla="*/ 1268074 h 1274281"/>
              <a:gd name="connsiteX2" fmla="*/ 3717 w 2046931"/>
              <a:gd name="connsiteY2" fmla="*/ 1274281 h 1274281"/>
              <a:gd name="connsiteX3" fmla="*/ 0 w 2046931"/>
              <a:gd name="connsiteY3" fmla="*/ 0 h 1274281"/>
              <a:gd name="connsiteX0" fmla="*/ 0 w 2046931"/>
              <a:gd name="connsiteY0" fmla="*/ 0 h 1141859"/>
              <a:gd name="connsiteX1" fmla="*/ 2046931 w 2046931"/>
              <a:gd name="connsiteY1" fmla="*/ 1135652 h 1141859"/>
              <a:gd name="connsiteX2" fmla="*/ 3717 w 2046931"/>
              <a:gd name="connsiteY2" fmla="*/ 1141859 h 1141859"/>
              <a:gd name="connsiteX3" fmla="*/ 0 w 2046931"/>
              <a:gd name="connsiteY3" fmla="*/ 0 h 1141859"/>
              <a:gd name="connsiteX0" fmla="*/ 19318 w 2066249"/>
              <a:gd name="connsiteY0" fmla="*/ 0 h 1994325"/>
              <a:gd name="connsiteX1" fmla="*/ 2066249 w 2066249"/>
              <a:gd name="connsiteY1" fmla="*/ 1135652 h 1994325"/>
              <a:gd name="connsiteX2" fmla="*/ 269 w 2066249"/>
              <a:gd name="connsiteY2" fmla="*/ 1994325 h 1994325"/>
              <a:gd name="connsiteX3" fmla="*/ 19318 w 2066249"/>
              <a:gd name="connsiteY3" fmla="*/ 0 h 1994325"/>
              <a:gd name="connsiteX0" fmla="*/ 19318 w 2043483"/>
              <a:gd name="connsiteY0" fmla="*/ 0 h 1994325"/>
              <a:gd name="connsiteX1" fmla="*/ 2043483 w 2043483"/>
              <a:gd name="connsiteY1" fmla="*/ 1110823 h 1994325"/>
              <a:gd name="connsiteX2" fmla="*/ 269 w 2043483"/>
              <a:gd name="connsiteY2" fmla="*/ 1994325 h 1994325"/>
              <a:gd name="connsiteX3" fmla="*/ 19318 w 2043483"/>
              <a:gd name="connsiteY3" fmla="*/ 0 h 1994325"/>
              <a:gd name="connsiteX0" fmla="*/ 8129 w 2032294"/>
              <a:gd name="connsiteY0" fmla="*/ 0 h 2159852"/>
              <a:gd name="connsiteX1" fmla="*/ 2032294 w 2032294"/>
              <a:gd name="connsiteY1" fmla="*/ 1110823 h 2159852"/>
              <a:gd name="connsiteX2" fmla="*/ 463 w 2032294"/>
              <a:gd name="connsiteY2" fmla="*/ 2159852 h 2159852"/>
              <a:gd name="connsiteX3" fmla="*/ 8129 w 2032294"/>
              <a:gd name="connsiteY3" fmla="*/ 0 h 2159852"/>
              <a:gd name="connsiteX0" fmla="*/ 0 w 2104430"/>
              <a:gd name="connsiteY0" fmla="*/ 0 h 1843086"/>
              <a:gd name="connsiteX1" fmla="*/ 2104430 w 2104430"/>
              <a:gd name="connsiteY1" fmla="*/ 794057 h 1843086"/>
              <a:gd name="connsiteX2" fmla="*/ 72599 w 2104430"/>
              <a:gd name="connsiteY2" fmla="*/ 1843086 h 1843086"/>
              <a:gd name="connsiteX3" fmla="*/ 0 w 2104430"/>
              <a:gd name="connsiteY3" fmla="*/ 0 h 1843086"/>
              <a:gd name="connsiteX0" fmla="*/ 0 w 2044232"/>
              <a:gd name="connsiteY0" fmla="*/ 0 h 2152308"/>
              <a:gd name="connsiteX1" fmla="*/ 2044232 w 2044232"/>
              <a:gd name="connsiteY1" fmla="*/ 1103279 h 2152308"/>
              <a:gd name="connsiteX2" fmla="*/ 12401 w 2044232"/>
              <a:gd name="connsiteY2" fmla="*/ 2152308 h 2152308"/>
              <a:gd name="connsiteX3" fmla="*/ 0 w 2044232"/>
              <a:gd name="connsiteY3" fmla="*/ 0 h 2152308"/>
            </a:gdLst>
            <a:ahLst/>
            <a:cxnLst>
              <a:cxn ang="0">
                <a:pos x="connsiteX0" y="connsiteY0"/>
              </a:cxn>
              <a:cxn ang="0">
                <a:pos x="connsiteX1" y="connsiteY1"/>
              </a:cxn>
              <a:cxn ang="0">
                <a:pos x="connsiteX2" y="connsiteY2"/>
              </a:cxn>
              <a:cxn ang="0">
                <a:pos x="connsiteX3" y="connsiteY3"/>
              </a:cxn>
            </a:cxnLst>
            <a:rect l="l" t="t" r="r" b="b"/>
            <a:pathLst>
              <a:path w="2044232" h="2152308">
                <a:moveTo>
                  <a:pt x="0" y="0"/>
                </a:moveTo>
                <a:lnTo>
                  <a:pt x="2044232" y="1103279"/>
                </a:lnTo>
                <a:lnTo>
                  <a:pt x="12401" y="2152308"/>
                </a:lnTo>
                <a:cubicBezTo>
                  <a:pt x="9265" y="1726858"/>
                  <a:pt x="3136" y="425450"/>
                  <a:pt x="0" y="0"/>
                </a:cubicBezTo>
                <a:close/>
              </a:path>
            </a:pathLst>
          </a:custGeom>
          <a:gradFill>
            <a:gsLst>
              <a:gs pos="9000">
                <a:srgbClr val="FF555F">
                  <a:alpha val="0"/>
                </a:srgbClr>
              </a:gs>
              <a:gs pos="100000">
                <a:srgbClr val="FF555F"/>
              </a:gs>
            </a:gsLst>
            <a:lin ang="4200000" scaled="0"/>
          </a:gra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8" name="Slide Number Placeholder 5">
            <a:extLst>
              <a:ext uri="{FF2B5EF4-FFF2-40B4-BE49-F238E27FC236}">
                <a16:creationId xmlns:a16="http://schemas.microsoft.com/office/drawing/2014/main" id="{C5414586-BC01-4327-BFC0-F76BBC280F0A}"/>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Tree>
    <p:extLst>
      <p:ext uri="{BB962C8B-B14F-4D97-AF65-F5344CB8AC3E}">
        <p14:creationId xmlns:p14="http://schemas.microsoft.com/office/powerpoint/2010/main" val="310789689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Pointer slide">
    <p:bg>
      <p:bgPr>
        <a:solidFill>
          <a:schemeClr val="tx1"/>
        </a:solidFill>
        <a:effectLst/>
      </p:bgPr>
    </p:bg>
    <p:spTree>
      <p:nvGrpSpPr>
        <p:cNvPr id="1" name=""/>
        <p:cNvGrpSpPr/>
        <p:nvPr/>
      </p:nvGrpSpPr>
      <p:grpSpPr>
        <a:xfrm>
          <a:off x="0" y="0"/>
          <a:ext cx="0" cy="0"/>
          <a:chOff x="0" y="0"/>
          <a:chExt cx="0" cy="0"/>
        </a:xfrm>
      </p:grpSpPr>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Calibri" charset="0"/>
                <a:cs typeface="Calibri" charset="0"/>
              </a:rPr>
              <a:t>® 2021 Copyright Genpact. All Rights Reserved.</a:t>
            </a:r>
          </a:p>
        </p:txBody>
      </p:sp>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bg1"/>
                </a:solidFill>
                <a:latin typeface="+mn-lt"/>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57200" y="976087"/>
            <a:ext cx="11277600" cy="533400"/>
          </a:xfrm>
          <a:prstGeom prst="rect">
            <a:avLst/>
          </a:prstGeom>
        </p:spPr>
        <p:txBody>
          <a:bodyPr lIns="0" rIns="0" anchor="t" anchorCtr="0"/>
          <a:lstStyle>
            <a:lvl1pPr>
              <a:defRPr sz="2200">
                <a:solidFill>
                  <a:schemeClr val="bg1"/>
                </a:solidFill>
                <a:latin typeface="+mn-lt"/>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3" name="Text Placeholder 2"/>
          <p:cNvSpPr>
            <a:spLocks noGrp="1"/>
          </p:cNvSpPr>
          <p:nvPr>
            <p:ph type="body" sz="quarter" idx="13"/>
          </p:nvPr>
        </p:nvSpPr>
        <p:spPr>
          <a:xfrm>
            <a:off x="457200" y="12700"/>
            <a:ext cx="11274552" cy="366712"/>
          </a:xfrm>
          <a:prstGeom prst="rect">
            <a:avLst/>
          </a:prstGeom>
        </p:spPr>
        <p:txBody>
          <a:bodyPr lIns="0" rIns="0" anchor="ctr" anchorCtr="0"/>
          <a:lstStyle>
            <a:lvl1pPr>
              <a:defRPr sz="1400">
                <a:solidFill>
                  <a:schemeClr val="bg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p:txBody>
      </p:sp>
      <p:sp>
        <p:nvSpPr>
          <p:cNvPr id="8" name="Text Placeholder 22"/>
          <p:cNvSpPr>
            <a:spLocks noGrp="1"/>
          </p:cNvSpPr>
          <p:nvPr>
            <p:ph type="body" sz="quarter" idx="14" hasCustomPrompt="1"/>
          </p:nvPr>
        </p:nvSpPr>
        <p:spPr>
          <a:xfrm>
            <a:off x="457200" y="1846944"/>
            <a:ext cx="11277600" cy="3892551"/>
          </a:xfrm>
          <a:prstGeom prst="rect">
            <a:avLst/>
          </a:prstGeom>
        </p:spPr>
        <p:txBody>
          <a:bodyPr lIns="0" rIns="0" anchor="t" anchorCtr="0"/>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chemeClr val="bg1"/>
                </a:solidFill>
                <a:latin typeface="+mn-lt"/>
              </a:defRPr>
            </a:lvl1pPr>
            <a:lvl2pPr marL="742950" indent="-285750">
              <a:spcBef>
                <a:spcPts val="600"/>
              </a:spcBef>
              <a:spcAft>
                <a:spcPts val="600"/>
              </a:spcAft>
              <a:buClr>
                <a:srgbClr val="EA3946"/>
              </a:buClr>
              <a:buFont typeface="Arial" panose="020B0604020202020204" pitchFamily="34" charset="0"/>
              <a:buChar char="•"/>
              <a:defRPr sz="1600">
                <a:solidFill>
                  <a:schemeClr val="bg1"/>
                </a:solidFill>
                <a:latin typeface="+mn-lt"/>
              </a:defRPr>
            </a:lvl2pPr>
            <a:lvl3pPr marL="1200150" indent="-285750">
              <a:spcBef>
                <a:spcPts val="600"/>
              </a:spcBef>
              <a:spcAft>
                <a:spcPts val="600"/>
              </a:spcAft>
              <a:buClr>
                <a:srgbClr val="C00000"/>
              </a:buClr>
              <a:buFont typeface="Georgia" panose="02040502050405020303" pitchFamily="18" charset="0"/>
              <a:buChar char="─"/>
              <a:defRPr sz="1200">
                <a:solidFill>
                  <a:schemeClr val="bg1"/>
                </a:solidFill>
                <a:latin typeface="+mn-lt"/>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Freeform: Shape 10">
            <a:extLst>
              <a:ext uri="{FF2B5EF4-FFF2-40B4-BE49-F238E27FC236}">
                <a16:creationId xmlns:a16="http://schemas.microsoft.com/office/drawing/2014/main" id="{B4D7EFF1-C891-43E9-90E7-655403B6518A}"/>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latin typeface="+mn-lt"/>
            </a:endParaRPr>
          </a:p>
        </p:txBody>
      </p:sp>
      <p:sp>
        <p:nvSpPr>
          <p:cNvPr id="12" name="Freeform: Shape 11">
            <a:extLst>
              <a:ext uri="{FF2B5EF4-FFF2-40B4-BE49-F238E27FC236}">
                <a16:creationId xmlns:a16="http://schemas.microsoft.com/office/drawing/2014/main" id="{77B42479-A61B-4F38-9A43-8D70763F6A2E}"/>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latin typeface="+mn-lt"/>
            </a:endParaRPr>
          </a:p>
        </p:txBody>
      </p:sp>
      <p:sp>
        <p:nvSpPr>
          <p:cNvPr id="13" name="Rectangle 12">
            <a:extLst>
              <a:ext uri="{FF2B5EF4-FFF2-40B4-BE49-F238E27FC236}">
                <a16:creationId xmlns:a16="http://schemas.microsoft.com/office/drawing/2014/main" id="{56B5D6AF-512F-4D84-B4C7-AF21753E42EC}"/>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solidFill>
                <a:schemeClr val="bg1"/>
              </a:solidFill>
              <a:latin typeface="+mn-lt"/>
            </a:endParaRPr>
          </a:p>
        </p:txBody>
      </p:sp>
      <p:pic>
        <p:nvPicPr>
          <p:cNvPr id="14" name="Picture 13">
            <a:extLst>
              <a:ext uri="{FF2B5EF4-FFF2-40B4-BE49-F238E27FC236}">
                <a16:creationId xmlns:a16="http://schemas.microsoft.com/office/drawing/2014/main" id="{4BF20339-0EA6-4A43-8D32-C149D4384E8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7540"/>
            <a:ext cx="12193200" cy="6865540"/>
          </a:xfrm>
          <a:prstGeom prst="rect">
            <a:avLst/>
          </a:prstGeom>
        </p:spPr>
      </p:pic>
    </p:spTree>
    <p:extLst>
      <p:ext uri="{BB962C8B-B14F-4D97-AF65-F5344CB8AC3E}">
        <p14:creationId xmlns:p14="http://schemas.microsoft.com/office/powerpoint/2010/main" val="3730608785"/>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Pointer slide">
    <p:spTree>
      <p:nvGrpSpPr>
        <p:cNvPr id="1" name=""/>
        <p:cNvGrpSpPr/>
        <p:nvPr/>
      </p:nvGrpSpPr>
      <p:grpSpPr>
        <a:xfrm>
          <a:off x="0" y="0"/>
          <a:ext cx="0" cy="0"/>
          <a:chOff x="0" y="0"/>
          <a:chExt cx="0" cy="0"/>
        </a:xfrm>
      </p:grpSpPr>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tx1"/>
                </a:solidFill>
                <a:latin typeface="+mn-lt"/>
              </a:rPr>
              <a:pPr/>
              <a:t>‹#›</a:t>
            </a:fld>
            <a:endParaRPr lang="en-US" b="1" dirty="0">
              <a:solidFill>
                <a:schemeClr val="tx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rgbClr val="44546A"/>
                </a:solidFill>
                <a:latin typeface="+mn-lt"/>
                <a:ea typeface="Calibri" charset="0"/>
                <a:cs typeface="Calibri" charset="0"/>
              </a:rPr>
              <a:t>® 2021 Copyright Genpact. All Rights Reserved.</a:t>
            </a:r>
          </a:p>
        </p:txBody>
      </p:sp>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tx1"/>
                </a:solidFill>
                <a:latin typeface="Georgia" panose="02040502050405020303" pitchFamily="18" charset="0"/>
              </a:defRPr>
            </a:lvl1pPr>
          </a:lstStyle>
          <a:p>
            <a:pPr lvl="0"/>
            <a:r>
              <a:rPr lang="en-US" dirty="0"/>
              <a:t>Content slide title goes here</a:t>
            </a:r>
          </a:p>
        </p:txBody>
      </p:sp>
      <p:sp>
        <p:nvSpPr>
          <p:cNvPr id="3" name="Text Placeholder 2"/>
          <p:cNvSpPr>
            <a:spLocks noGrp="1"/>
          </p:cNvSpPr>
          <p:nvPr>
            <p:ph type="body" sz="quarter" idx="13"/>
          </p:nvPr>
        </p:nvSpPr>
        <p:spPr>
          <a:xfrm>
            <a:off x="457200" y="12700"/>
            <a:ext cx="11274552" cy="366712"/>
          </a:xfrm>
          <a:prstGeom prst="rect">
            <a:avLst/>
          </a:prstGeom>
        </p:spPr>
        <p:txBody>
          <a:bodyPr lIns="0" rIns="0" anchor="ctr" anchorCtr="0"/>
          <a:lstStyle>
            <a:lvl1pPr>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p:txBody>
      </p:sp>
      <p:sp>
        <p:nvSpPr>
          <p:cNvPr id="7" name="Text Placeholder 22"/>
          <p:cNvSpPr>
            <a:spLocks noGrp="1"/>
          </p:cNvSpPr>
          <p:nvPr>
            <p:ph type="body" sz="quarter" idx="14" hasCustomPrompt="1"/>
          </p:nvPr>
        </p:nvSpPr>
        <p:spPr>
          <a:xfrm>
            <a:off x="457200" y="1846944"/>
            <a:ext cx="11277600" cy="3892551"/>
          </a:xfrm>
          <a:prstGeom prst="rect">
            <a:avLst/>
          </a:prstGeom>
        </p:spPr>
        <p:txBody>
          <a:bodyPr lIns="0" rIns="0" anchor="t" anchorCtr="0"/>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chemeClr val="tx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chemeClr val="tx1"/>
                </a:solidFill>
              </a:defRPr>
            </a:lvl2pPr>
            <a:lvl3pPr marL="1200150" indent="-285750">
              <a:spcBef>
                <a:spcPts val="600"/>
              </a:spcBef>
              <a:spcAft>
                <a:spcPts val="600"/>
              </a:spcAft>
              <a:buClr>
                <a:srgbClr val="C00000"/>
              </a:buClr>
              <a:buFont typeface="Georgia" panose="02040502050405020303" pitchFamily="18" charset="0"/>
              <a:buChar char="─"/>
              <a:defRPr sz="1200">
                <a:solidFill>
                  <a:schemeClr val="tx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03BDD70C-05B8-4F5E-A43C-27DF2FD5000B}"/>
              </a:ext>
            </a:extLst>
          </p:cNvPr>
          <p:cNvPicPr>
            <a:picLocks noChangeAspect="1"/>
          </p:cNvPicPr>
          <p:nvPr userDrawn="1"/>
        </p:nvPicPr>
        <p:blipFill>
          <a:blip r:embed="rId3" cstate="email">
            <a:alphaModFix amt="60000"/>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
        <p:nvSpPr>
          <p:cNvPr id="10" name="Freeform: Shape 9">
            <a:extLst>
              <a:ext uri="{FF2B5EF4-FFF2-40B4-BE49-F238E27FC236}">
                <a16:creationId xmlns:a16="http://schemas.microsoft.com/office/drawing/2014/main" id="{BE9A0C44-E816-467E-BAAC-9F8BCAE76C21}"/>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1" name="Freeform: Shape 10">
            <a:extLst>
              <a:ext uri="{FF2B5EF4-FFF2-40B4-BE49-F238E27FC236}">
                <a16:creationId xmlns:a16="http://schemas.microsoft.com/office/drawing/2014/main" id="{14186429-ACB1-45A2-AAD1-79D9D14982AE}"/>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tx2"/>
              </a:solidFill>
            </a:endParaRPr>
          </a:p>
        </p:txBody>
      </p:sp>
      <p:sp>
        <p:nvSpPr>
          <p:cNvPr id="12" name="Rectangle 11">
            <a:extLst>
              <a:ext uri="{FF2B5EF4-FFF2-40B4-BE49-F238E27FC236}">
                <a16:creationId xmlns:a16="http://schemas.microsoft.com/office/drawing/2014/main" id="{A5ED821D-F0E1-45ED-B1DB-4B403F6F9639}"/>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Tree>
    <p:extLst>
      <p:ext uri="{BB962C8B-B14F-4D97-AF65-F5344CB8AC3E}">
        <p14:creationId xmlns:p14="http://schemas.microsoft.com/office/powerpoint/2010/main" val="3058362623"/>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Pointer slide">
    <p:bg>
      <p:bgPr>
        <a:solidFill>
          <a:schemeClr val="tx1"/>
        </a:solidFill>
        <a:effectLst/>
      </p:bgPr>
    </p:bg>
    <p:spTree>
      <p:nvGrpSpPr>
        <p:cNvPr id="1" name=""/>
        <p:cNvGrpSpPr/>
        <p:nvPr/>
      </p:nvGrpSpPr>
      <p:grpSpPr>
        <a:xfrm>
          <a:off x="0" y="0"/>
          <a:ext cx="0" cy="0"/>
          <a:chOff x="0" y="0"/>
          <a:chExt cx="0" cy="0"/>
        </a:xfrm>
      </p:grpSpPr>
      <p:sp>
        <p:nvSpPr>
          <p:cNvPr id="16"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bg1"/>
                </a:solidFill>
                <a:latin typeface="+mn-lt"/>
              </a:rPr>
              <a:pPr/>
              <a:t>‹#›</a:t>
            </a:fld>
            <a:endParaRPr lang="en-US" b="1" dirty="0">
              <a:solidFill>
                <a:schemeClr val="bg1"/>
              </a:solidFill>
              <a:latin typeface="+mn-lt"/>
            </a:endParaRPr>
          </a:p>
        </p:txBody>
      </p:sp>
      <p:sp>
        <p:nvSpPr>
          <p:cNvPr id="17" name="TextBox 16"/>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bg1"/>
                </a:solidFill>
                <a:latin typeface="+mn-lt"/>
                <a:ea typeface="Calibri" charset="0"/>
                <a:cs typeface="Calibri" charset="0"/>
              </a:rPr>
              <a:t>® 2021 Copyright Genpact. All Rights Reserved.</a:t>
            </a:r>
          </a:p>
        </p:txBody>
      </p:sp>
      <p:sp>
        <p:nvSpPr>
          <p:cNvPr id="33" name="Text Placeholder 22"/>
          <p:cNvSpPr>
            <a:spLocks noGrp="1"/>
          </p:cNvSpPr>
          <p:nvPr>
            <p:ph type="body" sz="quarter" idx="11" hasCustomPrompt="1"/>
          </p:nvPr>
        </p:nvSpPr>
        <p:spPr>
          <a:xfrm>
            <a:off x="457200" y="471715"/>
            <a:ext cx="11277600" cy="533400"/>
          </a:xfrm>
          <a:prstGeom prst="rect">
            <a:avLst/>
          </a:prstGeom>
        </p:spPr>
        <p:txBody>
          <a:bodyPr lIns="0" rIns="0" anchor="t" anchorCtr="0"/>
          <a:lstStyle>
            <a:lvl1pPr>
              <a:defRPr sz="3000">
                <a:solidFill>
                  <a:schemeClr val="bg1"/>
                </a:solidFill>
                <a:latin typeface="Georgia" panose="02040502050405020303" pitchFamily="18" charset="0"/>
              </a:defRPr>
            </a:lvl1pPr>
          </a:lstStyle>
          <a:p>
            <a:pPr lvl="0"/>
            <a:r>
              <a:rPr lang="en-US" dirty="0"/>
              <a:t>Content slide title goes here</a:t>
            </a:r>
          </a:p>
        </p:txBody>
      </p:sp>
      <p:sp>
        <p:nvSpPr>
          <p:cNvPr id="3" name="Text Placeholder 2"/>
          <p:cNvSpPr>
            <a:spLocks noGrp="1"/>
          </p:cNvSpPr>
          <p:nvPr>
            <p:ph type="body" sz="quarter" idx="13"/>
          </p:nvPr>
        </p:nvSpPr>
        <p:spPr>
          <a:xfrm>
            <a:off x="457200" y="12700"/>
            <a:ext cx="11274552" cy="366712"/>
          </a:xfrm>
          <a:prstGeom prst="rect">
            <a:avLst/>
          </a:prstGeom>
        </p:spPr>
        <p:txBody>
          <a:bodyPr lIns="0" rIns="0" anchor="ctr" anchorCtr="0"/>
          <a:lstStyle>
            <a:lvl1pPr>
              <a:defRPr sz="14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p:txBody>
      </p:sp>
      <p:sp>
        <p:nvSpPr>
          <p:cNvPr id="7" name="Text Placeholder 22"/>
          <p:cNvSpPr>
            <a:spLocks noGrp="1"/>
          </p:cNvSpPr>
          <p:nvPr>
            <p:ph type="body" sz="quarter" idx="14" hasCustomPrompt="1"/>
          </p:nvPr>
        </p:nvSpPr>
        <p:spPr>
          <a:xfrm>
            <a:off x="457200" y="1846944"/>
            <a:ext cx="11277600" cy="3892551"/>
          </a:xfrm>
          <a:prstGeom prst="rect">
            <a:avLst/>
          </a:prstGeom>
        </p:spPr>
        <p:txBody>
          <a:bodyPr lIns="0" rIns="0" anchor="t" anchorCtr="0"/>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chemeClr val="bg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chemeClr val="bg1"/>
                </a:solidFill>
              </a:defRPr>
            </a:lvl2pPr>
            <a:lvl3pPr marL="1200150" indent="-285750">
              <a:spcBef>
                <a:spcPts val="600"/>
              </a:spcBef>
              <a:spcAft>
                <a:spcPts val="600"/>
              </a:spcAft>
              <a:buClr>
                <a:srgbClr val="C00000"/>
              </a:buClr>
              <a:buFont typeface="Georgia" panose="02040502050405020303" pitchFamily="18" charset="0"/>
              <a:buChar char="─"/>
              <a:defRPr sz="1200">
                <a:solidFill>
                  <a:schemeClr val="bg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Freeform: Shape 9">
            <a:extLst>
              <a:ext uri="{FF2B5EF4-FFF2-40B4-BE49-F238E27FC236}">
                <a16:creationId xmlns:a16="http://schemas.microsoft.com/office/drawing/2014/main" id="{BE9A0C44-E816-467E-BAAC-9F8BCAE76C21}"/>
              </a:ext>
            </a:extLst>
          </p:cNvPr>
          <p:cNvSpPr/>
          <p:nvPr userDrawn="1"/>
        </p:nvSpPr>
        <p:spPr>
          <a:xfrm>
            <a:off x="10989256" y="0"/>
            <a:ext cx="1204989" cy="1094936"/>
          </a:xfrm>
          <a:custGeom>
            <a:avLst/>
            <a:gdLst>
              <a:gd name="connsiteX0" fmla="*/ 0 w 3911600"/>
              <a:gd name="connsiteY0" fmla="*/ 0 h 4438650"/>
              <a:gd name="connsiteX1" fmla="*/ 2641600 w 3911600"/>
              <a:gd name="connsiteY1" fmla="*/ 1784350 h 4438650"/>
              <a:gd name="connsiteX2" fmla="*/ 1384300 w 3911600"/>
              <a:gd name="connsiteY2" fmla="*/ 2673350 h 4438650"/>
              <a:gd name="connsiteX3" fmla="*/ 3911600 w 3911600"/>
              <a:gd name="connsiteY3" fmla="*/ 4438650 h 4438650"/>
              <a:gd name="connsiteX4" fmla="*/ 3911600 w 3911600"/>
              <a:gd name="connsiteY4" fmla="*/ 6350 h 4438650"/>
              <a:gd name="connsiteX5" fmla="*/ 0 w 3911600"/>
              <a:gd name="connsiteY5" fmla="*/ 0 h 4438650"/>
              <a:gd name="connsiteX0" fmla="*/ 0 w 3921125"/>
              <a:gd name="connsiteY0" fmla="*/ 0 h 4438650"/>
              <a:gd name="connsiteX1" fmla="*/ 2641600 w 3921125"/>
              <a:gd name="connsiteY1" fmla="*/ 1784350 h 4438650"/>
              <a:gd name="connsiteX2" fmla="*/ 1384300 w 3921125"/>
              <a:gd name="connsiteY2" fmla="*/ 2673350 h 4438650"/>
              <a:gd name="connsiteX3" fmla="*/ 3911600 w 3921125"/>
              <a:gd name="connsiteY3" fmla="*/ 4438650 h 4438650"/>
              <a:gd name="connsiteX4" fmla="*/ 3921125 w 3921125"/>
              <a:gd name="connsiteY4" fmla="*/ 6350 h 4438650"/>
              <a:gd name="connsiteX5" fmla="*/ 0 w 3921125"/>
              <a:gd name="connsiteY5" fmla="*/ 0 h 4438650"/>
              <a:gd name="connsiteX0" fmla="*/ 0 w 4187458"/>
              <a:gd name="connsiteY0" fmla="*/ 0 h 4438650"/>
              <a:gd name="connsiteX1" fmla="*/ 2907933 w 4187458"/>
              <a:gd name="connsiteY1" fmla="*/ 1784350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650633 w 4187458"/>
              <a:gd name="connsiteY2" fmla="*/ 2673350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41976 w 4187458"/>
              <a:gd name="connsiteY1" fmla="*/ 1684474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301070 w 4187458"/>
              <a:gd name="connsiteY2" fmla="*/ 2390372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438650"/>
              <a:gd name="connsiteX1" fmla="*/ 2325330 w 4187458"/>
              <a:gd name="connsiteY1" fmla="*/ 1642860 h 4438650"/>
              <a:gd name="connsiteX2" fmla="*/ 1292747 w 4187458"/>
              <a:gd name="connsiteY2" fmla="*/ 2365403 h 4438650"/>
              <a:gd name="connsiteX3" fmla="*/ 4177933 w 4187458"/>
              <a:gd name="connsiteY3" fmla="*/ 4438650 h 4438650"/>
              <a:gd name="connsiteX4" fmla="*/ 4187458 w 4187458"/>
              <a:gd name="connsiteY4" fmla="*/ 6350 h 4438650"/>
              <a:gd name="connsiteX5" fmla="*/ 0 w 4187458"/>
              <a:gd name="connsiteY5" fmla="*/ 0 h 4438650"/>
              <a:gd name="connsiteX0" fmla="*/ 0 w 4187458"/>
              <a:gd name="connsiteY0" fmla="*/ 0 h 4322129"/>
              <a:gd name="connsiteX1" fmla="*/ 2325330 w 4187458"/>
              <a:gd name="connsiteY1" fmla="*/ 1642860 h 4322129"/>
              <a:gd name="connsiteX2" fmla="*/ 1292747 w 4187458"/>
              <a:gd name="connsiteY2" fmla="*/ 2365403 h 4322129"/>
              <a:gd name="connsiteX3" fmla="*/ 4177932 w 4187458"/>
              <a:gd name="connsiteY3" fmla="*/ 4322129 h 4322129"/>
              <a:gd name="connsiteX4" fmla="*/ 4187458 w 4187458"/>
              <a:gd name="connsiteY4" fmla="*/ 6350 h 4322129"/>
              <a:gd name="connsiteX5" fmla="*/ 0 w 4187458"/>
              <a:gd name="connsiteY5" fmla="*/ 0 h 4322129"/>
              <a:gd name="connsiteX0" fmla="*/ 0 w 4191089"/>
              <a:gd name="connsiteY0" fmla="*/ 0 h 4334615"/>
              <a:gd name="connsiteX1" fmla="*/ 2325330 w 4191089"/>
              <a:gd name="connsiteY1" fmla="*/ 1642860 h 4334615"/>
              <a:gd name="connsiteX2" fmla="*/ 1292747 w 4191089"/>
              <a:gd name="connsiteY2" fmla="*/ 2365403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325330 w 4191089"/>
              <a:gd name="connsiteY1" fmla="*/ 1642860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317716 w 4191089"/>
              <a:gd name="connsiteY2" fmla="*/ 2340434 h 4334615"/>
              <a:gd name="connsiteX3" fmla="*/ 4190418 w 4191089"/>
              <a:gd name="connsiteY3" fmla="*/ 4334615 h 4334615"/>
              <a:gd name="connsiteX4" fmla="*/ 4187458 w 4191089"/>
              <a:gd name="connsiteY4" fmla="*/ 6350 h 4334615"/>
              <a:gd name="connsiteX5" fmla="*/ 0 w 4191089"/>
              <a:gd name="connsiteY5" fmla="*/ 0 h 4334615"/>
              <a:gd name="connsiteX0" fmla="*/ 0 w 4191089"/>
              <a:gd name="connsiteY0" fmla="*/ 0 h 4334615"/>
              <a:gd name="connsiteX1" fmla="*/ 2435663 w 4191089"/>
              <a:gd name="connsiteY1" fmla="*/ 1664926 h 4334615"/>
              <a:gd name="connsiteX2" fmla="*/ 1626653 w 4191089"/>
              <a:gd name="connsiteY2" fmla="*/ 2208032 h 4334615"/>
              <a:gd name="connsiteX3" fmla="*/ 4190418 w 4191089"/>
              <a:gd name="connsiteY3" fmla="*/ 4334615 h 4334615"/>
              <a:gd name="connsiteX4" fmla="*/ 4187458 w 4191089"/>
              <a:gd name="connsiteY4" fmla="*/ 6350 h 4334615"/>
              <a:gd name="connsiteX5" fmla="*/ 0 w 4191089"/>
              <a:gd name="connsiteY5" fmla="*/ 0 h 4334615"/>
              <a:gd name="connsiteX0" fmla="*/ 0 w 4187458"/>
              <a:gd name="connsiteY0" fmla="*/ 0 h 3849144"/>
              <a:gd name="connsiteX1" fmla="*/ 2435663 w 4187458"/>
              <a:gd name="connsiteY1" fmla="*/ 1664926 h 3849144"/>
              <a:gd name="connsiteX2" fmla="*/ 1626653 w 4187458"/>
              <a:gd name="connsiteY2" fmla="*/ 2208032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49144"/>
              <a:gd name="connsiteX1" fmla="*/ 2435663 w 4187458"/>
              <a:gd name="connsiteY1" fmla="*/ 1664926 h 3849144"/>
              <a:gd name="connsiteX2" fmla="*/ 1692854 w 4187458"/>
              <a:gd name="connsiteY2" fmla="*/ 2185965 h 3849144"/>
              <a:gd name="connsiteX3" fmla="*/ 4146285 w 4187458"/>
              <a:gd name="connsiteY3" fmla="*/ 3849144 h 3849144"/>
              <a:gd name="connsiteX4" fmla="*/ 4187458 w 4187458"/>
              <a:gd name="connsiteY4" fmla="*/ 6350 h 3849144"/>
              <a:gd name="connsiteX5" fmla="*/ 0 w 4187458"/>
              <a:gd name="connsiteY5" fmla="*/ 0 h 3849144"/>
              <a:gd name="connsiteX0" fmla="*/ 0 w 4187458"/>
              <a:gd name="connsiteY0" fmla="*/ 0 h 3805010"/>
              <a:gd name="connsiteX1" fmla="*/ 2435663 w 4187458"/>
              <a:gd name="connsiteY1" fmla="*/ 1664926 h 3805010"/>
              <a:gd name="connsiteX2" fmla="*/ 1692854 w 4187458"/>
              <a:gd name="connsiteY2" fmla="*/ 2185965 h 3805010"/>
              <a:gd name="connsiteX3" fmla="*/ 4146285 w 4187458"/>
              <a:gd name="connsiteY3" fmla="*/ 3805010 h 3805010"/>
              <a:gd name="connsiteX4" fmla="*/ 4187458 w 4187458"/>
              <a:gd name="connsiteY4" fmla="*/ 6350 h 3805010"/>
              <a:gd name="connsiteX5" fmla="*/ 0 w 4187458"/>
              <a:gd name="connsiteY5" fmla="*/ 0 h 380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7458" h="3805010">
                <a:moveTo>
                  <a:pt x="0" y="0"/>
                </a:moveTo>
                <a:lnTo>
                  <a:pt x="2435663" y="1664926"/>
                </a:lnTo>
                <a:lnTo>
                  <a:pt x="1692854" y="2185965"/>
                </a:lnTo>
                <a:lnTo>
                  <a:pt x="4146285" y="3805010"/>
                </a:lnTo>
                <a:cubicBezTo>
                  <a:pt x="4149460" y="2366417"/>
                  <a:pt x="4184283" y="1444943"/>
                  <a:pt x="4187458" y="6350"/>
                </a:cubicBezTo>
                <a:lnTo>
                  <a:pt x="0" y="0"/>
                </a:lnTo>
                <a:close/>
              </a:path>
            </a:pathLst>
          </a:custGeom>
          <a:gradFill>
            <a:gsLst>
              <a:gs pos="20000">
                <a:schemeClr val="accent2"/>
              </a:gs>
              <a:gs pos="75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11" name="Freeform: Shape 10">
            <a:extLst>
              <a:ext uri="{FF2B5EF4-FFF2-40B4-BE49-F238E27FC236}">
                <a16:creationId xmlns:a16="http://schemas.microsoft.com/office/drawing/2014/main" id="{14186429-ACB1-45A2-AAD1-79D9D14982AE}"/>
              </a:ext>
            </a:extLst>
          </p:cNvPr>
          <p:cNvSpPr/>
          <p:nvPr userDrawn="1"/>
        </p:nvSpPr>
        <p:spPr>
          <a:xfrm>
            <a:off x="11480799" y="658750"/>
            <a:ext cx="714491" cy="992250"/>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Lst>
            <a:ahLst/>
            <a:cxnLst>
              <a:cxn ang="0">
                <a:pos x="connsiteX0" y="connsiteY0"/>
              </a:cxn>
              <a:cxn ang="0">
                <a:pos x="connsiteX1" y="connsiteY1"/>
              </a:cxn>
              <a:cxn ang="0">
                <a:pos x="connsiteX2" y="connsiteY2"/>
              </a:cxn>
              <a:cxn ang="0">
                <a:pos x="connsiteX3" y="connsiteY3"/>
              </a:cxn>
            </a:cxnLst>
            <a:rect l="l" t="t" r="r" b="b"/>
            <a:pathLst>
              <a:path w="2551430" h="3543300">
                <a:moveTo>
                  <a:pt x="2551430" y="0"/>
                </a:moveTo>
                <a:lnTo>
                  <a:pt x="0" y="1767840"/>
                </a:lnTo>
                <a:lnTo>
                  <a:pt x="2545080" y="3543300"/>
                </a:lnTo>
                <a:cubicBezTo>
                  <a:pt x="2546138" y="2362200"/>
                  <a:pt x="2550372" y="1181100"/>
                  <a:pt x="2551430"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chemeClr val="bg1"/>
              </a:solidFill>
            </a:endParaRPr>
          </a:p>
        </p:txBody>
      </p:sp>
      <p:sp>
        <p:nvSpPr>
          <p:cNvPr id="12" name="Rectangle 11">
            <a:extLst>
              <a:ext uri="{FF2B5EF4-FFF2-40B4-BE49-F238E27FC236}">
                <a16:creationId xmlns:a16="http://schemas.microsoft.com/office/drawing/2014/main" id="{A5ED821D-F0E1-45ED-B1DB-4B403F6F9639}"/>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solidFill>
                <a:schemeClr val="bg1"/>
              </a:solidFill>
            </a:endParaRPr>
          </a:p>
        </p:txBody>
      </p:sp>
      <p:pic>
        <p:nvPicPr>
          <p:cNvPr id="13" name="Picture 12">
            <a:extLst>
              <a:ext uri="{FF2B5EF4-FFF2-40B4-BE49-F238E27FC236}">
                <a16:creationId xmlns:a16="http://schemas.microsoft.com/office/drawing/2014/main" id="{6E4BCE75-9D7F-4A20-A743-32D7B6C298D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7540"/>
            <a:ext cx="12193200" cy="6865540"/>
          </a:xfrm>
          <a:prstGeom prst="rect">
            <a:avLst/>
          </a:prstGeom>
        </p:spPr>
      </p:pic>
    </p:spTree>
    <p:extLst>
      <p:ext uri="{BB962C8B-B14F-4D97-AF65-F5344CB8AC3E}">
        <p14:creationId xmlns:p14="http://schemas.microsoft.com/office/powerpoint/2010/main" val="909906606"/>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 Option 1 L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C8454E-BB72-479B-8325-AC89FEA19C78}"/>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
        <p:nvSpPr>
          <p:cNvPr id="7" name="Title 1">
            <a:extLst>
              <a:ext uri="{FF2B5EF4-FFF2-40B4-BE49-F238E27FC236}">
                <a16:creationId xmlns:a16="http://schemas.microsoft.com/office/drawing/2014/main" id="{5E1BFC2F-99FE-45E8-9D6F-546CAB22414A}"/>
              </a:ext>
            </a:extLst>
          </p:cNvPr>
          <p:cNvSpPr>
            <a:spLocks noGrp="1"/>
          </p:cNvSpPr>
          <p:nvPr>
            <p:ph type="title" hasCustomPrompt="1"/>
          </p:nvPr>
        </p:nvSpPr>
        <p:spPr>
          <a:xfrm>
            <a:off x="460744" y="2122014"/>
            <a:ext cx="5254256" cy="1230786"/>
          </a:xfrm>
          <a:prstGeom prst="rect">
            <a:avLst/>
          </a:prstGeom>
        </p:spPr>
        <p:txBody>
          <a:bodyPr lIns="0" anchor="t">
            <a:noAutofit/>
          </a:bodyPr>
          <a:lstStyle>
            <a:lvl1pPr>
              <a:defRPr lang="en-GB" sz="8000" dirty="0">
                <a:solidFill>
                  <a:schemeClr val="tx1"/>
                </a:solidFill>
                <a:cs typeface="+mn-cs"/>
              </a:defRPr>
            </a:lvl1pPr>
          </a:lstStyle>
          <a:p>
            <a:pPr lvl="0">
              <a:lnSpc>
                <a:spcPct val="90000"/>
              </a:lnSpc>
              <a:spcBef>
                <a:spcPts val="1000"/>
              </a:spcBef>
              <a:buFontTx/>
            </a:pPr>
            <a:r>
              <a:rPr lang="en-US" dirty="0"/>
              <a:t>Thank you.</a:t>
            </a:r>
            <a:endParaRPr lang="en-GB"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8" name="Graphic 34">
            <a:extLst>
              <a:ext uri="{FF2B5EF4-FFF2-40B4-BE49-F238E27FC236}">
                <a16:creationId xmlns:a16="http://schemas.microsoft.com/office/drawing/2014/main" id="{5A1ED52C-F219-40BD-AD78-26E909BD3112}"/>
              </a:ext>
            </a:extLst>
          </p:cNvPr>
          <p:cNvPicPr>
            <a:picLocks noChangeAspect="1"/>
          </p:cNvPicPr>
          <p:nvPr userDrawn="1"/>
        </p:nvPicPr>
        <p:blipFill>
          <a:blip cstate="email">
            <a:extLst>
              <a:ext uri="{28A0092B-C50C-407E-A947-70E740481C1C}">
                <a14:useLocalDpi xmlns:a14="http://schemas.microsoft.com/office/drawing/2010/main"/>
              </a:ext>
            </a:extLst>
          </a:blip>
          <a:stretch>
            <a:fillRect/>
          </a:stretch>
        </p:blipFill>
        <p:spPr>
          <a:xfrm>
            <a:off x="3529645" y="3617578"/>
            <a:ext cx="1800002" cy="748346"/>
          </a:xfrm>
          <a:prstGeom prst="rect">
            <a:avLst/>
          </a:prstGeom>
        </p:spPr>
      </p:pic>
      <p:sp>
        <p:nvSpPr>
          <p:cNvPr id="5" name="Footer Placeholder 3">
            <a:extLst>
              <a:ext uri="{FF2B5EF4-FFF2-40B4-BE49-F238E27FC236}">
                <a16:creationId xmlns:a16="http://schemas.microsoft.com/office/drawing/2014/main" id="{30402B9B-95A9-DD4E-9E17-67C7ED8D018C}"/>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tx1"/>
                </a:solidFill>
              </a:defRPr>
            </a:lvl1pPr>
          </a:lstStyle>
          <a:p>
            <a:r>
              <a:rPr lang="en-US" dirty="0">
                <a:ea typeface="Cambria" panose="02040503050406030204" pitchFamily="18" charset="0"/>
                <a:cs typeface="Calibri" charset="0"/>
              </a:rPr>
              <a:t>® 2021 Copyright Genpact. All Rights Reserved.</a:t>
            </a:r>
          </a:p>
        </p:txBody>
      </p:sp>
      <p:cxnSp>
        <p:nvCxnSpPr>
          <p:cNvPr id="12" name="Straight Connector 11">
            <a:extLst>
              <a:ext uri="{FF2B5EF4-FFF2-40B4-BE49-F238E27FC236}">
                <a16:creationId xmlns:a16="http://schemas.microsoft.com/office/drawing/2014/main" id="{A2A4B7B2-518E-447B-9F5A-DC1C14AB06C7}"/>
              </a:ext>
            </a:extLst>
          </p:cNvPr>
          <p:cNvCxnSpPr>
            <a:cxnSpLocks/>
          </p:cNvCxnSpPr>
          <p:nvPr userDrawn="1"/>
        </p:nvCxnSpPr>
        <p:spPr>
          <a:xfrm>
            <a:off x="457199" y="3429000"/>
            <a:ext cx="5562601" cy="0"/>
          </a:xfrm>
          <a:prstGeom prst="line">
            <a:avLst/>
          </a:prstGeom>
          <a:ln w="22225" cap="rnd">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926042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hank You - Option 1 Light">
    <p:bg>
      <p:bgPr>
        <a:solidFill>
          <a:schemeClr val="tx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E1BFC2F-99FE-45E8-9D6F-546CAB22414A}"/>
              </a:ext>
            </a:extLst>
          </p:cNvPr>
          <p:cNvSpPr>
            <a:spLocks noGrp="1"/>
          </p:cNvSpPr>
          <p:nvPr>
            <p:ph type="title" hasCustomPrompt="1"/>
          </p:nvPr>
        </p:nvSpPr>
        <p:spPr>
          <a:xfrm>
            <a:off x="460744" y="2122014"/>
            <a:ext cx="5254256" cy="990000"/>
          </a:xfrm>
          <a:prstGeom prst="rect">
            <a:avLst/>
          </a:prstGeom>
        </p:spPr>
        <p:txBody>
          <a:bodyPr lIns="0" anchor="t">
            <a:noAutofit/>
          </a:bodyPr>
          <a:lstStyle>
            <a:lvl1pPr>
              <a:defRPr lang="en-GB" sz="8000" dirty="0">
                <a:solidFill>
                  <a:schemeClr val="bg1"/>
                </a:solidFill>
                <a:cs typeface="+mn-cs"/>
              </a:defRPr>
            </a:lvl1pPr>
          </a:lstStyle>
          <a:p>
            <a:pPr lvl="0">
              <a:lnSpc>
                <a:spcPct val="90000"/>
              </a:lnSpc>
              <a:spcBef>
                <a:spcPts val="1000"/>
              </a:spcBef>
              <a:buFontTx/>
            </a:pPr>
            <a:r>
              <a:rPr lang="en-US" dirty="0"/>
              <a:t>Thank you.</a:t>
            </a:r>
            <a:endParaRPr lang="en-GB" dirty="0"/>
          </a:p>
        </p:txBody>
      </p:sp>
      <p:sp>
        <p:nvSpPr>
          <p:cNvPr id="11" name="Picture Placeholder 10">
            <a:extLst>
              <a:ext uri="{FF2B5EF4-FFF2-40B4-BE49-F238E27FC236}">
                <a16:creationId xmlns:a16="http://schemas.microsoft.com/office/drawing/2014/main" id="{E23385E9-575A-4E97-BE38-0A19A73B40AC}"/>
              </a:ext>
            </a:extLst>
          </p:cNvPr>
          <p:cNvSpPr>
            <a:spLocks noGrp="1"/>
          </p:cNvSpPr>
          <p:nvPr>
            <p:ph type="pic" sz="quarter" idx="17" hasCustomPrompt="1"/>
          </p:nvPr>
        </p:nvSpPr>
        <p:spPr>
          <a:xfrm>
            <a:off x="4060396" y="2764868"/>
            <a:ext cx="8131604" cy="4093132"/>
          </a:xfrm>
          <a:custGeom>
            <a:avLst/>
            <a:gdLst>
              <a:gd name="connsiteX0" fmla="*/ 5893093 w 8131604"/>
              <a:gd name="connsiteY0" fmla="*/ 0 h 4093132"/>
              <a:gd name="connsiteX1" fmla="*/ 8131604 w 8131604"/>
              <a:gd name="connsiteY1" fmla="*/ 1558441 h 4093132"/>
              <a:gd name="connsiteX2" fmla="*/ 8129060 w 8131604"/>
              <a:gd name="connsiteY2" fmla="*/ 4093132 h 4093132"/>
              <a:gd name="connsiteX3" fmla="*/ 0 w 8131604"/>
              <a:gd name="connsiteY3" fmla="*/ 4093132 h 4093132"/>
            </a:gdLst>
            <a:ahLst/>
            <a:cxnLst>
              <a:cxn ang="0">
                <a:pos x="connsiteX0" y="connsiteY0"/>
              </a:cxn>
              <a:cxn ang="0">
                <a:pos x="connsiteX1" y="connsiteY1"/>
              </a:cxn>
              <a:cxn ang="0">
                <a:pos x="connsiteX2" y="connsiteY2"/>
              </a:cxn>
              <a:cxn ang="0">
                <a:pos x="connsiteX3" y="connsiteY3"/>
              </a:cxn>
            </a:cxnLst>
            <a:rect l="l" t="t" r="r" b="b"/>
            <a:pathLst>
              <a:path w="8131604" h="4093132">
                <a:moveTo>
                  <a:pt x="5893093" y="0"/>
                </a:moveTo>
                <a:lnTo>
                  <a:pt x="8131604" y="1558441"/>
                </a:lnTo>
                <a:lnTo>
                  <a:pt x="8129060" y="4093132"/>
                </a:lnTo>
                <a:lnTo>
                  <a:pt x="0" y="4093132"/>
                </a:lnTo>
                <a:close/>
              </a:path>
            </a:pathLst>
          </a:custGeom>
          <a:solidFill>
            <a:schemeClr val="bg2"/>
          </a:solidFill>
        </p:spPr>
        <p:txBody>
          <a:bodyPr wrap="square" anchor="ctr" anchorCtr="0">
            <a:noAutofit/>
          </a:bodyPr>
          <a:lstStyle>
            <a:lvl1pPr marL="0" indent="0" algn="ctr">
              <a:buFont typeface="Arial" panose="020B0604020202020204" pitchFamily="34" charset="0"/>
              <a:buNone/>
              <a:defRPr sz="1800">
                <a:solidFill>
                  <a:schemeClr val="bg1"/>
                </a:solidFill>
              </a:defRPr>
            </a:lvl1pPr>
          </a:lstStyle>
          <a:p>
            <a:r>
              <a:rPr lang="en-GB" dirty="0"/>
              <a:t>Insert Picture</a:t>
            </a:r>
            <a:br>
              <a:rPr lang="en-GB" dirty="0"/>
            </a:br>
            <a:r>
              <a:rPr lang="en-GB" dirty="0"/>
              <a:t>Here</a:t>
            </a:r>
          </a:p>
        </p:txBody>
      </p:sp>
      <p:pic>
        <p:nvPicPr>
          <p:cNvPr id="8" name="Graphic 34">
            <a:extLst>
              <a:ext uri="{FF2B5EF4-FFF2-40B4-BE49-F238E27FC236}">
                <a16:creationId xmlns:a16="http://schemas.microsoft.com/office/drawing/2014/main" id="{5A1ED52C-F219-40BD-AD78-26E909BD3112}"/>
              </a:ext>
            </a:extLst>
          </p:cNvPr>
          <p:cNvPicPr>
            <a:picLocks noChangeAspect="1"/>
          </p:cNvPicPr>
          <p:nvPr userDrawn="1"/>
        </p:nvPicPr>
        <p:blipFill>
          <a:blip cstate="email">
            <a:extLst>
              <a:ext uri="{28A0092B-C50C-407E-A947-70E740481C1C}">
                <a14:useLocalDpi xmlns:a14="http://schemas.microsoft.com/office/drawing/2010/main"/>
              </a:ext>
            </a:extLst>
          </a:blip>
          <a:stretch>
            <a:fillRect/>
          </a:stretch>
        </p:blipFill>
        <p:spPr>
          <a:xfrm>
            <a:off x="496387" y="3565604"/>
            <a:ext cx="2810216" cy="1168340"/>
          </a:xfrm>
          <a:prstGeom prst="rect">
            <a:avLst/>
          </a:prstGeom>
        </p:spPr>
      </p:pic>
      <p:sp>
        <p:nvSpPr>
          <p:cNvPr id="5" name="Footer Placeholder 3">
            <a:extLst>
              <a:ext uri="{FF2B5EF4-FFF2-40B4-BE49-F238E27FC236}">
                <a16:creationId xmlns:a16="http://schemas.microsoft.com/office/drawing/2014/main" id="{30402B9B-95A9-DD4E-9E17-67C7ED8D018C}"/>
              </a:ext>
            </a:extLst>
          </p:cNvPr>
          <p:cNvSpPr>
            <a:spLocks noGrp="1"/>
          </p:cNvSpPr>
          <p:nvPr>
            <p:ph type="ftr" sz="quarter" idx="3"/>
          </p:nvPr>
        </p:nvSpPr>
        <p:spPr>
          <a:xfrm>
            <a:off x="371793" y="6426211"/>
            <a:ext cx="2396518" cy="222250"/>
          </a:xfrm>
          <a:prstGeom prst="rect">
            <a:avLst/>
          </a:prstGeom>
        </p:spPr>
        <p:txBody>
          <a:bodyPr vert="horz" lIns="91440" tIns="45720" rIns="91440" bIns="45720" rtlCol="0" anchor="t">
            <a:noAutofit/>
          </a:bodyPr>
          <a:lstStyle>
            <a:lvl1pPr algn="l">
              <a:defRPr sz="800">
                <a:solidFill>
                  <a:schemeClr val="bg1"/>
                </a:solidFill>
              </a:defRPr>
            </a:lvl1pPr>
          </a:lstStyle>
          <a:p>
            <a:r>
              <a:rPr lang="en-US" dirty="0">
                <a:ea typeface="Cambria" panose="02040503050406030204" pitchFamily="18" charset="0"/>
                <a:cs typeface="Calibri" charset="0"/>
              </a:rPr>
              <a:t>® 2021 Copyright Genpact. All Rights Reserved.</a:t>
            </a:r>
          </a:p>
        </p:txBody>
      </p:sp>
      <p:pic>
        <p:nvPicPr>
          <p:cNvPr id="10" name="Picture 9">
            <a:extLst>
              <a:ext uri="{FF2B5EF4-FFF2-40B4-BE49-F238E27FC236}">
                <a16:creationId xmlns:a16="http://schemas.microsoft.com/office/drawing/2014/main" id="{40F0B99F-2B18-47CB-9623-8E9B9DAA15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540"/>
            <a:ext cx="12193200" cy="6865540"/>
          </a:xfrm>
          <a:prstGeom prst="rect">
            <a:avLst/>
          </a:prstGeom>
        </p:spPr>
      </p:pic>
      <p:cxnSp>
        <p:nvCxnSpPr>
          <p:cNvPr id="12" name="Straight Connector 11">
            <a:extLst>
              <a:ext uri="{FF2B5EF4-FFF2-40B4-BE49-F238E27FC236}">
                <a16:creationId xmlns:a16="http://schemas.microsoft.com/office/drawing/2014/main" id="{E910E011-E927-4F15-A8F2-99DD5AC1449F}"/>
              </a:ext>
            </a:extLst>
          </p:cNvPr>
          <p:cNvCxnSpPr>
            <a:cxnSpLocks/>
          </p:cNvCxnSpPr>
          <p:nvPr userDrawn="1"/>
        </p:nvCxnSpPr>
        <p:spPr>
          <a:xfrm>
            <a:off x="457199" y="3429000"/>
            <a:ext cx="5562601" cy="0"/>
          </a:xfrm>
          <a:prstGeom prst="line">
            <a:avLst/>
          </a:prstGeom>
          <a:ln w="22225" cap="rnd">
            <a:gradFill flip="none" rotWithShape="1">
              <a:gsLst>
                <a:gs pos="0">
                  <a:schemeClr val="accent1"/>
                </a:gs>
                <a:gs pos="100000">
                  <a:schemeClr val="accent1">
                    <a:alpha val="0"/>
                  </a:schemeClr>
                </a:gs>
                <a:gs pos="88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902766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9_Pointer slide">
    <p:spTree>
      <p:nvGrpSpPr>
        <p:cNvPr id="1" name=""/>
        <p:cNvGrpSpPr/>
        <p:nvPr/>
      </p:nvGrpSpPr>
      <p:grpSpPr>
        <a:xfrm>
          <a:off x="0" y="0"/>
          <a:ext cx="0" cy="0"/>
          <a:chOff x="0" y="0"/>
          <a:chExt cx="0" cy="0"/>
        </a:xfrm>
      </p:grpSpPr>
      <p:sp>
        <p:nvSpPr>
          <p:cNvPr id="26" name="Text Placeholder 22"/>
          <p:cNvSpPr>
            <a:spLocks noGrp="1"/>
          </p:cNvSpPr>
          <p:nvPr>
            <p:ph type="body" sz="quarter" idx="13" hasCustomPrompt="1"/>
          </p:nvPr>
        </p:nvSpPr>
        <p:spPr>
          <a:xfrm>
            <a:off x="457200" y="1846944"/>
            <a:ext cx="11277600" cy="3892551"/>
          </a:xfrm>
          <a:prstGeom prst="rect">
            <a:avLst/>
          </a:prstGeom>
        </p:spPr>
        <p:txBody>
          <a:bodyPr anchor="t"/>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defRPr>
            </a:lvl3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r>
              <a:rPr lang="en-US" dirty="0" err="1"/>
              <a:t>Duis</a:t>
            </a:r>
            <a:r>
              <a:rPr lang="en-US" dirty="0"/>
              <a:t>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a:t>
            </a:r>
            <a:r>
              <a:rPr lang="en-US" dirty="0" err="1"/>
              <a:t>dolore</a:t>
            </a:r>
            <a:r>
              <a:rPr lang="en-US" dirty="0"/>
              <a:t>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a:t>
            </a:r>
          </a:p>
          <a:p>
            <a:pPr lvl="1"/>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 </a:t>
            </a:r>
            <a:r>
              <a:rPr lang="en-US" dirty="0" err="1"/>
              <a:t>Sed</a:t>
            </a:r>
            <a:r>
              <a:rPr lang="en-US" dirty="0"/>
              <a: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r>
              <a:rPr lang="en-US" dirty="0"/>
              <a:t>.</a:t>
            </a:r>
          </a:p>
          <a:p>
            <a:pPr lvl="2"/>
            <a:r>
              <a:rPr lang="en-US" dirty="0" err="1"/>
              <a:t>Totam</a:t>
            </a:r>
            <a:r>
              <a:rPr lang="en-US" dirty="0"/>
              <a:t> rem </a:t>
            </a:r>
            <a:r>
              <a:rPr lang="en-US" dirty="0" err="1"/>
              <a:t>aperiam</a:t>
            </a:r>
            <a:r>
              <a:rPr lang="en-US" dirty="0"/>
              <a:t>, </a:t>
            </a:r>
            <a:r>
              <a:rPr lang="en-US" dirty="0" err="1"/>
              <a:t>eaque</a:t>
            </a:r>
            <a:r>
              <a:rPr lang="en-US" dirty="0"/>
              <a:t> </a:t>
            </a:r>
            <a:r>
              <a:rPr lang="en-US" dirty="0" err="1"/>
              <a:t>ipsa</a:t>
            </a:r>
            <a:r>
              <a:rPr lang="en-US" dirty="0"/>
              <a:t> quae ab </a:t>
            </a:r>
            <a:r>
              <a:rPr lang="en-US" dirty="0" err="1"/>
              <a:t>illo</a:t>
            </a:r>
            <a:r>
              <a:rPr lang="en-US" dirty="0"/>
              <a:t> </a:t>
            </a:r>
            <a:r>
              <a:rPr lang="en-US" dirty="0" err="1"/>
              <a:t>inventore</a:t>
            </a:r>
            <a:r>
              <a:rPr lang="en-US" dirty="0"/>
              <a:t> </a:t>
            </a:r>
            <a:r>
              <a:rPr lang="en-US" dirty="0" err="1"/>
              <a:t>veritatis</a:t>
            </a:r>
            <a:r>
              <a:rPr lang="en-US" dirty="0"/>
              <a:t> et quasi </a:t>
            </a:r>
            <a:r>
              <a:rPr lang="en-US" dirty="0" err="1"/>
              <a:t>architecto</a:t>
            </a:r>
            <a:r>
              <a:rPr lang="en-US" dirty="0"/>
              <a:t> </a:t>
            </a:r>
            <a:r>
              <a:rPr lang="en-US" dirty="0" err="1"/>
              <a:t>beatae</a:t>
            </a:r>
            <a:r>
              <a:rPr lang="en-US" dirty="0"/>
              <a:t> vitae dicta </a:t>
            </a:r>
            <a:r>
              <a:rPr lang="en-US" dirty="0" err="1"/>
              <a:t>sunt</a:t>
            </a:r>
            <a:r>
              <a:rPr lang="en-US" dirty="0"/>
              <a:t> </a:t>
            </a:r>
            <a:r>
              <a:rPr lang="en-US" dirty="0" err="1"/>
              <a:t>explicabo</a:t>
            </a:r>
            <a:r>
              <a:rPr lang="en-US" dirty="0"/>
              <a:t>. Nemo </a:t>
            </a:r>
            <a:r>
              <a:rPr lang="en-US" dirty="0" err="1"/>
              <a:t>enim</a:t>
            </a:r>
            <a:r>
              <a:rPr lang="en-US" dirty="0"/>
              <a:t> </a:t>
            </a:r>
            <a:r>
              <a:rPr lang="en-US" dirty="0" err="1"/>
              <a:t>ipsam</a:t>
            </a:r>
            <a:r>
              <a:rPr lang="en-US" dirty="0"/>
              <a:t> </a:t>
            </a:r>
            <a:r>
              <a:rPr lang="en-US" dirty="0" err="1"/>
              <a:t>voluptatem</a:t>
            </a:r>
            <a:r>
              <a:rPr lang="en-US" dirty="0"/>
              <a:t> </a:t>
            </a:r>
            <a:r>
              <a:rPr lang="en-US" dirty="0" err="1"/>
              <a:t>quia</a:t>
            </a:r>
            <a:r>
              <a:rPr lang="en-US" dirty="0"/>
              <a:t> </a:t>
            </a:r>
            <a:r>
              <a:rPr lang="en-US" dirty="0" err="1"/>
              <a:t>voluptas</a:t>
            </a:r>
            <a:r>
              <a:rPr lang="en-US" dirty="0"/>
              <a:t> sit </a:t>
            </a:r>
            <a:r>
              <a:rPr lang="en-US" dirty="0" err="1"/>
              <a:t>aspernatur</a:t>
            </a:r>
            <a:r>
              <a:rPr lang="en-US" dirty="0"/>
              <a:t> </a:t>
            </a:r>
            <a:r>
              <a:rPr lang="en-US" dirty="0" err="1"/>
              <a:t>aut</a:t>
            </a:r>
            <a:r>
              <a:rPr lang="en-US" dirty="0"/>
              <a:t> </a:t>
            </a:r>
            <a:r>
              <a:rPr lang="en-US" dirty="0" err="1"/>
              <a:t>odit</a:t>
            </a:r>
            <a:r>
              <a:rPr lang="en-US" dirty="0"/>
              <a:t> </a:t>
            </a:r>
            <a:r>
              <a:rPr lang="en-US" dirty="0" err="1"/>
              <a:t>aut</a:t>
            </a:r>
            <a:r>
              <a:rPr lang="en-US" dirty="0"/>
              <a:t> fugit, </a:t>
            </a:r>
            <a:r>
              <a:rPr lang="en-US" dirty="0" err="1"/>
              <a:t>sed</a:t>
            </a:r>
            <a:r>
              <a:rPr lang="en-US" dirty="0"/>
              <a:t> </a:t>
            </a:r>
            <a:r>
              <a:rPr lang="en-US" dirty="0" err="1"/>
              <a:t>quia</a:t>
            </a:r>
            <a:r>
              <a:rPr lang="en-US" dirty="0"/>
              <a:t> </a:t>
            </a:r>
            <a:r>
              <a:rPr lang="en-US" dirty="0" err="1"/>
              <a:t>consequuntur</a:t>
            </a:r>
            <a:r>
              <a:rPr lang="en-US" dirty="0"/>
              <a:t> </a:t>
            </a:r>
            <a:r>
              <a:rPr lang="en-US" dirty="0" err="1"/>
              <a:t>magni</a:t>
            </a:r>
            <a:r>
              <a:rPr lang="en-US" dirty="0"/>
              <a:t> </a:t>
            </a:r>
            <a:r>
              <a:rPr lang="en-US" dirty="0" err="1"/>
              <a:t>dolores</a:t>
            </a:r>
            <a:r>
              <a:rPr lang="en-US" dirty="0"/>
              <a:t> </a:t>
            </a:r>
            <a:r>
              <a:rPr lang="en-US" dirty="0" err="1"/>
              <a:t>eos</a:t>
            </a:r>
            <a:endParaRPr lang="en-US" dirty="0"/>
          </a:p>
          <a:p>
            <a:pPr lvl="0"/>
            <a:r>
              <a:rPr lang="en-US" dirty="0"/>
              <a:t>Qui </a:t>
            </a:r>
            <a:r>
              <a:rPr lang="en-US" dirty="0" err="1"/>
              <a:t>ratione</a:t>
            </a:r>
            <a:r>
              <a:rPr lang="en-US" dirty="0"/>
              <a:t> </a:t>
            </a:r>
            <a:r>
              <a:rPr lang="en-US" dirty="0" err="1"/>
              <a:t>voluptatem</a:t>
            </a:r>
            <a:r>
              <a:rPr lang="en-US" dirty="0"/>
              <a:t> </a:t>
            </a:r>
            <a:r>
              <a:rPr lang="en-US" dirty="0" err="1"/>
              <a:t>sequi</a:t>
            </a:r>
            <a:r>
              <a:rPr lang="en-US" dirty="0"/>
              <a:t> </a:t>
            </a:r>
            <a:r>
              <a:rPr lang="en-US" dirty="0" err="1"/>
              <a:t>nesciunt</a:t>
            </a:r>
            <a:r>
              <a:rPr lang="en-US" dirty="0"/>
              <a:t>. </a:t>
            </a:r>
            <a:r>
              <a:rPr lang="en-US" dirty="0" err="1"/>
              <a:t>Neque</a:t>
            </a:r>
            <a:r>
              <a:rPr lang="en-US" dirty="0"/>
              <a:t> </a:t>
            </a:r>
            <a:r>
              <a:rPr lang="en-US" dirty="0" err="1"/>
              <a:t>porro</a:t>
            </a:r>
            <a:r>
              <a:rPr lang="en-US" dirty="0"/>
              <a:t> </a:t>
            </a:r>
            <a:r>
              <a:rPr lang="en-US" dirty="0" err="1"/>
              <a:t>quisquam</a:t>
            </a:r>
            <a:r>
              <a:rPr lang="en-US" dirty="0"/>
              <a:t> </a:t>
            </a:r>
            <a:r>
              <a:rPr lang="en-US" dirty="0" err="1"/>
              <a:t>est</a:t>
            </a:r>
            <a:r>
              <a:rPr lang="en-US" dirty="0"/>
              <a:t>, qui </a:t>
            </a:r>
            <a:r>
              <a:rPr lang="en-US" dirty="0" err="1"/>
              <a:t>dolorem</a:t>
            </a:r>
            <a:r>
              <a:rPr lang="en-US" dirty="0"/>
              <a:t> ipsum </a:t>
            </a:r>
            <a:r>
              <a:rPr lang="en-US" dirty="0" err="1"/>
              <a:t>quia</a:t>
            </a:r>
            <a:r>
              <a:rPr lang="en-US" dirty="0"/>
              <a:t> dolor sit </a:t>
            </a:r>
            <a:r>
              <a:rPr lang="en-US" dirty="0" err="1"/>
              <a:t>amet</a:t>
            </a:r>
            <a:r>
              <a:rPr lang="en-US" dirty="0"/>
              <a:t>, </a:t>
            </a:r>
            <a:r>
              <a:rPr lang="en-US" dirty="0" err="1"/>
              <a:t>consectetur</a:t>
            </a:r>
            <a:r>
              <a:rPr lang="en-US" dirty="0"/>
              <a:t>, </a:t>
            </a:r>
            <a:r>
              <a:rPr lang="en-US" dirty="0" err="1"/>
              <a:t>adipisci</a:t>
            </a:r>
            <a:r>
              <a:rPr lang="en-US" dirty="0"/>
              <a:t> </a:t>
            </a:r>
            <a:r>
              <a:rPr lang="en-US" dirty="0" err="1"/>
              <a:t>velit</a:t>
            </a:r>
            <a:r>
              <a:rPr lang="en-US" dirty="0"/>
              <a:t>, </a:t>
            </a:r>
            <a:r>
              <a:rPr lang="en-US" dirty="0" err="1"/>
              <a:t>sed</a:t>
            </a:r>
            <a:r>
              <a:rPr lang="en-US" dirty="0"/>
              <a:t> </a:t>
            </a:r>
            <a:r>
              <a:rPr lang="en-US" dirty="0" err="1"/>
              <a:t>quia</a:t>
            </a:r>
            <a:r>
              <a:rPr lang="en-US" dirty="0"/>
              <a:t> non </a:t>
            </a:r>
            <a:r>
              <a:rPr lang="en-US" dirty="0" err="1"/>
              <a:t>numquam</a:t>
            </a:r>
            <a:r>
              <a:rPr lang="en-US" dirty="0"/>
              <a:t> </a:t>
            </a:r>
            <a:r>
              <a:rPr lang="en-US" dirty="0" err="1"/>
              <a:t>eius</a:t>
            </a:r>
            <a:r>
              <a:rPr lang="en-US" dirty="0"/>
              <a:t> </a:t>
            </a:r>
            <a:r>
              <a:rPr lang="en-US" dirty="0" err="1"/>
              <a:t>modi</a:t>
            </a:r>
            <a:r>
              <a:rPr lang="en-US" dirty="0"/>
              <a:t> </a:t>
            </a:r>
            <a:r>
              <a:rPr lang="en-US" dirty="0" err="1"/>
              <a:t>tempora</a:t>
            </a:r>
            <a:r>
              <a:rPr lang="en-US" dirty="0"/>
              <a:t> </a:t>
            </a:r>
            <a:r>
              <a:rPr lang="en-US" dirty="0" err="1"/>
              <a:t>incidunt</a:t>
            </a:r>
            <a:r>
              <a:rPr lang="en-US" dirty="0"/>
              <a:t> </a:t>
            </a:r>
            <a:r>
              <a:rPr lang="en-US" dirty="0" err="1"/>
              <a:t>ut</a:t>
            </a:r>
            <a:r>
              <a:rPr lang="en-US" dirty="0"/>
              <a:t> </a:t>
            </a:r>
            <a:r>
              <a:rPr lang="en-US" dirty="0" err="1"/>
              <a:t>labore</a:t>
            </a:r>
            <a:r>
              <a:rPr lang="en-US" dirty="0"/>
              <a:t> et </a:t>
            </a:r>
            <a:r>
              <a:rPr lang="en-US" dirty="0" err="1"/>
              <a:t>dolore</a:t>
            </a:r>
            <a:r>
              <a:rPr lang="en-US" dirty="0"/>
              <a:t> </a:t>
            </a:r>
            <a:r>
              <a:rPr lang="en-US" dirty="0" err="1"/>
              <a:t>magnam</a:t>
            </a:r>
            <a:r>
              <a:rPr lang="en-US" dirty="0"/>
              <a:t> </a:t>
            </a:r>
            <a:r>
              <a:rPr lang="en-US" dirty="0" err="1"/>
              <a:t>aliquam</a:t>
            </a:r>
            <a:r>
              <a:rPr lang="en-US" dirty="0"/>
              <a:t> </a:t>
            </a:r>
            <a:r>
              <a:rPr lang="en-US" dirty="0" err="1"/>
              <a:t>quaerat</a:t>
            </a:r>
            <a:r>
              <a:rPr lang="en-US" dirty="0"/>
              <a:t> </a:t>
            </a:r>
            <a:r>
              <a:rPr lang="en-US" dirty="0" err="1"/>
              <a:t>voluptatem</a:t>
            </a:r>
            <a:r>
              <a:rPr lang="en-US" dirty="0"/>
              <a:t>.</a:t>
            </a:r>
          </a:p>
        </p:txBody>
      </p:sp>
      <p:sp>
        <p:nvSpPr>
          <p:cNvPr id="33" name="Text Placeholder 22"/>
          <p:cNvSpPr>
            <a:spLocks noGrp="1"/>
          </p:cNvSpPr>
          <p:nvPr>
            <p:ph type="body" sz="quarter" idx="11" hasCustomPrompt="1"/>
          </p:nvPr>
        </p:nvSpPr>
        <p:spPr>
          <a:xfrm>
            <a:off x="460744" y="471715"/>
            <a:ext cx="7235456" cy="533400"/>
          </a:xfrm>
          <a:prstGeom prst="rect">
            <a:avLst/>
          </a:prstGeom>
        </p:spPr>
        <p:txBody>
          <a:bodyPr lIns="0" anchor="ctr"/>
          <a:lstStyle>
            <a:lvl1pPr>
              <a:defRPr sz="3000">
                <a:solidFill>
                  <a:srgbClr val="063161"/>
                </a:solidFill>
                <a:latin typeface="Georgia" panose="02040502050405020303" pitchFamily="18" charset="0"/>
              </a:defRPr>
            </a:lvl1pPr>
          </a:lstStyle>
          <a:p>
            <a:pPr lvl="0"/>
            <a:r>
              <a:rPr lang="en-US" dirty="0"/>
              <a:t>Content slide title goes here</a:t>
            </a:r>
          </a:p>
        </p:txBody>
      </p:sp>
      <p:sp>
        <p:nvSpPr>
          <p:cNvPr id="34" name="Text Placeholder 22"/>
          <p:cNvSpPr>
            <a:spLocks noGrp="1"/>
          </p:cNvSpPr>
          <p:nvPr>
            <p:ph type="body" sz="quarter" idx="12" hasCustomPrompt="1"/>
          </p:nvPr>
        </p:nvSpPr>
        <p:spPr>
          <a:xfrm>
            <a:off x="460744" y="976087"/>
            <a:ext cx="9673856" cy="533400"/>
          </a:xfrm>
          <a:prstGeom prst="rect">
            <a:avLst/>
          </a:prstGeom>
        </p:spPr>
        <p:txBody>
          <a:bodyPr lIns="0" anchor="ctr"/>
          <a:lstStyle>
            <a:lvl1pPr>
              <a:defRPr sz="2200">
                <a:solidFill>
                  <a:srgbClr val="063161"/>
                </a:solidFill>
                <a:latin typeface="Georgia" panose="02040502050405020303" pitchFamily="18"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endParaRPr lang="en-US" dirty="0"/>
          </a:p>
        </p:txBody>
      </p:sp>
      <p:sp>
        <p:nvSpPr>
          <p:cNvPr id="8" name="Slide Number Placeholder 5"/>
          <p:cNvSpPr txBox="1">
            <a:spLocks/>
          </p:cNvSpPr>
          <p:nvPr userDrawn="1"/>
        </p:nvSpPr>
        <p:spPr>
          <a:xfrm>
            <a:off x="464594" y="6546567"/>
            <a:ext cx="682256" cy="215444"/>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85110E-A93C-E24B-BA01-8EFF0EF70079}" type="slidenum">
              <a:rPr lang="en-US" b="1" smtClean="0">
                <a:solidFill>
                  <a:schemeClr val="accent6"/>
                </a:solidFill>
                <a:latin typeface="+mn-lt"/>
              </a:rPr>
              <a:pPr/>
              <a:t>‹#›</a:t>
            </a:fld>
            <a:endParaRPr lang="en-US" b="1" dirty="0">
              <a:solidFill>
                <a:schemeClr val="accent6"/>
              </a:solidFill>
              <a:latin typeface="+mn-lt"/>
            </a:endParaRPr>
          </a:p>
        </p:txBody>
      </p:sp>
      <p:sp>
        <p:nvSpPr>
          <p:cNvPr id="9" name="TextBox 8"/>
          <p:cNvSpPr txBox="1"/>
          <p:nvPr userDrawn="1"/>
        </p:nvSpPr>
        <p:spPr>
          <a:xfrm>
            <a:off x="805722" y="6546567"/>
            <a:ext cx="2361408" cy="215444"/>
          </a:xfrm>
          <a:prstGeom prst="rect">
            <a:avLst/>
          </a:prstGeom>
          <a:noFill/>
        </p:spPr>
        <p:txBody>
          <a:bodyPr wrap="square" lIns="0" tIns="0" rIns="0" bIns="0" rtlCol="0" anchor="ctr">
            <a:noAutofit/>
          </a:bodyPr>
          <a:lstStyle/>
          <a:p>
            <a:r>
              <a:rPr lang="en-US" sz="800" dirty="0">
                <a:solidFill>
                  <a:schemeClr val="accent6"/>
                </a:solidFill>
                <a:latin typeface="+mn-lt"/>
                <a:ea typeface="Georgia" charset="0"/>
                <a:cs typeface="Georgia" charset="0"/>
              </a:rPr>
              <a:t>© 2019 Copyright Genpact. All Rights Reserved.</a:t>
            </a:r>
          </a:p>
        </p:txBody>
      </p:sp>
      <p:pic>
        <p:nvPicPr>
          <p:cNvPr id="1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894219" y="6463445"/>
            <a:ext cx="838200" cy="30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9882118"/>
      </p:ext>
    </p:extLst>
  </p:cSld>
  <p:clrMapOvr>
    <a:masterClrMapping/>
  </p:clrMapOvr>
  <p:extLst>
    <p:ext uri="{DCECCB84-F9BA-43D5-87BE-67443E8EF086}">
      <p15:sldGuideLst xmlns:p15="http://schemas.microsoft.com/office/powerpoint/2012/main">
        <p15:guide id="2" pos="288">
          <p15:clr>
            <a:srgbClr val="FBAE40"/>
          </p15:clr>
        </p15:guide>
        <p15:guide id="3" pos="7392">
          <p15:clr>
            <a:srgbClr val="FBAE40"/>
          </p15:clr>
        </p15:guide>
        <p15:guide id="5" orient="horz" pos="288">
          <p15:clr>
            <a:srgbClr val="FBAE40"/>
          </p15:clr>
        </p15:guide>
        <p15:guide id="6" orient="horz" pos="403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Divider Option 2">
    <p:bg>
      <p:bgPr>
        <a:solidFill>
          <a:schemeClr val="bg1"/>
        </a:solidFill>
        <a:effectLst/>
      </p:bgPr>
    </p:bg>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842DA984-1D2F-2140-8491-B516D776CAC4}"/>
              </a:ext>
            </a:extLst>
          </p:cNvPr>
          <p:cNvSpPr/>
          <p:nvPr userDrawn="1"/>
        </p:nvSpPr>
        <p:spPr>
          <a:xfrm>
            <a:off x="0" y="4910678"/>
            <a:ext cx="4279900" cy="1947322"/>
          </a:xfrm>
          <a:custGeom>
            <a:avLst/>
            <a:gdLst>
              <a:gd name="connsiteX0" fmla="*/ 1467015 w 4279900"/>
              <a:gd name="connsiteY0" fmla="*/ 0 h 1947322"/>
              <a:gd name="connsiteX1" fmla="*/ 4279900 w 4279900"/>
              <a:gd name="connsiteY1" fmla="*/ 1947322 h 1947322"/>
              <a:gd name="connsiteX2" fmla="*/ 0 w 4279900"/>
              <a:gd name="connsiteY2" fmla="*/ 1947322 h 1947322"/>
              <a:gd name="connsiteX3" fmla="*/ 0 w 4279900"/>
              <a:gd name="connsiteY3" fmla="*/ 1020577 h 1947322"/>
            </a:gdLst>
            <a:ahLst/>
            <a:cxnLst>
              <a:cxn ang="0">
                <a:pos x="connsiteX0" y="connsiteY0"/>
              </a:cxn>
              <a:cxn ang="0">
                <a:pos x="connsiteX1" y="connsiteY1"/>
              </a:cxn>
              <a:cxn ang="0">
                <a:pos x="connsiteX2" y="connsiteY2"/>
              </a:cxn>
              <a:cxn ang="0">
                <a:pos x="connsiteX3" y="connsiteY3"/>
              </a:cxn>
            </a:cxnLst>
            <a:rect l="l" t="t" r="r" b="b"/>
            <a:pathLst>
              <a:path w="4279900" h="1947322">
                <a:moveTo>
                  <a:pt x="1467015" y="0"/>
                </a:moveTo>
                <a:lnTo>
                  <a:pt x="4279900" y="1947322"/>
                </a:lnTo>
                <a:lnTo>
                  <a:pt x="0" y="1947322"/>
                </a:lnTo>
                <a:lnTo>
                  <a:pt x="0" y="1020577"/>
                </a:lnTo>
                <a:close/>
              </a:path>
            </a:pathLst>
          </a:custGeom>
          <a:gradFill>
            <a:gsLst>
              <a:gs pos="0">
                <a:srgbClr val="FF555F"/>
              </a:gs>
              <a:gs pos="93000">
                <a:schemeClr val="accent2">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20" name="Picture Placeholder 19">
            <a:extLst>
              <a:ext uri="{FF2B5EF4-FFF2-40B4-BE49-F238E27FC236}">
                <a16:creationId xmlns:a16="http://schemas.microsoft.com/office/drawing/2014/main" id="{37363E61-7CF1-A94D-B206-5B49A9CC194D}"/>
              </a:ext>
            </a:extLst>
          </p:cNvPr>
          <p:cNvSpPr>
            <a:spLocks noGrp="1"/>
          </p:cNvSpPr>
          <p:nvPr>
            <p:ph type="pic" sz="quarter" idx="10"/>
          </p:nvPr>
        </p:nvSpPr>
        <p:spPr>
          <a:xfrm>
            <a:off x="2528966" y="141209"/>
            <a:ext cx="9663034" cy="6716791"/>
          </a:xfrm>
          <a:custGeom>
            <a:avLst/>
            <a:gdLst>
              <a:gd name="connsiteX0" fmla="*/ 9663034 w 9663034"/>
              <a:gd name="connsiteY0" fmla="*/ 0 h 6716791"/>
              <a:gd name="connsiteX1" fmla="*/ 9663034 w 9663034"/>
              <a:gd name="connsiteY1" fmla="*/ 4814575 h 6716791"/>
              <a:gd name="connsiteX2" fmla="*/ 6941731 w 9663034"/>
              <a:gd name="connsiteY2" fmla="*/ 6716791 h 6716791"/>
              <a:gd name="connsiteX3" fmla="*/ 0 w 9663034"/>
              <a:gd name="connsiteY3" fmla="*/ 6716791 h 6716791"/>
            </a:gdLst>
            <a:ahLst/>
            <a:cxnLst>
              <a:cxn ang="0">
                <a:pos x="connsiteX0" y="connsiteY0"/>
              </a:cxn>
              <a:cxn ang="0">
                <a:pos x="connsiteX1" y="connsiteY1"/>
              </a:cxn>
              <a:cxn ang="0">
                <a:pos x="connsiteX2" y="connsiteY2"/>
              </a:cxn>
              <a:cxn ang="0">
                <a:pos x="connsiteX3" y="connsiteY3"/>
              </a:cxn>
            </a:cxnLst>
            <a:rect l="l" t="t" r="r" b="b"/>
            <a:pathLst>
              <a:path w="9663034" h="6716791">
                <a:moveTo>
                  <a:pt x="9663034" y="0"/>
                </a:moveTo>
                <a:lnTo>
                  <a:pt x="9663034" y="4814575"/>
                </a:lnTo>
                <a:lnTo>
                  <a:pt x="6941731" y="6716791"/>
                </a:lnTo>
                <a:lnTo>
                  <a:pt x="0" y="6716791"/>
                </a:lnTo>
                <a:close/>
              </a:path>
            </a:pathLst>
          </a:custGeom>
          <a:solidFill>
            <a:schemeClr val="bg2"/>
          </a:solidFill>
        </p:spPr>
        <p:txBody>
          <a:bodyPr wrap="square" anchor="ctr" anchorCtr="0">
            <a:noAutofit/>
          </a:bodyPr>
          <a:lstStyle>
            <a:lvl1pPr>
              <a:defRPr lang="en-GB" sz="1800">
                <a:solidFill>
                  <a:schemeClr val="bg1"/>
                </a:solidFill>
              </a:defRPr>
            </a:lvl1pPr>
          </a:lstStyle>
          <a:p>
            <a:pPr marL="0" lvl="0" indent="0" algn="ctr">
              <a:buFont typeface="Arial" panose="020B0604020202020204" pitchFamily="34" charset="0"/>
              <a:buNone/>
            </a:pPr>
            <a:r>
              <a:rPr lang="en-US" dirty="0"/>
              <a:t>Click icon to add picture</a:t>
            </a:r>
            <a:endParaRPr lang="en-GB" dirty="0"/>
          </a:p>
        </p:txBody>
      </p:sp>
      <p:sp>
        <p:nvSpPr>
          <p:cNvPr id="24" name="Freeform 23">
            <a:extLst>
              <a:ext uri="{FF2B5EF4-FFF2-40B4-BE49-F238E27FC236}">
                <a16:creationId xmlns:a16="http://schemas.microsoft.com/office/drawing/2014/main" id="{321975A5-5726-314A-B546-DA0044580E14}"/>
              </a:ext>
            </a:extLst>
          </p:cNvPr>
          <p:cNvSpPr/>
          <p:nvPr userDrawn="1"/>
        </p:nvSpPr>
        <p:spPr>
          <a:xfrm>
            <a:off x="1745857" y="5440650"/>
            <a:ext cx="2442751" cy="1417350"/>
          </a:xfrm>
          <a:custGeom>
            <a:avLst/>
            <a:gdLst>
              <a:gd name="connsiteX0" fmla="*/ 2031703 w 2442751"/>
              <a:gd name="connsiteY0" fmla="*/ 0 h 1417350"/>
              <a:gd name="connsiteX1" fmla="*/ 2442751 w 2442751"/>
              <a:gd name="connsiteY1" fmla="*/ 267995 h 1417350"/>
              <a:gd name="connsiteX2" fmla="*/ 783199 w 2442751"/>
              <a:gd name="connsiteY2" fmla="*/ 1417350 h 1417350"/>
              <a:gd name="connsiteX3" fmla="*/ 0 w 2442751"/>
              <a:gd name="connsiteY3" fmla="*/ 1417350 h 1417350"/>
            </a:gdLst>
            <a:ahLst/>
            <a:cxnLst>
              <a:cxn ang="0">
                <a:pos x="connsiteX0" y="connsiteY0"/>
              </a:cxn>
              <a:cxn ang="0">
                <a:pos x="connsiteX1" y="connsiteY1"/>
              </a:cxn>
              <a:cxn ang="0">
                <a:pos x="connsiteX2" y="connsiteY2"/>
              </a:cxn>
              <a:cxn ang="0">
                <a:pos x="connsiteX3" y="connsiteY3"/>
              </a:cxn>
            </a:cxnLst>
            <a:rect l="l" t="t" r="r" b="b"/>
            <a:pathLst>
              <a:path w="2442751" h="1417350">
                <a:moveTo>
                  <a:pt x="2031703" y="0"/>
                </a:moveTo>
                <a:lnTo>
                  <a:pt x="2442751" y="267995"/>
                </a:lnTo>
                <a:lnTo>
                  <a:pt x="783199" y="1417350"/>
                </a:lnTo>
                <a:lnTo>
                  <a:pt x="0" y="1417350"/>
                </a:lnTo>
                <a:close/>
              </a:path>
            </a:pathLst>
          </a:custGeom>
          <a:gradFill>
            <a:gsLst>
              <a:gs pos="0">
                <a:schemeClr val="accent1"/>
              </a:gs>
              <a:gs pos="89000">
                <a:schemeClr val="accent1">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
        <p:nvSpPr>
          <p:cNvPr id="9" name="Text Placeholder 10">
            <a:extLst>
              <a:ext uri="{FF2B5EF4-FFF2-40B4-BE49-F238E27FC236}">
                <a16:creationId xmlns:a16="http://schemas.microsoft.com/office/drawing/2014/main" id="{31F7ED88-D0CF-434E-AF66-2A6C617A15B9}"/>
              </a:ext>
            </a:extLst>
          </p:cNvPr>
          <p:cNvSpPr>
            <a:spLocks noGrp="1"/>
          </p:cNvSpPr>
          <p:nvPr>
            <p:ph type="body" sz="quarter" idx="15" hasCustomPrompt="1"/>
          </p:nvPr>
        </p:nvSpPr>
        <p:spPr>
          <a:xfrm>
            <a:off x="457199" y="2645439"/>
            <a:ext cx="5986800" cy="579600"/>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pic>
        <p:nvPicPr>
          <p:cNvPr id="31" name="Graphic 30">
            <a:extLst>
              <a:ext uri="{FF2B5EF4-FFF2-40B4-BE49-F238E27FC236}">
                <a16:creationId xmlns:a16="http://schemas.microsoft.com/office/drawing/2014/main" id="{6A93C236-DDC8-AB42-B158-C3A75D57257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
        <p:nvSpPr>
          <p:cNvPr id="15" name="Title 1">
            <a:extLst>
              <a:ext uri="{FF2B5EF4-FFF2-40B4-BE49-F238E27FC236}">
                <a16:creationId xmlns:a16="http://schemas.microsoft.com/office/drawing/2014/main" id="{EB28338C-0118-4339-8B11-1628D97DA4BA}"/>
              </a:ext>
            </a:extLst>
          </p:cNvPr>
          <p:cNvSpPr>
            <a:spLocks noGrp="1"/>
          </p:cNvSpPr>
          <p:nvPr>
            <p:ph type="title" hasCustomPrompt="1"/>
          </p:nvPr>
        </p:nvSpPr>
        <p:spPr>
          <a:xfrm>
            <a:off x="460744" y="1232704"/>
            <a:ext cx="5983255" cy="970378"/>
          </a:xfrm>
        </p:spPr>
        <p:txBody>
          <a:bodyPr vert="horz" lIns="0" tIns="0" rIns="0" bIns="0" rtlCol="0" anchor="b">
            <a:noAutofit/>
          </a:bodyPr>
          <a:lstStyle>
            <a:lvl1pPr>
              <a:defRPr lang="en-GB" sz="4000" dirty="0" smtClean="0">
                <a:solidFill>
                  <a:schemeClr val="tx2"/>
                </a:solidFill>
              </a:defRPr>
            </a:lvl1pPr>
          </a:lstStyle>
          <a:p>
            <a:pPr marR="0" lvl="0" fontAlgn="auto">
              <a:lnSpc>
                <a:spcPct val="90000"/>
              </a:lnSpc>
              <a:spcBef>
                <a:spcPts val="1000"/>
              </a:spcBef>
              <a:spcAft>
                <a:spcPts val="0"/>
              </a:spcAft>
              <a:buClrTx/>
              <a:buSzTx/>
              <a:tabLst/>
            </a:pPr>
            <a:r>
              <a:rPr lang="en-US" dirty="0"/>
              <a:t>Slide divider option-2</a:t>
            </a:r>
            <a:endParaRPr lang="en-GB" dirty="0"/>
          </a:p>
        </p:txBody>
      </p:sp>
      <p:sp>
        <p:nvSpPr>
          <p:cNvPr id="12" name="Slide Number Placeholder 5">
            <a:extLst>
              <a:ext uri="{FF2B5EF4-FFF2-40B4-BE49-F238E27FC236}">
                <a16:creationId xmlns:a16="http://schemas.microsoft.com/office/drawing/2014/main" id="{45F13918-72BE-A948-812C-7F1FA995E53A}"/>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4" name="Footer Placeholder 3">
            <a:extLst>
              <a:ext uri="{FF2B5EF4-FFF2-40B4-BE49-F238E27FC236}">
                <a16:creationId xmlns:a16="http://schemas.microsoft.com/office/drawing/2014/main" id="{08964F2C-66D2-2D42-BC61-BC06971F043C}"/>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23" name="Slide Number Placeholder 5">
            <a:extLst>
              <a:ext uri="{FF2B5EF4-FFF2-40B4-BE49-F238E27FC236}">
                <a16:creationId xmlns:a16="http://schemas.microsoft.com/office/drawing/2014/main" id="{ADC32E83-7051-4988-BCEB-BB52366F78B7}"/>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30" name="Freeform 28">
            <a:extLst>
              <a:ext uri="{FF2B5EF4-FFF2-40B4-BE49-F238E27FC236}">
                <a16:creationId xmlns:a16="http://schemas.microsoft.com/office/drawing/2014/main" id="{447BDDC6-505D-4732-B677-284CBEC734D1}"/>
              </a:ext>
            </a:extLst>
          </p:cNvPr>
          <p:cNvSpPr/>
          <p:nvPr userDrawn="1"/>
        </p:nvSpPr>
        <p:spPr>
          <a:xfrm rot="10800000">
            <a:off x="9763185" y="-1"/>
            <a:ext cx="2428815" cy="1426848"/>
          </a:xfrm>
          <a:custGeom>
            <a:avLst/>
            <a:gdLst>
              <a:gd name="connsiteX0" fmla="*/ 991465 w 2428815"/>
              <a:gd name="connsiteY0" fmla="*/ 1426848 h 1426848"/>
              <a:gd name="connsiteX1" fmla="*/ 0 w 2428815"/>
              <a:gd name="connsiteY1" fmla="*/ 1426848 h 1426848"/>
              <a:gd name="connsiteX2" fmla="*/ 0 w 2428815"/>
              <a:gd name="connsiteY2" fmla="*/ 1283606 h 1426848"/>
              <a:gd name="connsiteX3" fmla="*/ 1845489 w 2428815"/>
              <a:gd name="connsiteY3" fmla="*/ 0 h 1426848"/>
              <a:gd name="connsiteX4" fmla="*/ 2428815 w 2428815"/>
              <a:gd name="connsiteY4" fmla="*/ 399380 h 1426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8815" h="1426848">
                <a:moveTo>
                  <a:pt x="991465" y="1426848"/>
                </a:moveTo>
                <a:lnTo>
                  <a:pt x="0" y="1426848"/>
                </a:lnTo>
                <a:lnTo>
                  <a:pt x="0" y="1283606"/>
                </a:lnTo>
                <a:lnTo>
                  <a:pt x="1845489" y="0"/>
                </a:lnTo>
                <a:lnTo>
                  <a:pt x="2428815" y="399380"/>
                </a:lnTo>
                <a:close/>
              </a:path>
            </a:pathLst>
          </a:custGeom>
          <a:gradFill>
            <a:gsLst>
              <a:gs pos="0">
                <a:schemeClr val="accent2"/>
              </a:gs>
              <a:gs pos="89000">
                <a:schemeClr val="accent2">
                  <a:alpha val="0"/>
                </a:schemeClr>
              </a:gs>
            </a:gsLst>
            <a:lin ang="0" scaled="0"/>
          </a:gradFill>
          <a:ln w="12700" cap="flat" cmpd="sng" algn="ctr">
            <a:noFill/>
            <a:prstDash val="solid"/>
            <a:miter lim="800000"/>
          </a:ln>
          <a:effectLst/>
        </p:spPr>
        <p:txBody>
          <a:bodyPr wrap="square" rtlCol="0" anchor="ctr">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a:ln>
                <a:noFill/>
              </a:ln>
              <a:solidFill>
                <a:srgbClr val="FFFFFF"/>
              </a:solidFill>
              <a:effectLst/>
              <a:uLnTx/>
              <a:uFillTx/>
              <a:latin typeface="Arial"/>
            </a:endParaRPr>
          </a:p>
        </p:txBody>
      </p:sp>
    </p:spTree>
    <p:extLst>
      <p:ext uri="{BB962C8B-B14F-4D97-AF65-F5344CB8AC3E}">
        <p14:creationId xmlns:p14="http://schemas.microsoft.com/office/powerpoint/2010/main" val="18296552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Divider Option 3">
    <p:bg>
      <p:bgPr>
        <a:solidFill>
          <a:schemeClr val="bg1"/>
        </a:solidFill>
        <a:effectLst/>
      </p:bgPr>
    </p:bg>
    <p:spTree>
      <p:nvGrpSpPr>
        <p:cNvPr id="1" name=""/>
        <p:cNvGrpSpPr/>
        <p:nvPr/>
      </p:nvGrpSpPr>
      <p:grpSpPr>
        <a:xfrm>
          <a:off x="0" y="0"/>
          <a:ext cx="0" cy="0"/>
          <a:chOff x="0" y="0"/>
          <a:chExt cx="0" cy="0"/>
        </a:xfrm>
      </p:grpSpPr>
      <p:sp>
        <p:nvSpPr>
          <p:cNvPr id="59" name="Text Placeholder 10">
            <a:extLst>
              <a:ext uri="{FF2B5EF4-FFF2-40B4-BE49-F238E27FC236}">
                <a16:creationId xmlns:a16="http://schemas.microsoft.com/office/drawing/2014/main" id="{AEBD811C-EEF2-4E64-B90F-61053E863A8B}"/>
              </a:ext>
            </a:extLst>
          </p:cNvPr>
          <p:cNvSpPr>
            <a:spLocks noGrp="1"/>
          </p:cNvSpPr>
          <p:nvPr>
            <p:ph type="body" sz="quarter" idx="15" hasCustomPrompt="1"/>
          </p:nvPr>
        </p:nvSpPr>
        <p:spPr>
          <a:xfrm>
            <a:off x="457199" y="3627052"/>
            <a:ext cx="5986800" cy="579600"/>
          </a:xfrm>
          <a:prstGeom prst="rect">
            <a:avLst/>
          </a:prstGeom>
        </p:spPr>
        <p:txBody>
          <a:bodyPr lIns="0" anchor="t">
            <a:noAutofit/>
          </a:bodyPr>
          <a:lstStyle>
            <a:lvl1pPr marL="0" indent="0">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da-DK" dirty="0"/>
              <a:t>Description goes here</a:t>
            </a:r>
            <a:endParaRPr lang="en-US" dirty="0"/>
          </a:p>
        </p:txBody>
      </p:sp>
      <p:sp>
        <p:nvSpPr>
          <p:cNvPr id="19" name="Freeform 18">
            <a:extLst>
              <a:ext uri="{FF2B5EF4-FFF2-40B4-BE49-F238E27FC236}">
                <a16:creationId xmlns:a16="http://schemas.microsoft.com/office/drawing/2014/main" id="{519455F8-E443-2E47-84AE-B5E3AB72DCED}"/>
              </a:ext>
            </a:extLst>
          </p:cNvPr>
          <p:cNvSpPr/>
          <p:nvPr/>
        </p:nvSpPr>
        <p:spPr>
          <a:xfrm>
            <a:off x="8285590" y="0"/>
            <a:ext cx="3906410" cy="4314825"/>
          </a:xfrm>
          <a:custGeom>
            <a:avLst/>
            <a:gdLst>
              <a:gd name="connsiteX0" fmla="*/ 0 w 3906410"/>
              <a:gd name="connsiteY0" fmla="*/ 0 h 4314825"/>
              <a:gd name="connsiteX1" fmla="*/ 3906410 w 3906410"/>
              <a:gd name="connsiteY1" fmla="*/ 0 h 4314825"/>
              <a:gd name="connsiteX2" fmla="*/ 3906410 w 3906410"/>
              <a:gd name="connsiteY2" fmla="*/ 3185599 h 4314825"/>
              <a:gd name="connsiteX3" fmla="*/ 3902170 w 3906410"/>
              <a:gd name="connsiteY3" fmla="*/ 3480792 h 4314825"/>
              <a:gd name="connsiteX4" fmla="*/ 3896886 w 3906410"/>
              <a:gd name="connsiteY4" fmla="*/ 4314825 h 4314825"/>
              <a:gd name="connsiteX5" fmla="*/ 1274336 w 3906410"/>
              <a:gd name="connsiteY5" fmla="*/ 2495550 h 4314825"/>
              <a:gd name="connsiteX6" fmla="*/ 2442736 w 3906410"/>
              <a:gd name="connsiteY6" fmla="*/ 1692275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410" h="4314825">
                <a:moveTo>
                  <a:pt x="0" y="0"/>
                </a:moveTo>
                <a:lnTo>
                  <a:pt x="3906410" y="0"/>
                </a:lnTo>
                <a:lnTo>
                  <a:pt x="3906410" y="3185599"/>
                </a:lnTo>
                <a:lnTo>
                  <a:pt x="3902170" y="3480792"/>
                </a:lnTo>
                <a:cubicBezTo>
                  <a:pt x="3899069" y="3758803"/>
                  <a:pt x="3897085" y="4036814"/>
                  <a:pt x="3896886" y="4314825"/>
                </a:cubicBezTo>
                <a:lnTo>
                  <a:pt x="1274336" y="2495550"/>
                </a:lnTo>
                <a:lnTo>
                  <a:pt x="2442736" y="1692275"/>
                </a:lnTo>
                <a:close/>
              </a:path>
            </a:pathLst>
          </a:custGeom>
          <a:gradFill>
            <a:gsLst>
              <a:gs pos="20000">
                <a:schemeClr val="accent1"/>
              </a:gs>
              <a:gs pos="97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Freeform: Shape 12">
            <a:extLst>
              <a:ext uri="{FF2B5EF4-FFF2-40B4-BE49-F238E27FC236}">
                <a16:creationId xmlns:a16="http://schemas.microsoft.com/office/drawing/2014/main" id="{E5C50561-D087-47A2-8E0E-B095F51A359E}"/>
              </a:ext>
            </a:extLst>
          </p:cNvPr>
          <p:cNvSpPr/>
          <p:nvPr/>
        </p:nvSpPr>
        <p:spPr>
          <a:xfrm>
            <a:off x="9555684" y="2262186"/>
            <a:ext cx="2636371" cy="3683939"/>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14964 w 2514964"/>
              <a:gd name="connsiteY0" fmla="*/ 0 h 3543300"/>
              <a:gd name="connsiteX1" fmla="*/ 0 w 2514964"/>
              <a:gd name="connsiteY1" fmla="*/ 1758723 h 3543300"/>
              <a:gd name="connsiteX2" fmla="*/ 2508614 w 2514964"/>
              <a:gd name="connsiteY2" fmla="*/ 3543300 h 3543300"/>
              <a:gd name="connsiteX3" fmla="*/ 2514964 w 2514964"/>
              <a:gd name="connsiteY3" fmla="*/ 0 h 3543300"/>
              <a:gd name="connsiteX0" fmla="*/ 2514964 w 2523277"/>
              <a:gd name="connsiteY0" fmla="*/ 0 h 3521420"/>
              <a:gd name="connsiteX1" fmla="*/ 0 w 2523277"/>
              <a:gd name="connsiteY1" fmla="*/ 1758723 h 3521420"/>
              <a:gd name="connsiteX2" fmla="*/ 2523201 w 2523277"/>
              <a:gd name="connsiteY2" fmla="*/ 3521420 h 3521420"/>
              <a:gd name="connsiteX3" fmla="*/ 2514964 w 2523277"/>
              <a:gd name="connsiteY3" fmla="*/ 0 h 3521420"/>
              <a:gd name="connsiteX0" fmla="*/ 2519523 w 2523330"/>
              <a:gd name="connsiteY0" fmla="*/ 0 h 3525979"/>
              <a:gd name="connsiteX1" fmla="*/ 0 w 2523330"/>
              <a:gd name="connsiteY1" fmla="*/ 1763282 h 3525979"/>
              <a:gd name="connsiteX2" fmla="*/ 2523201 w 2523330"/>
              <a:gd name="connsiteY2" fmla="*/ 3525979 h 3525979"/>
              <a:gd name="connsiteX3" fmla="*/ 2519523 w 2523330"/>
              <a:gd name="connsiteY3" fmla="*/ 0 h 3525979"/>
            </a:gdLst>
            <a:ahLst/>
            <a:cxnLst>
              <a:cxn ang="0">
                <a:pos x="connsiteX0" y="connsiteY0"/>
              </a:cxn>
              <a:cxn ang="0">
                <a:pos x="connsiteX1" y="connsiteY1"/>
              </a:cxn>
              <a:cxn ang="0">
                <a:pos x="connsiteX2" y="connsiteY2"/>
              </a:cxn>
              <a:cxn ang="0">
                <a:pos x="connsiteX3" y="connsiteY3"/>
              </a:cxn>
            </a:cxnLst>
            <a:rect l="l" t="t" r="r" b="b"/>
            <a:pathLst>
              <a:path w="2523330" h="3525979">
                <a:moveTo>
                  <a:pt x="2519523" y="0"/>
                </a:moveTo>
                <a:lnTo>
                  <a:pt x="0" y="1763282"/>
                </a:lnTo>
                <a:lnTo>
                  <a:pt x="2523201" y="3525979"/>
                </a:lnTo>
                <a:cubicBezTo>
                  <a:pt x="2524259" y="2344879"/>
                  <a:pt x="2518465" y="1181100"/>
                  <a:pt x="2519523" y="0"/>
                </a:cubicBezTo>
                <a:close/>
              </a:path>
            </a:pathLst>
          </a:custGeom>
          <a:gradFill>
            <a:gsLst>
              <a:gs pos="20000">
                <a:schemeClr val="accent3"/>
              </a:gs>
              <a:gs pos="92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2" name="Slide Number Placeholder 5">
            <a:extLst>
              <a:ext uri="{FF2B5EF4-FFF2-40B4-BE49-F238E27FC236}">
                <a16:creationId xmlns:a16="http://schemas.microsoft.com/office/drawing/2014/main" id="{93579135-1CDC-4141-83AA-F18A1F4EE702}"/>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6" name="Footer Placeholder 3">
            <a:extLst>
              <a:ext uri="{FF2B5EF4-FFF2-40B4-BE49-F238E27FC236}">
                <a16:creationId xmlns:a16="http://schemas.microsoft.com/office/drawing/2014/main" id="{F9BF7CD4-F228-C74B-A856-98CBA6265018}"/>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18" name="Title 1">
            <a:extLst>
              <a:ext uri="{FF2B5EF4-FFF2-40B4-BE49-F238E27FC236}">
                <a16:creationId xmlns:a16="http://schemas.microsoft.com/office/drawing/2014/main" id="{E41CDB2D-7FA5-4BA7-AEA0-FE2551E49CCF}"/>
              </a:ext>
            </a:extLst>
          </p:cNvPr>
          <p:cNvSpPr>
            <a:spLocks noGrp="1"/>
          </p:cNvSpPr>
          <p:nvPr>
            <p:ph type="title" hasCustomPrompt="1"/>
          </p:nvPr>
        </p:nvSpPr>
        <p:spPr>
          <a:xfrm>
            <a:off x="460744" y="2214317"/>
            <a:ext cx="5983255" cy="970378"/>
          </a:xfrm>
        </p:spPr>
        <p:txBody>
          <a:bodyPr vert="horz" lIns="0" tIns="0" rIns="0" bIns="0" rtlCol="0" anchor="b">
            <a:noAutofit/>
          </a:bodyPr>
          <a:lstStyle>
            <a:lvl1pPr>
              <a:defRPr lang="en-GB" sz="4000" dirty="0" smtClean="0">
                <a:solidFill>
                  <a:schemeClr val="tx2"/>
                </a:solidFill>
              </a:defRPr>
            </a:lvl1pPr>
          </a:lstStyle>
          <a:p>
            <a:pPr marR="0" lvl="0" fontAlgn="auto">
              <a:lnSpc>
                <a:spcPct val="90000"/>
              </a:lnSpc>
              <a:spcBef>
                <a:spcPts val="1000"/>
              </a:spcBef>
              <a:spcAft>
                <a:spcPts val="0"/>
              </a:spcAft>
              <a:buClrTx/>
              <a:buSzTx/>
              <a:tabLst/>
            </a:pPr>
            <a:r>
              <a:rPr lang="en-US" dirty="0"/>
              <a:t>Slide divider option-3</a:t>
            </a:r>
            <a:endParaRPr lang="en-GB" dirty="0"/>
          </a:p>
        </p:txBody>
      </p:sp>
      <p:sp>
        <p:nvSpPr>
          <p:cNvPr id="23" name="Freeform 18">
            <a:extLst>
              <a:ext uri="{FF2B5EF4-FFF2-40B4-BE49-F238E27FC236}">
                <a16:creationId xmlns:a16="http://schemas.microsoft.com/office/drawing/2014/main" id="{6F10E259-8957-4A25-A1FE-6233728BBD6A}"/>
              </a:ext>
            </a:extLst>
          </p:cNvPr>
          <p:cNvSpPr/>
          <p:nvPr userDrawn="1"/>
        </p:nvSpPr>
        <p:spPr>
          <a:xfrm>
            <a:off x="8285590" y="0"/>
            <a:ext cx="3906410" cy="4314825"/>
          </a:xfrm>
          <a:custGeom>
            <a:avLst/>
            <a:gdLst>
              <a:gd name="connsiteX0" fmla="*/ 0 w 3906410"/>
              <a:gd name="connsiteY0" fmla="*/ 0 h 4314825"/>
              <a:gd name="connsiteX1" fmla="*/ 3906410 w 3906410"/>
              <a:gd name="connsiteY1" fmla="*/ 0 h 4314825"/>
              <a:gd name="connsiteX2" fmla="*/ 3906410 w 3906410"/>
              <a:gd name="connsiteY2" fmla="*/ 3185599 h 4314825"/>
              <a:gd name="connsiteX3" fmla="*/ 3902170 w 3906410"/>
              <a:gd name="connsiteY3" fmla="*/ 3480792 h 4314825"/>
              <a:gd name="connsiteX4" fmla="*/ 3896886 w 3906410"/>
              <a:gd name="connsiteY4" fmla="*/ 4314825 h 4314825"/>
              <a:gd name="connsiteX5" fmla="*/ 1274336 w 3906410"/>
              <a:gd name="connsiteY5" fmla="*/ 2495550 h 4314825"/>
              <a:gd name="connsiteX6" fmla="*/ 2442736 w 3906410"/>
              <a:gd name="connsiteY6" fmla="*/ 1692275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410" h="4314825">
                <a:moveTo>
                  <a:pt x="0" y="0"/>
                </a:moveTo>
                <a:lnTo>
                  <a:pt x="3906410" y="0"/>
                </a:lnTo>
                <a:lnTo>
                  <a:pt x="3906410" y="3185599"/>
                </a:lnTo>
                <a:lnTo>
                  <a:pt x="3902170" y="3480792"/>
                </a:lnTo>
                <a:cubicBezTo>
                  <a:pt x="3899069" y="3758803"/>
                  <a:pt x="3897085" y="4036814"/>
                  <a:pt x="3896886" y="4314825"/>
                </a:cubicBezTo>
                <a:lnTo>
                  <a:pt x="1274336" y="2495550"/>
                </a:lnTo>
                <a:lnTo>
                  <a:pt x="2442736" y="1692275"/>
                </a:lnTo>
                <a:close/>
              </a:path>
            </a:pathLst>
          </a:custGeom>
          <a:gradFill>
            <a:gsLst>
              <a:gs pos="20000">
                <a:schemeClr val="accent2"/>
              </a:gs>
              <a:gs pos="97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Freeform: Shape 23">
            <a:extLst>
              <a:ext uri="{FF2B5EF4-FFF2-40B4-BE49-F238E27FC236}">
                <a16:creationId xmlns:a16="http://schemas.microsoft.com/office/drawing/2014/main" id="{927166BE-C525-4B89-9317-E7513C3FD974}"/>
              </a:ext>
            </a:extLst>
          </p:cNvPr>
          <p:cNvSpPr/>
          <p:nvPr userDrawn="1"/>
        </p:nvSpPr>
        <p:spPr>
          <a:xfrm>
            <a:off x="9555684" y="2262186"/>
            <a:ext cx="2636371" cy="3683939"/>
          </a:xfrm>
          <a:custGeom>
            <a:avLst/>
            <a:gdLst>
              <a:gd name="connsiteX0" fmla="*/ 2545080 w 2545080"/>
              <a:gd name="connsiteY0" fmla="*/ 0 h 3543300"/>
              <a:gd name="connsiteX1" fmla="*/ 0 w 2545080"/>
              <a:gd name="connsiteY1" fmla="*/ 1767840 h 3543300"/>
              <a:gd name="connsiteX2" fmla="*/ 2545080 w 2545080"/>
              <a:gd name="connsiteY2" fmla="*/ 3543300 h 3543300"/>
              <a:gd name="connsiteX3" fmla="*/ 2545080 w 2545080"/>
              <a:gd name="connsiteY3" fmla="*/ 0 h 3543300"/>
              <a:gd name="connsiteX0" fmla="*/ 2548255 w 2548255"/>
              <a:gd name="connsiteY0" fmla="*/ 0 h 3543300"/>
              <a:gd name="connsiteX1" fmla="*/ 0 w 2548255"/>
              <a:gd name="connsiteY1" fmla="*/ 1767840 h 3543300"/>
              <a:gd name="connsiteX2" fmla="*/ 2545080 w 2548255"/>
              <a:gd name="connsiteY2" fmla="*/ 3543300 h 3543300"/>
              <a:gd name="connsiteX3" fmla="*/ 2548255 w 2548255"/>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51430 w 2551430"/>
              <a:gd name="connsiteY0" fmla="*/ 0 h 3543300"/>
              <a:gd name="connsiteX1" fmla="*/ 0 w 2551430"/>
              <a:gd name="connsiteY1" fmla="*/ 1767840 h 3543300"/>
              <a:gd name="connsiteX2" fmla="*/ 2545080 w 2551430"/>
              <a:gd name="connsiteY2" fmla="*/ 3543300 h 3543300"/>
              <a:gd name="connsiteX3" fmla="*/ 2551430 w 2551430"/>
              <a:gd name="connsiteY3" fmla="*/ 0 h 3543300"/>
              <a:gd name="connsiteX0" fmla="*/ 2514964 w 2514964"/>
              <a:gd name="connsiteY0" fmla="*/ 0 h 3543300"/>
              <a:gd name="connsiteX1" fmla="*/ 0 w 2514964"/>
              <a:gd name="connsiteY1" fmla="*/ 1758723 h 3543300"/>
              <a:gd name="connsiteX2" fmla="*/ 2508614 w 2514964"/>
              <a:gd name="connsiteY2" fmla="*/ 3543300 h 3543300"/>
              <a:gd name="connsiteX3" fmla="*/ 2514964 w 2514964"/>
              <a:gd name="connsiteY3" fmla="*/ 0 h 3543300"/>
              <a:gd name="connsiteX0" fmla="*/ 2514964 w 2523277"/>
              <a:gd name="connsiteY0" fmla="*/ 0 h 3521420"/>
              <a:gd name="connsiteX1" fmla="*/ 0 w 2523277"/>
              <a:gd name="connsiteY1" fmla="*/ 1758723 h 3521420"/>
              <a:gd name="connsiteX2" fmla="*/ 2523201 w 2523277"/>
              <a:gd name="connsiteY2" fmla="*/ 3521420 h 3521420"/>
              <a:gd name="connsiteX3" fmla="*/ 2514964 w 2523277"/>
              <a:gd name="connsiteY3" fmla="*/ 0 h 3521420"/>
              <a:gd name="connsiteX0" fmla="*/ 2519523 w 2523330"/>
              <a:gd name="connsiteY0" fmla="*/ 0 h 3525979"/>
              <a:gd name="connsiteX1" fmla="*/ 0 w 2523330"/>
              <a:gd name="connsiteY1" fmla="*/ 1763282 h 3525979"/>
              <a:gd name="connsiteX2" fmla="*/ 2523201 w 2523330"/>
              <a:gd name="connsiteY2" fmla="*/ 3525979 h 3525979"/>
              <a:gd name="connsiteX3" fmla="*/ 2519523 w 2523330"/>
              <a:gd name="connsiteY3" fmla="*/ 0 h 3525979"/>
            </a:gdLst>
            <a:ahLst/>
            <a:cxnLst>
              <a:cxn ang="0">
                <a:pos x="connsiteX0" y="connsiteY0"/>
              </a:cxn>
              <a:cxn ang="0">
                <a:pos x="connsiteX1" y="connsiteY1"/>
              </a:cxn>
              <a:cxn ang="0">
                <a:pos x="connsiteX2" y="connsiteY2"/>
              </a:cxn>
              <a:cxn ang="0">
                <a:pos x="connsiteX3" y="connsiteY3"/>
              </a:cxn>
            </a:cxnLst>
            <a:rect l="l" t="t" r="r" b="b"/>
            <a:pathLst>
              <a:path w="2523330" h="3525979">
                <a:moveTo>
                  <a:pt x="2519523" y="0"/>
                </a:moveTo>
                <a:lnTo>
                  <a:pt x="0" y="1763282"/>
                </a:lnTo>
                <a:lnTo>
                  <a:pt x="2523201" y="3525979"/>
                </a:lnTo>
                <a:cubicBezTo>
                  <a:pt x="2524259" y="2344879"/>
                  <a:pt x="2518465" y="1181100"/>
                  <a:pt x="2519523" y="0"/>
                </a:cubicBezTo>
                <a:close/>
              </a:path>
            </a:pathLst>
          </a:custGeom>
          <a:gradFill>
            <a:gsLst>
              <a:gs pos="20000">
                <a:schemeClr val="accent1"/>
              </a:gs>
              <a:gs pos="92000">
                <a:schemeClr val="accent1">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7" name="Slide Number Placeholder 5">
            <a:extLst>
              <a:ext uri="{FF2B5EF4-FFF2-40B4-BE49-F238E27FC236}">
                <a16:creationId xmlns:a16="http://schemas.microsoft.com/office/drawing/2014/main" id="{A6F135BC-1BC3-423B-A6F9-65A0B4610EAC}"/>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9" name="Rectangle 28">
            <a:extLst>
              <a:ext uri="{FF2B5EF4-FFF2-40B4-BE49-F238E27FC236}">
                <a16:creationId xmlns:a16="http://schemas.microsoft.com/office/drawing/2014/main" id="{A6E0280A-C911-477A-9CA7-94686E8EAF5D}"/>
              </a:ext>
            </a:extLst>
          </p:cNvPr>
          <p:cNvSpPr/>
          <p:nvPr userDrawn="1"/>
        </p:nvSpPr>
        <p:spPr>
          <a:xfrm>
            <a:off x="0" y="0"/>
            <a:ext cx="109728" cy="6858000"/>
          </a:xfrm>
          <a:prstGeom prst="rect">
            <a:avLst/>
          </a:prstGeom>
          <a:gradFill flip="none" rotWithShape="1">
            <a:gsLst>
              <a:gs pos="68000">
                <a:schemeClr val="accent2"/>
              </a:gs>
              <a:gs pos="98000">
                <a:schemeClr val="accent3"/>
              </a:gs>
              <a:gs pos="33000">
                <a:schemeClr val="accent1"/>
              </a:gs>
              <a:gs pos="0">
                <a:schemeClr val="accent3"/>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pic>
        <p:nvPicPr>
          <p:cNvPr id="15" name="Graphic 14">
            <a:extLst>
              <a:ext uri="{FF2B5EF4-FFF2-40B4-BE49-F238E27FC236}">
                <a16:creationId xmlns:a16="http://schemas.microsoft.com/office/drawing/2014/main" id="{151B5DFE-8647-49A7-BA9A-2D61704E1DD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6668"/>
            <a:ext cx="931790" cy="271466"/>
          </a:xfrm>
          <a:prstGeom prst="rect">
            <a:avLst/>
          </a:prstGeom>
        </p:spPr>
      </p:pic>
    </p:spTree>
    <p:extLst>
      <p:ext uri="{BB962C8B-B14F-4D97-AF65-F5344CB8AC3E}">
        <p14:creationId xmlns:p14="http://schemas.microsoft.com/office/powerpoint/2010/main" val="46778477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lide Divider Option 4">
    <p:bg>
      <p:bgPr>
        <a:solidFill>
          <a:schemeClr val="bg1"/>
        </a:solidFill>
        <a:effectLst/>
      </p:bgPr>
    </p:bg>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D80F8535-1B37-C640-9522-9FFE23DA8F4E}"/>
              </a:ext>
            </a:extLst>
          </p:cNvPr>
          <p:cNvSpPr/>
          <p:nvPr/>
        </p:nvSpPr>
        <p:spPr>
          <a:xfrm>
            <a:off x="-6225" y="4376941"/>
            <a:ext cx="6589331" cy="2481059"/>
          </a:xfrm>
          <a:custGeom>
            <a:avLst/>
            <a:gdLst>
              <a:gd name="connsiteX0" fmla="*/ 3012948 w 6589331"/>
              <a:gd name="connsiteY0" fmla="*/ 0 h 2481059"/>
              <a:gd name="connsiteX1" fmla="*/ 6589331 w 6589331"/>
              <a:gd name="connsiteY1" fmla="*/ 2471153 h 2481059"/>
              <a:gd name="connsiteX2" fmla="*/ 5715 w 6589331"/>
              <a:gd name="connsiteY2" fmla="*/ 2481059 h 2481059"/>
              <a:gd name="connsiteX3" fmla="*/ 0 w 6589331"/>
              <a:gd name="connsiteY3" fmla="*/ 2472071 h 2481059"/>
              <a:gd name="connsiteX4" fmla="*/ 0 w 6589331"/>
              <a:gd name="connsiteY4" fmla="*/ 2094159 h 248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9331" h="2481059">
                <a:moveTo>
                  <a:pt x="3012948" y="0"/>
                </a:moveTo>
                <a:lnTo>
                  <a:pt x="6589331" y="2471153"/>
                </a:lnTo>
                <a:lnTo>
                  <a:pt x="5715" y="2481059"/>
                </a:lnTo>
                <a:lnTo>
                  <a:pt x="0" y="2472071"/>
                </a:lnTo>
                <a:lnTo>
                  <a:pt x="0" y="2094159"/>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32" name="Text Placeholder 10">
            <a:extLst>
              <a:ext uri="{FF2B5EF4-FFF2-40B4-BE49-F238E27FC236}">
                <a16:creationId xmlns:a16="http://schemas.microsoft.com/office/drawing/2014/main" id="{E0BA6F1B-DB4E-4726-82C8-F69E131B99EA}"/>
              </a:ext>
            </a:extLst>
          </p:cNvPr>
          <p:cNvSpPr>
            <a:spLocks noGrp="1"/>
          </p:cNvSpPr>
          <p:nvPr>
            <p:ph type="body" sz="quarter" idx="12" hasCustomPrompt="1"/>
          </p:nvPr>
        </p:nvSpPr>
        <p:spPr>
          <a:xfrm>
            <a:off x="2674257" y="2540943"/>
            <a:ext cx="6843487" cy="381000"/>
          </a:xfrm>
          <a:prstGeom prst="rect">
            <a:avLst/>
          </a:prstGeom>
        </p:spPr>
        <p:txBody>
          <a:bodyPr lIns="0" anchor="t">
            <a:noAutofit/>
          </a:bodyPr>
          <a:lstStyle>
            <a:lvl1pPr marL="0" indent="0" algn="ctr">
              <a:buNone/>
              <a:defRPr sz="1600" b="0">
                <a:solidFill>
                  <a:schemeClr val="tx2"/>
                </a:solidFill>
                <a:latin typeface="+mn-lt"/>
                <a:ea typeface="Cambria" panose="02040503050406030204" pitchFamily="18" charset="0"/>
              </a:defRPr>
            </a:lvl1pPr>
            <a:lvl2pPr>
              <a:defRPr>
                <a:solidFill>
                  <a:schemeClr val="bg1"/>
                </a:solidFill>
                <a:latin typeface="Calibri" panose="020F0502020204030204" pitchFamily="34" charset="0"/>
              </a:defRPr>
            </a:lvl2pPr>
            <a:lvl3pPr>
              <a:defRPr>
                <a:solidFill>
                  <a:schemeClr val="bg1"/>
                </a:solidFill>
                <a:latin typeface="Calibri" panose="020F0502020204030204" pitchFamily="34" charset="0"/>
              </a:defRPr>
            </a:lvl3pPr>
            <a:lvl4pPr>
              <a:defRPr>
                <a:solidFill>
                  <a:schemeClr val="bg1"/>
                </a:solidFill>
                <a:latin typeface="Calibri" panose="020F0502020204030204" pitchFamily="34" charset="0"/>
              </a:defRPr>
            </a:lvl4pPr>
            <a:lvl5pPr>
              <a:defRPr>
                <a:solidFill>
                  <a:schemeClr val="bg1"/>
                </a:solidFill>
                <a:latin typeface="Calibri" panose="020F0502020204030204" pitchFamily="34" charset="0"/>
              </a:defRPr>
            </a:lvl5pPr>
          </a:lstStyle>
          <a:p>
            <a:pPr lvl="0"/>
            <a:r>
              <a:rPr lang="en-US" dirty="0"/>
              <a:t>Description goes here</a:t>
            </a:r>
          </a:p>
        </p:txBody>
      </p:sp>
      <p:sp>
        <p:nvSpPr>
          <p:cNvPr id="17" name="Freeform 16">
            <a:extLst>
              <a:ext uri="{FF2B5EF4-FFF2-40B4-BE49-F238E27FC236}">
                <a16:creationId xmlns:a16="http://schemas.microsoft.com/office/drawing/2014/main" id="{95833C23-279C-584E-A024-2A31807A9274}"/>
              </a:ext>
            </a:extLst>
          </p:cNvPr>
          <p:cNvSpPr/>
          <p:nvPr/>
        </p:nvSpPr>
        <p:spPr>
          <a:xfrm flipH="1">
            <a:off x="4047304" y="5413691"/>
            <a:ext cx="4092877" cy="1449275"/>
          </a:xfrm>
          <a:custGeom>
            <a:avLst/>
            <a:gdLst>
              <a:gd name="connsiteX0" fmla="*/ 2044180 w 4092877"/>
              <a:gd name="connsiteY0" fmla="*/ 0 h 1449275"/>
              <a:gd name="connsiteX1" fmla="*/ 0 w 4092877"/>
              <a:gd name="connsiteY1" fmla="*/ 1449275 h 1449275"/>
              <a:gd name="connsiteX2" fmla="*/ 4092877 w 4092877"/>
              <a:gd name="connsiteY2" fmla="*/ 1449275 h 1449275"/>
              <a:gd name="connsiteX3" fmla="*/ 3674121 w 4092877"/>
              <a:gd name="connsiteY3" fmla="*/ 1155304 h 1449275"/>
              <a:gd name="connsiteX4" fmla="*/ 2044180 w 4092877"/>
              <a:gd name="connsiteY4" fmla="*/ 0 h 1449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77" h="1449275">
                <a:moveTo>
                  <a:pt x="2044180" y="0"/>
                </a:moveTo>
                <a:lnTo>
                  <a:pt x="0" y="1449275"/>
                </a:lnTo>
                <a:lnTo>
                  <a:pt x="4092877" y="1449275"/>
                </a:lnTo>
                <a:lnTo>
                  <a:pt x="3674121" y="1155304"/>
                </a:lnTo>
                <a:cubicBezTo>
                  <a:pt x="3130807" y="770202"/>
                  <a:pt x="2569124" y="363906"/>
                  <a:pt x="2044180" y="0"/>
                </a:cubicBezTo>
                <a:close/>
              </a:path>
            </a:pathLst>
          </a:custGeom>
          <a:gradFill flip="none" rotWithShape="1">
            <a:gsLst>
              <a:gs pos="0">
                <a:schemeClr val="accent2">
                  <a:alpha val="35000"/>
                </a:schemeClr>
              </a:gs>
              <a:gs pos="50000">
                <a:schemeClr val="accent2"/>
              </a:gs>
              <a:gs pos="98000">
                <a:schemeClr val="accent2">
                  <a:alpha val="3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3" name="Freeform: Shape 12">
            <a:extLst>
              <a:ext uri="{FF2B5EF4-FFF2-40B4-BE49-F238E27FC236}">
                <a16:creationId xmlns:a16="http://schemas.microsoft.com/office/drawing/2014/main" id="{76F00C93-F8EE-4584-A029-7488D3966167}"/>
              </a:ext>
            </a:extLst>
          </p:cNvPr>
          <p:cNvSpPr/>
          <p:nvPr/>
        </p:nvSpPr>
        <p:spPr>
          <a:xfrm>
            <a:off x="-511"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36" name="Freeform: Shape 35">
            <a:extLst>
              <a:ext uri="{FF2B5EF4-FFF2-40B4-BE49-F238E27FC236}">
                <a16:creationId xmlns:a16="http://schemas.microsoft.com/office/drawing/2014/main" id="{ECECEFDB-7B1D-4D53-AFB2-2A3E81E50E9C}"/>
              </a:ext>
            </a:extLst>
          </p:cNvPr>
          <p:cNvSpPr/>
          <p:nvPr/>
        </p:nvSpPr>
        <p:spPr>
          <a:xfrm flipH="1">
            <a:off x="7929175"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8" name="Title 1">
            <a:extLst>
              <a:ext uri="{FF2B5EF4-FFF2-40B4-BE49-F238E27FC236}">
                <a16:creationId xmlns:a16="http://schemas.microsoft.com/office/drawing/2014/main" id="{D997A980-7EC0-453E-ABF1-4DC83EB7CBFD}"/>
              </a:ext>
            </a:extLst>
          </p:cNvPr>
          <p:cNvSpPr>
            <a:spLocks noGrp="1"/>
          </p:cNvSpPr>
          <p:nvPr>
            <p:ph type="title" hasCustomPrompt="1"/>
          </p:nvPr>
        </p:nvSpPr>
        <p:spPr>
          <a:xfrm>
            <a:off x="2674257" y="1239876"/>
            <a:ext cx="6843486" cy="970378"/>
          </a:xfrm>
        </p:spPr>
        <p:txBody>
          <a:bodyPr vert="horz" lIns="0" tIns="45720" rIns="91440" bIns="45720" rtlCol="0" anchor="b">
            <a:noAutofit/>
          </a:bodyPr>
          <a:lstStyle>
            <a:lvl1pPr algn="ctr">
              <a:defRPr lang="en-GB" sz="4000" dirty="0" smtClean="0">
                <a:solidFill>
                  <a:schemeClr val="tx2"/>
                </a:solidFill>
              </a:defRPr>
            </a:lvl1pPr>
          </a:lstStyle>
          <a:p>
            <a:pPr lvl="0" algn="ctr">
              <a:spcBef>
                <a:spcPts val="600"/>
              </a:spcBef>
            </a:pPr>
            <a:r>
              <a:rPr lang="en-US" dirty="0"/>
              <a:t>Slide divider option-4</a:t>
            </a:r>
            <a:endParaRPr lang="en-GB" dirty="0"/>
          </a:p>
        </p:txBody>
      </p:sp>
      <p:sp>
        <p:nvSpPr>
          <p:cNvPr id="20" name="Freeform 23">
            <a:extLst>
              <a:ext uri="{FF2B5EF4-FFF2-40B4-BE49-F238E27FC236}">
                <a16:creationId xmlns:a16="http://schemas.microsoft.com/office/drawing/2014/main" id="{4AACB9C7-803C-4152-82CB-67927F253134}"/>
              </a:ext>
            </a:extLst>
          </p:cNvPr>
          <p:cNvSpPr/>
          <p:nvPr userDrawn="1"/>
        </p:nvSpPr>
        <p:spPr>
          <a:xfrm>
            <a:off x="-6225" y="4376941"/>
            <a:ext cx="6589331" cy="2481059"/>
          </a:xfrm>
          <a:custGeom>
            <a:avLst/>
            <a:gdLst>
              <a:gd name="connsiteX0" fmla="*/ 3012948 w 6589331"/>
              <a:gd name="connsiteY0" fmla="*/ 0 h 2481059"/>
              <a:gd name="connsiteX1" fmla="*/ 6589331 w 6589331"/>
              <a:gd name="connsiteY1" fmla="*/ 2471153 h 2481059"/>
              <a:gd name="connsiteX2" fmla="*/ 5715 w 6589331"/>
              <a:gd name="connsiteY2" fmla="*/ 2481059 h 2481059"/>
              <a:gd name="connsiteX3" fmla="*/ 0 w 6589331"/>
              <a:gd name="connsiteY3" fmla="*/ 2472071 h 2481059"/>
              <a:gd name="connsiteX4" fmla="*/ 0 w 6589331"/>
              <a:gd name="connsiteY4" fmla="*/ 2094159 h 2481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9331" h="2481059">
                <a:moveTo>
                  <a:pt x="3012948" y="0"/>
                </a:moveTo>
                <a:lnTo>
                  <a:pt x="6589331" y="2471153"/>
                </a:lnTo>
                <a:lnTo>
                  <a:pt x="5715" y="2481059"/>
                </a:lnTo>
                <a:lnTo>
                  <a:pt x="0" y="2472071"/>
                </a:lnTo>
                <a:lnTo>
                  <a:pt x="0" y="2094159"/>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7" name="Freeform: Shape 26">
            <a:extLst>
              <a:ext uri="{FF2B5EF4-FFF2-40B4-BE49-F238E27FC236}">
                <a16:creationId xmlns:a16="http://schemas.microsoft.com/office/drawing/2014/main" id="{238F6177-211A-49BE-ABB9-97949A54E26E}"/>
              </a:ext>
            </a:extLst>
          </p:cNvPr>
          <p:cNvSpPr/>
          <p:nvPr userDrawn="1"/>
        </p:nvSpPr>
        <p:spPr>
          <a:xfrm>
            <a:off x="-511"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28" name="Freeform: Shape 27">
            <a:extLst>
              <a:ext uri="{FF2B5EF4-FFF2-40B4-BE49-F238E27FC236}">
                <a16:creationId xmlns:a16="http://schemas.microsoft.com/office/drawing/2014/main" id="{6D7EF89F-2526-415C-BBDF-59E49A45CE8B}"/>
              </a:ext>
            </a:extLst>
          </p:cNvPr>
          <p:cNvSpPr/>
          <p:nvPr userDrawn="1"/>
        </p:nvSpPr>
        <p:spPr>
          <a:xfrm flipH="1">
            <a:off x="7929175" y="3891879"/>
            <a:ext cx="4261361" cy="2964425"/>
          </a:xfrm>
          <a:custGeom>
            <a:avLst/>
            <a:gdLst>
              <a:gd name="connsiteX0" fmla="*/ 0 w 5520690"/>
              <a:gd name="connsiteY0" fmla="*/ 0 h 3840480"/>
              <a:gd name="connsiteX1" fmla="*/ 5520690 w 5520690"/>
              <a:gd name="connsiteY1" fmla="*/ 3840480 h 3840480"/>
              <a:gd name="connsiteX2" fmla="*/ 0 w 5520690"/>
              <a:gd name="connsiteY2" fmla="*/ 3840480 h 3840480"/>
              <a:gd name="connsiteX3" fmla="*/ 0 w 5520690"/>
              <a:gd name="connsiteY3" fmla="*/ 0 h 3840480"/>
            </a:gdLst>
            <a:ahLst/>
            <a:cxnLst>
              <a:cxn ang="0">
                <a:pos x="connsiteX0" y="connsiteY0"/>
              </a:cxn>
              <a:cxn ang="0">
                <a:pos x="connsiteX1" y="connsiteY1"/>
              </a:cxn>
              <a:cxn ang="0">
                <a:pos x="connsiteX2" y="connsiteY2"/>
              </a:cxn>
              <a:cxn ang="0">
                <a:pos x="connsiteX3" y="connsiteY3"/>
              </a:cxn>
            </a:cxnLst>
            <a:rect l="l" t="t" r="r" b="b"/>
            <a:pathLst>
              <a:path w="5520690" h="3840480">
                <a:moveTo>
                  <a:pt x="0" y="0"/>
                </a:moveTo>
                <a:lnTo>
                  <a:pt x="5520690" y="3840480"/>
                </a:lnTo>
                <a:lnTo>
                  <a:pt x="0" y="3840480"/>
                </a:lnTo>
                <a:lnTo>
                  <a:pt x="0" y="0"/>
                </a:lnTo>
                <a:close/>
              </a:path>
            </a:pathLst>
          </a:custGeom>
          <a:gradFill>
            <a:gsLst>
              <a:gs pos="16000">
                <a:schemeClr val="accent2"/>
              </a:gs>
              <a:gs pos="68000">
                <a:schemeClr val="accent2">
                  <a:alpha val="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sp>
        <p:nvSpPr>
          <p:cNvPr id="14" name="Slide Number Placeholder 5">
            <a:extLst>
              <a:ext uri="{FF2B5EF4-FFF2-40B4-BE49-F238E27FC236}">
                <a16:creationId xmlns:a16="http://schemas.microsoft.com/office/drawing/2014/main" id="{A5F0D2E2-2742-7940-ABDD-58FB9D49EB23}"/>
              </a:ext>
            </a:extLst>
          </p:cNvPr>
          <p:cNvSpPr txBox="1">
            <a:spLocks/>
          </p:cNvSpPr>
          <p:nvPr/>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16" name="Footer Placeholder 3">
            <a:extLst>
              <a:ext uri="{FF2B5EF4-FFF2-40B4-BE49-F238E27FC236}">
                <a16:creationId xmlns:a16="http://schemas.microsoft.com/office/drawing/2014/main" id="{2993CEB8-1392-6D40-B3E0-F3956390020E}"/>
              </a:ext>
            </a:extLst>
          </p:cNvPr>
          <p:cNvSpPr>
            <a:spLocks noGrp="1"/>
          </p:cNvSpPr>
          <p:nvPr>
            <p:ph type="ftr" sz="quarter" idx="3"/>
          </p:nvPr>
        </p:nvSpPr>
        <p:spPr>
          <a:xfrm>
            <a:off x="623888" y="6426211"/>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0" name="Slide Number Placeholder 5">
            <a:extLst>
              <a:ext uri="{FF2B5EF4-FFF2-40B4-BE49-F238E27FC236}">
                <a16:creationId xmlns:a16="http://schemas.microsoft.com/office/drawing/2014/main" id="{8BD1DE52-945F-4211-95A8-6EC6236CCAA3}"/>
              </a:ext>
            </a:extLst>
          </p:cNvPr>
          <p:cNvSpPr txBox="1">
            <a:spLocks/>
          </p:cNvSpPr>
          <p:nvPr userDrawn="1"/>
        </p:nvSpPr>
        <p:spPr>
          <a:xfrm flipH="1">
            <a:off x="457196" y="6436977"/>
            <a:ext cx="542041" cy="190848"/>
          </a:xfrm>
          <a:prstGeom prst="rect">
            <a:avLst/>
          </a:prstGeom>
        </p:spPr>
        <p:txBody>
          <a:bodyPr lIns="0" tIns="0" rIns="0" bIns="0" anchor="ctr">
            <a:noAutofit/>
          </a:bodyPr>
          <a:lstStyle>
            <a:defPPr>
              <a:defRPr lang="en-US"/>
            </a:defPPr>
            <a:lvl1pPr marL="0" algn="l" defTabSz="914400" rtl="0" eaLnBrk="1" latinLnBrk="0" hangingPunct="1">
              <a:defRPr sz="800" kern="1200">
                <a:solidFill>
                  <a:srgbClr val="053061"/>
                </a:solidFill>
                <a:latin typeface="Georgia" charset="0"/>
                <a:ea typeface="Georgia" charset="0"/>
                <a:cs typeface="Georgi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A285110E-A93C-E24B-BA01-8EFF0EF70079}" type="slidenum">
              <a:rPr lang="en-US" sz="800" b="1" smtClean="0">
                <a:solidFill>
                  <a:schemeClr val="bg2"/>
                </a:solidFill>
                <a:latin typeface="+mn-lt"/>
                <a:ea typeface="Cambria" panose="02040503050406030204" pitchFamily="18" charset="0"/>
              </a:rPr>
              <a:pPr algn="l"/>
              <a:t>‹#›</a:t>
            </a:fld>
            <a:endParaRPr lang="en-US" b="1" dirty="0">
              <a:solidFill>
                <a:schemeClr val="bg2"/>
              </a:solidFill>
              <a:latin typeface="+mn-lt"/>
              <a:ea typeface="Cambria" panose="02040503050406030204" pitchFamily="18" charset="0"/>
            </a:endParaRPr>
          </a:p>
        </p:txBody>
      </p:sp>
      <p:sp>
        <p:nvSpPr>
          <p:cNvPr id="22" name="Freeform 21">
            <a:extLst>
              <a:ext uri="{FF2B5EF4-FFF2-40B4-BE49-F238E27FC236}">
                <a16:creationId xmlns:a16="http://schemas.microsoft.com/office/drawing/2014/main" id="{480B66D4-A5F5-624A-B6B3-939B1AD7D213}"/>
              </a:ext>
            </a:extLst>
          </p:cNvPr>
          <p:cNvSpPr/>
          <p:nvPr userDrawn="1"/>
        </p:nvSpPr>
        <p:spPr>
          <a:xfrm flipH="1">
            <a:off x="5606920" y="4371977"/>
            <a:ext cx="6580566" cy="2490989"/>
          </a:xfrm>
          <a:custGeom>
            <a:avLst/>
            <a:gdLst>
              <a:gd name="connsiteX0" fmla="*/ 3009863 w 6580566"/>
              <a:gd name="connsiteY0" fmla="*/ 0 h 2490989"/>
              <a:gd name="connsiteX1" fmla="*/ 0 w 6580566"/>
              <a:gd name="connsiteY1" fmla="*/ 2099561 h 2490989"/>
              <a:gd name="connsiteX2" fmla="*/ 0 w 6580566"/>
              <a:gd name="connsiteY2" fmla="*/ 2490989 h 2490989"/>
              <a:gd name="connsiteX3" fmla="*/ 5268197 w 6580566"/>
              <a:gd name="connsiteY3" fmla="*/ 2490989 h 2490989"/>
              <a:gd name="connsiteX4" fmla="*/ 6580566 w 6580566"/>
              <a:gd name="connsiteY4" fmla="*/ 2476120 h 249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566" h="2490989">
                <a:moveTo>
                  <a:pt x="3009863" y="0"/>
                </a:moveTo>
                <a:lnTo>
                  <a:pt x="0" y="2099561"/>
                </a:lnTo>
                <a:lnTo>
                  <a:pt x="0" y="2490989"/>
                </a:lnTo>
                <a:lnTo>
                  <a:pt x="5268197" y="2490989"/>
                </a:lnTo>
                <a:lnTo>
                  <a:pt x="6580566" y="2476120"/>
                </a:lnTo>
                <a:close/>
              </a:path>
            </a:pathLst>
          </a:custGeom>
          <a:gradFill>
            <a:gsLst>
              <a:gs pos="28000">
                <a:schemeClr val="accent1">
                  <a:alpha val="0"/>
                </a:schemeClr>
              </a:gs>
              <a:gs pos="92000">
                <a:schemeClr val="accent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9" name="Freeform 21">
            <a:extLst>
              <a:ext uri="{FF2B5EF4-FFF2-40B4-BE49-F238E27FC236}">
                <a16:creationId xmlns:a16="http://schemas.microsoft.com/office/drawing/2014/main" id="{2168F68C-9AED-427E-85F9-E8C1393F181B}"/>
              </a:ext>
            </a:extLst>
          </p:cNvPr>
          <p:cNvSpPr/>
          <p:nvPr userDrawn="1"/>
        </p:nvSpPr>
        <p:spPr>
          <a:xfrm flipH="1">
            <a:off x="5606920" y="4371977"/>
            <a:ext cx="6580566" cy="2490989"/>
          </a:xfrm>
          <a:custGeom>
            <a:avLst/>
            <a:gdLst>
              <a:gd name="connsiteX0" fmla="*/ 3009863 w 6580566"/>
              <a:gd name="connsiteY0" fmla="*/ 0 h 2490989"/>
              <a:gd name="connsiteX1" fmla="*/ 0 w 6580566"/>
              <a:gd name="connsiteY1" fmla="*/ 2099561 h 2490989"/>
              <a:gd name="connsiteX2" fmla="*/ 0 w 6580566"/>
              <a:gd name="connsiteY2" fmla="*/ 2490989 h 2490989"/>
              <a:gd name="connsiteX3" fmla="*/ 5268197 w 6580566"/>
              <a:gd name="connsiteY3" fmla="*/ 2490989 h 2490989"/>
              <a:gd name="connsiteX4" fmla="*/ 6580566 w 6580566"/>
              <a:gd name="connsiteY4" fmla="*/ 2476120 h 249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0566" h="2490989">
                <a:moveTo>
                  <a:pt x="3009863" y="0"/>
                </a:moveTo>
                <a:lnTo>
                  <a:pt x="0" y="2099561"/>
                </a:lnTo>
                <a:lnTo>
                  <a:pt x="0" y="2490989"/>
                </a:lnTo>
                <a:lnTo>
                  <a:pt x="5268197" y="2490989"/>
                </a:lnTo>
                <a:lnTo>
                  <a:pt x="6580566" y="2476120"/>
                </a:lnTo>
                <a:close/>
              </a:path>
            </a:pathLst>
          </a:custGeom>
          <a:gradFill>
            <a:gsLst>
              <a:gs pos="28000">
                <a:schemeClr val="accent1"/>
              </a:gs>
              <a:gs pos="92000">
                <a:schemeClr val="accent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3" name="Freeform 16">
            <a:extLst>
              <a:ext uri="{FF2B5EF4-FFF2-40B4-BE49-F238E27FC236}">
                <a16:creationId xmlns:a16="http://schemas.microsoft.com/office/drawing/2014/main" id="{B65377BA-7EEE-4F72-8CAE-57BDF7345B46}"/>
              </a:ext>
            </a:extLst>
          </p:cNvPr>
          <p:cNvSpPr/>
          <p:nvPr userDrawn="1"/>
        </p:nvSpPr>
        <p:spPr>
          <a:xfrm flipH="1">
            <a:off x="4047304" y="5413691"/>
            <a:ext cx="4092877" cy="1449275"/>
          </a:xfrm>
          <a:custGeom>
            <a:avLst/>
            <a:gdLst>
              <a:gd name="connsiteX0" fmla="*/ 2044180 w 4092877"/>
              <a:gd name="connsiteY0" fmla="*/ 0 h 1449275"/>
              <a:gd name="connsiteX1" fmla="*/ 0 w 4092877"/>
              <a:gd name="connsiteY1" fmla="*/ 1449275 h 1449275"/>
              <a:gd name="connsiteX2" fmla="*/ 4092877 w 4092877"/>
              <a:gd name="connsiteY2" fmla="*/ 1449275 h 1449275"/>
              <a:gd name="connsiteX3" fmla="*/ 3674121 w 4092877"/>
              <a:gd name="connsiteY3" fmla="*/ 1155304 h 1449275"/>
              <a:gd name="connsiteX4" fmla="*/ 2044180 w 4092877"/>
              <a:gd name="connsiteY4" fmla="*/ 0 h 1449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2877" h="1449275">
                <a:moveTo>
                  <a:pt x="2044180" y="0"/>
                </a:moveTo>
                <a:lnTo>
                  <a:pt x="0" y="1449275"/>
                </a:lnTo>
                <a:lnTo>
                  <a:pt x="4092877" y="1449275"/>
                </a:lnTo>
                <a:lnTo>
                  <a:pt x="3674121" y="1155304"/>
                </a:lnTo>
                <a:cubicBezTo>
                  <a:pt x="3130807" y="770202"/>
                  <a:pt x="2569124" y="363906"/>
                  <a:pt x="2044180" y="0"/>
                </a:cubicBezTo>
                <a:close/>
              </a:path>
            </a:pathLst>
          </a:custGeom>
          <a:gradFill flip="none" rotWithShape="1">
            <a:gsLst>
              <a:gs pos="0">
                <a:schemeClr val="accent2">
                  <a:alpha val="35000"/>
                </a:schemeClr>
              </a:gs>
              <a:gs pos="50000">
                <a:schemeClr val="accent2"/>
              </a:gs>
              <a:gs pos="98000">
                <a:schemeClr val="accent2">
                  <a:alpha val="3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4" name="Graphic 33">
            <a:extLst>
              <a:ext uri="{FF2B5EF4-FFF2-40B4-BE49-F238E27FC236}">
                <a16:creationId xmlns:a16="http://schemas.microsoft.com/office/drawing/2014/main" id="{A764AC80-FAC7-4BD1-B73A-91406AC0149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17298" y="6398134"/>
            <a:ext cx="935900" cy="270000"/>
          </a:xfrm>
          <a:prstGeom prst="rect">
            <a:avLst/>
          </a:prstGeom>
        </p:spPr>
      </p:pic>
    </p:spTree>
    <p:extLst>
      <p:ext uri="{BB962C8B-B14F-4D97-AF65-F5344CB8AC3E}">
        <p14:creationId xmlns:p14="http://schemas.microsoft.com/office/powerpoint/2010/main" val="399649980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heme" Target="../theme/theme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94F223C-6ED7-4EF1-B9E2-360DC483996B}"/>
              </a:ext>
            </a:extLst>
          </p:cNvPr>
          <p:cNvPicPr>
            <a:picLocks noChangeAspect="1"/>
          </p:cNvPicPr>
          <p:nvPr userDrawn="1"/>
        </p:nvPicPr>
        <p:blipFill>
          <a:blip r:embed="rId49" cstate="email">
            <a:alphaModFix amt="60000"/>
            <a:extLst>
              <a:ext uri="{28A0092B-C50C-407E-A947-70E740481C1C}">
                <a14:useLocalDpi xmlns:a14="http://schemas.microsoft.com/office/drawing/2010/main"/>
              </a:ext>
            </a:extLst>
          </a:blip>
          <a:stretch>
            <a:fillRect/>
          </a:stretch>
        </p:blipFill>
        <p:spPr>
          <a:xfrm>
            <a:off x="0" y="0"/>
            <a:ext cx="12192000" cy="6857999"/>
          </a:xfrm>
          <a:prstGeom prst="rect">
            <a:avLst/>
          </a:prstGeom>
        </p:spPr>
      </p:pic>
      <p:sp>
        <p:nvSpPr>
          <p:cNvPr id="2" name="Title Placeholder 1">
            <a:extLst>
              <a:ext uri="{FF2B5EF4-FFF2-40B4-BE49-F238E27FC236}">
                <a16:creationId xmlns:a16="http://schemas.microsoft.com/office/drawing/2014/main" id="{B63962B6-595A-4E12-A0A9-6972DDBE6BFF}"/>
              </a:ext>
            </a:extLst>
          </p:cNvPr>
          <p:cNvSpPr>
            <a:spLocks noGrp="1"/>
          </p:cNvSpPr>
          <p:nvPr>
            <p:ph type="title"/>
          </p:nvPr>
        </p:nvSpPr>
        <p:spPr>
          <a:xfrm>
            <a:off x="460744" y="388845"/>
            <a:ext cx="10378800" cy="990000"/>
          </a:xfrm>
          <a:prstGeom prst="rect">
            <a:avLst/>
          </a:prstGeom>
        </p:spPr>
        <p:txBody>
          <a:bodyPr vert="horz" lIns="0" tIns="45720" rIns="91440" bIns="45720" rtlCol="0" anchor="b" anchorCtr="0">
            <a:noAutofit/>
          </a:body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0AEB6CFD-A46F-4D8C-9DC4-9F9723DA0E37}"/>
              </a:ext>
            </a:extLst>
          </p:cNvPr>
          <p:cNvSpPr>
            <a:spLocks noGrp="1"/>
          </p:cNvSpPr>
          <p:nvPr>
            <p:ph type="ftr" sz="quarter" idx="3"/>
          </p:nvPr>
        </p:nvSpPr>
        <p:spPr>
          <a:xfrm>
            <a:off x="714713" y="6424427"/>
            <a:ext cx="2396518" cy="222250"/>
          </a:xfrm>
          <a:prstGeom prst="rect">
            <a:avLst/>
          </a:prstGeom>
        </p:spPr>
        <p:txBody>
          <a:bodyPr vert="horz" lIns="91440" tIns="45720" rIns="91440" bIns="45720" rtlCol="0" anchor="t">
            <a:noAutofit/>
          </a:bodyPr>
          <a:lstStyle>
            <a:lvl1pPr algn="l">
              <a:defRPr sz="800">
                <a:solidFill>
                  <a:schemeClr val="bg2"/>
                </a:solidFill>
              </a:defRPr>
            </a:lvl1p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5" name="Slide Number Placeholder 4">
            <a:extLst>
              <a:ext uri="{FF2B5EF4-FFF2-40B4-BE49-F238E27FC236}">
                <a16:creationId xmlns:a16="http://schemas.microsoft.com/office/drawing/2014/main" id="{600D9982-80C7-473C-BFA8-5C4A1E64BD94}"/>
              </a:ext>
            </a:extLst>
          </p:cNvPr>
          <p:cNvSpPr>
            <a:spLocks noGrp="1"/>
          </p:cNvSpPr>
          <p:nvPr>
            <p:ph type="sldNum" sz="quarter" idx="4"/>
          </p:nvPr>
        </p:nvSpPr>
        <p:spPr>
          <a:xfrm>
            <a:off x="442913" y="6436977"/>
            <a:ext cx="185468" cy="190800"/>
          </a:xfrm>
          <a:prstGeom prst="rect">
            <a:avLst/>
          </a:prstGeom>
        </p:spPr>
        <p:txBody>
          <a:bodyPr lIns="0" tIns="0" rIns="0" bIns="0" anchor="ctr">
            <a:noAutofit/>
          </a:bodyPr>
          <a:lstStyle>
            <a:lvl1pPr>
              <a:defRPr lang="en-GB" sz="800" b="1" smtClean="0">
                <a:solidFill>
                  <a:schemeClr val="bg2"/>
                </a:solidFill>
                <a:ea typeface="Cambria" panose="02040503050406030204" pitchFamily="18" charset="0"/>
                <a:cs typeface="Georgia" charset="0"/>
              </a:defRPr>
            </a:lvl1pPr>
          </a:lstStyle>
          <a:p>
            <a:fld id="{F614F82A-B1F0-497E-B440-1AC0EA5CDB07}" type="slidenum">
              <a:rPr lang="en-GB" smtClean="0"/>
              <a:pPr/>
              <a:t>‹#›</a:t>
            </a:fld>
            <a:endParaRPr lang="en-GB" dirty="0"/>
          </a:p>
        </p:txBody>
      </p:sp>
      <p:sp>
        <p:nvSpPr>
          <p:cNvPr id="8" name="Text Placeholder 7">
            <a:extLst>
              <a:ext uri="{FF2B5EF4-FFF2-40B4-BE49-F238E27FC236}">
                <a16:creationId xmlns:a16="http://schemas.microsoft.com/office/drawing/2014/main" id="{FE508CFE-DEE7-4125-8FA9-F7936A738210}"/>
              </a:ext>
            </a:extLst>
          </p:cNvPr>
          <p:cNvSpPr>
            <a:spLocks noGrp="1"/>
          </p:cNvSpPr>
          <p:nvPr>
            <p:ph type="body" idx="1"/>
          </p:nvPr>
        </p:nvSpPr>
        <p:spPr>
          <a:xfrm>
            <a:off x="460744" y="1825625"/>
            <a:ext cx="10378800" cy="4351338"/>
          </a:xfrm>
          <a:prstGeom prst="rect">
            <a:avLst/>
          </a:prstGeom>
        </p:spPr>
        <p:txBody>
          <a:bodyPr vert="horz" lIns="91440" tIns="45720" rIns="91440" bIns="45720" rtlCol="0">
            <a:noAutofit/>
          </a:bodyPr>
          <a:lstStyle/>
          <a:p>
            <a:pPr lvl="0"/>
            <a:r>
              <a:rPr lang="en-US" dirty="0"/>
              <a:t>Click to edit Master text styles</a:t>
            </a:r>
          </a:p>
          <a:p>
            <a:pPr marL="0" lvl="1" indent="0" algn="l" defTabSz="914400" rtl="0" eaLnBrk="1" latinLnBrk="0" hangingPunct="1">
              <a:lnSpc>
                <a:spcPct val="100000"/>
              </a:lnSpc>
              <a:spcBef>
                <a:spcPts val="300"/>
              </a:spcBef>
              <a:buClr>
                <a:schemeClr val="accent1"/>
              </a:buClr>
              <a:buFont typeface="Arial" panose="020B0604020202020204" pitchFamily="34" charset="0"/>
              <a:buNone/>
            </a:pPr>
            <a:r>
              <a:rPr lang="en-US" dirty="0"/>
              <a:t>Second level</a:t>
            </a:r>
          </a:p>
          <a:p>
            <a:pPr marL="269875" lvl="2" indent="-269875" algn="l" defTabSz="914400" rtl="0" eaLnBrk="1" latinLnBrk="0" hangingPunct="1">
              <a:lnSpc>
                <a:spcPct val="100000"/>
              </a:lnSpc>
              <a:spcBef>
                <a:spcPts val="1200"/>
              </a:spcBef>
              <a:spcAft>
                <a:spcPts val="600"/>
              </a:spcAft>
              <a:buClr>
                <a:schemeClr val="accent1"/>
              </a:buClr>
              <a:buFont typeface="Arial" panose="020B0604020202020204" pitchFamily="34" charset="0"/>
              <a:buChar char="■"/>
            </a:pPr>
            <a:r>
              <a:rPr lang="en-US" dirty="0"/>
              <a:t>Third level</a:t>
            </a:r>
          </a:p>
          <a:p>
            <a:pPr marL="503238" lvl="3" indent="-233363" algn="l" defTabSz="914400" rtl="0" eaLnBrk="1" latinLnBrk="0" hangingPunct="1">
              <a:lnSpc>
                <a:spcPct val="100000"/>
              </a:lnSpc>
              <a:spcBef>
                <a:spcPts val="500"/>
              </a:spcBef>
              <a:spcAft>
                <a:spcPts val="600"/>
              </a:spcAft>
              <a:buClr>
                <a:schemeClr val="accent1"/>
              </a:buClr>
              <a:buSzPct val="80000"/>
              <a:buFont typeface="Arial" panose="020B0604020202020204" pitchFamily="34" charset="0"/>
              <a:buChar char="►"/>
            </a:pPr>
            <a:r>
              <a:rPr lang="en-US" dirty="0"/>
              <a:t>Fourth level</a:t>
            </a:r>
          </a:p>
          <a:p>
            <a:pPr marL="717550" lvl="4" indent="-193675" algn="l" defTabSz="914400" rtl="0" eaLnBrk="1" latinLnBrk="0" hangingPunct="1">
              <a:lnSpc>
                <a:spcPct val="100000"/>
              </a:lnSpc>
              <a:spcBef>
                <a:spcPts val="500"/>
              </a:spcBef>
              <a:spcAft>
                <a:spcPts val="600"/>
              </a:spcAft>
              <a:buClr>
                <a:schemeClr val="accent1"/>
              </a:buClr>
              <a:buFont typeface="Arial" panose="020B0604020202020204" pitchFamily="34" charset="0"/>
              <a:buChar char="•"/>
            </a:pPr>
            <a:r>
              <a:rPr lang="en-US" dirty="0"/>
              <a:t>Fifth level</a:t>
            </a:r>
            <a:endParaRPr lang="en-GB" dirty="0"/>
          </a:p>
        </p:txBody>
      </p:sp>
    </p:spTree>
    <p:extLst>
      <p:ext uri="{BB962C8B-B14F-4D97-AF65-F5344CB8AC3E}">
        <p14:creationId xmlns:p14="http://schemas.microsoft.com/office/powerpoint/2010/main" val="13193230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Lst>
  <p:hf hdr="0" dt="0"/>
  <p:txStyles>
    <p:titleStyle>
      <a:lvl1pPr marL="0" indent="0" algn="l" defTabSz="914400" rtl="0" eaLnBrk="1" latinLnBrk="0" hangingPunct="1">
        <a:lnSpc>
          <a:spcPct val="100000"/>
        </a:lnSpc>
        <a:spcBef>
          <a:spcPts val="0"/>
        </a:spcBef>
        <a:spcAft>
          <a:spcPts val="600"/>
        </a:spcAft>
        <a:buClr>
          <a:schemeClr val="bg1"/>
        </a:buClr>
        <a:buSzPct val="100000"/>
        <a:buFont typeface="Arial" panose="020B0604020202020204" pitchFamily="34" charset="0"/>
        <a:buNone/>
        <a:defRPr lang="en-GB" sz="3200" b="0" kern="1200" dirty="0">
          <a:solidFill>
            <a:schemeClr val="tx2"/>
          </a:solidFill>
          <a:latin typeface="+mj-lt"/>
          <a:ea typeface="Cambria" panose="02040503050406030204" pitchFamily="18" charset="0"/>
          <a:cs typeface="Calibri" panose="020F0502020204030204" pitchFamily="34" charset="0"/>
        </a:defRPr>
      </a:lvl1pPr>
    </p:titleStyle>
    <p:bodyStyle>
      <a:lvl1pPr marL="0" indent="0" algn="l" defTabSz="914400" rtl="0" eaLnBrk="1" latinLnBrk="0" hangingPunct="1">
        <a:lnSpc>
          <a:spcPct val="100000"/>
        </a:lnSpc>
        <a:spcBef>
          <a:spcPts val="0"/>
        </a:spcBef>
        <a:spcAft>
          <a:spcPts val="0"/>
        </a:spcAft>
        <a:buClr>
          <a:schemeClr val="accent1"/>
        </a:buClr>
        <a:buSzPct val="100000"/>
        <a:buFont typeface="Arial" panose="020B0604020202020204" pitchFamily="34" charset="0"/>
        <a:buNone/>
        <a:defRPr lang="en-US" sz="1600" b="1" kern="1200" dirty="0" smtClean="0">
          <a:solidFill>
            <a:schemeClr val="accent1"/>
          </a:solidFill>
          <a:latin typeface="+mj-lt"/>
          <a:ea typeface="Cambria" panose="02040503050406030204" pitchFamily="18" charset="0"/>
          <a:cs typeface="Calibri" panose="020F0502020204030204" pitchFamily="34" charset="0"/>
        </a:defRPr>
      </a:lvl1pPr>
      <a:lvl2pPr marL="438150" indent="-171450" algn="l" defTabSz="914400" rtl="0" eaLnBrk="1" latinLnBrk="0" hangingPunct="1">
        <a:lnSpc>
          <a:spcPct val="90000"/>
        </a:lnSpc>
        <a:spcBef>
          <a:spcPts val="500"/>
        </a:spcBef>
        <a:buClr>
          <a:schemeClr val="accent1"/>
        </a:buClr>
        <a:buFont typeface="Arial" panose="020B0604020202020204" pitchFamily="34" charset="0"/>
        <a:buChar char="►"/>
        <a:defRPr lang="en-US" sz="1600" b="0" kern="1200" dirty="0" smtClean="0">
          <a:solidFill>
            <a:schemeClr val="tx2"/>
          </a:solidFill>
          <a:latin typeface="+mn-lt"/>
          <a:ea typeface="Cambria" panose="02040503050406030204" pitchFamily="18" charset="0"/>
          <a:cs typeface="Calibri" panose="020F0502020204030204" pitchFamily="34" charset="0"/>
        </a:defRPr>
      </a:lvl2pPr>
      <a:lvl3pPr marL="523875" indent="0" algn="l" defTabSz="914400" rtl="0" eaLnBrk="1" latinLnBrk="0" hangingPunct="1">
        <a:lnSpc>
          <a:spcPct val="90000"/>
        </a:lnSpc>
        <a:spcBef>
          <a:spcPts val="500"/>
        </a:spcBef>
        <a:buFontTx/>
        <a:buNone/>
        <a:defRPr lang="en-US" sz="1400" kern="1200" dirty="0" smtClean="0">
          <a:solidFill>
            <a:schemeClr val="tx2"/>
          </a:solidFill>
          <a:latin typeface="+mn-lt"/>
          <a:ea typeface="Cambria" panose="02040503050406030204" pitchFamily="18" charset="0"/>
          <a:cs typeface="Calibri" panose="020F0502020204030204" pitchFamily="34" charset="0"/>
        </a:defRPr>
      </a:lvl3pPr>
      <a:lvl4pPr marL="555625" indent="-285750" algn="l" defTabSz="914400" rtl="0" eaLnBrk="1" latinLnBrk="0" hangingPunct="1">
        <a:lnSpc>
          <a:spcPct val="90000"/>
        </a:lnSpc>
        <a:spcBef>
          <a:spcPts val="500"/>
        </a:spcBef>
        <a:buFont typeface="Arial" panose="020B0604020202020204" pitchFamily="34" charset="0"/>
        <a:buNone/>
        <a:defRPr lang="en-US" sz="1200" kern="1200" dirty="0" smtClean="0">
          <a:solidFill>
            <a:schemeClr val="tx2"/>
          </a:solidFill>
          <a:latin typeface="+mn-lt"/>
          <a:ea typeface="+mn-ea"/>
          <a:cs typeface="+mn-cs"/>
        </a:defRPr>
      </a:lvl4pPr>
      <a:lvl5pPr marL="809625" indent="-285750" algn="l" defTabSz="914400" rtl="0" eaLnBrk="1" latinLnBrk="0" hangingPunct="1">
        <a:lnSpc>
          <a:spcPct val="90000"/>
        </a:lnSpc>
        <a:spcBef>
          <a:spcPts val="500"/>
        </a:spcBef>
        <a:buFont typeface="Arial" panose="020B0604020202020204" pitchFamily="34" charset="0"/>
        <a:buChar char="•"/>
        <a:defRPr lang="en-GB" sz="105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9">
          <p15:clr>
            <a:srgbClr val="F26B43"/>
          </p15:clr>
        </p15:guide>
        <p15:guide id="3" pos="7401">
          <p15:clr>
            <a:srgbClr val="F26B43"/>
          </p15:clr>
        </p15:guide>
        <p15:guide id="4" orient="horz" pos="4042">
          <p15:clr>
            <a:srgbClr val="F26B43"/>
          </p15:clr>
        </p15:guide>
        <p15:guide id="6">
          <p15:clr>
            <a:srgbClr val="F26B43"/>
          </p15:clr>
        </p15:guide>
        <p15:guide id="8" pos="7680">
          <p15:clr>
            <a:srgbClr val="F26B43"/>
          </p15:clr>
        </p15:guide>
        <p15:guide id="9" orient="horz">
          <p15:clr>
            <a:srgbClr val="F26B43"/>
          </p15:clr>
        </p15:guide>
        <p15:guide id="10" orient="horz" pos="4320">
          <p15:clr>
            <a:srgbClr val="F26B43"/>
          </p15:clr>
        </p15:guide>
        <p15:guide id="11" orient="horz" pos="27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6012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9.xml"/><Relationship Id="rId4" Type="http://schemas.openxmlformats.org/officeDocument/2006/relationships/image" Target="../media/image34.jfif"/></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34" Type="http://schemas.openxmlformats.org/officeDocument/2006/relationships/tags" Target="../tags/tag69.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tags" Target="../tags/tag67.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tags" Target="../tags/tag66.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 Id="rId35"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36.wmf"/><Relationship Id="rId2" Type="http://schemas.openxmlformats.org/officeDocument/2006/relationships/oleObject" Target="../embeddings/oleObject1.bin"/><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30.png"/><Relationship Id="rId1" Type="http://schemas.openxmlformats.org/officeDocument/2006/relationships/slideLayout" Target="../slideLayouts/slideLayout19.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slideLayout" Target="../slideLayouts/slideLayout19.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6AA71E-45D4-4C23-B947-D9A36A73DDBC}"/>
              </a:ext>
            </a:extLst>
          </p:cNvPr>
          <p:cNvSpPr>
            <a:spLocks noGrp="1"/>
          </p:cNvSpPr>
          <p:nvPr>
            <p:ph type="body" sz="quarter" idx="10"/>
          </p:nvPr>
        </p:nvSpPr>
        <p:spPr>
          <a:xfrm>
            <a:off x="537755" y="2475416"/>
            <a:ext cx="9575074" cy="2799969"/>
          </a:xfrm>
        </p:spPr>
        <p:txBody>
          <a:bodyPr>
            <a:noAutofit/>
          </a:bodyPr>
          <a:lstStyle/>
          <a:p>
            <a:pPr marL="0" indent="0">
              <a:buNone/>
            </a:pPr>
            <a:r>
              <a:rPr lang="en-US" sz="5400" dirty="0"/>
              <a:t>Final Report Out</a:t>
            </a:r>
          </a:p>
          <a:p>
            <a:pPr marL="0" indent="0">
              <a:buNone/>
            </a:pPr>
            <a:r>
              <a:rPr lang="en-US" sz="2400" dirty="0"/>
              <a:t>GE Grid</a:t>
            </a:r>
          </a:p>
          <a:p>
            <a:pPr marL="0" indent="0">
              <a:buNone/>
            </a:pPr>
            <a:r>
              <a:rPr lang="en-US" sz="2000" dirty="0"/>
              <a:t>Cash Process work out </a:t>
            </a:r>
          </a:p>
          <a:p>
            <a:pPr marL="0" indent="0">
              <a:buNone/>
            </a:pPr>
            <a:r>
              <a:rPr lang="en-US" sz="1800" dirty="0"/>
              <a:t>I2C, S2P &amp; Cash</a:t>
            </a:r>
          </a:p>
          <a:p>
            <a:pPr marL="0" indent="0">
              <a:buNone/>
            </a:pPr>
            <a:endParaRPr lang="en-US" sz="2800" dirty="0"/>
          </a:p>
          <a:p>
            <a:pPr marL="0" indent="0">
              <a:buNone/>
            </a:pPr>
            <a:r>
              <a:rPr lang="en-US" sz="2800" dirty="0"/>
              <a:t>25</a:t>
            </a:r>
            <a:r>
              <a:rPr lang="en-US" sz="2800" baseline="30000" dirty="0"/>
              <a:t>th</a:t>
            </a:r>
            <a:r>
              <a:rPr lang="en-US" sz="2800" dirty="0"/>
              <a:t> February 2021</a:t>
            </a:r>
          </a:p>
          <a:p>
            <a:endParaRPr lang="en-US" sz="8800" dirty="0"/>
          </a:p>
        </p:txBody>
      </p:sp>
    </p:spTree>
    <p:extLst>
      <p:ext uri="{BB962C8B-B14F-4D97-AF65-F5344CB8AC3E}">
        <p14:creationId xmlns:p14="http://schemas.microsoft.com/office/powerpoint/2010/main" val="3140888637"/>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a:extLst>
              <a:ext uri="{FF2B5EF4-FFF2-40B4-BE49-F238E27FC236}">
                <a16:creationId xmlns:a16="http://schemas.microsoft.com/office/drawing/2014/main" id="{2D537C6D-ABBD-4AFD-89CF-E697261A403B}"/>
              </a:ext>
            </a:extLst>
          </p:cNvPr>
          <p:cNvGraphicFramePr>
            <a:graphicFrameLocks/>
          </p:cNvGraphicFramePr>
          <p:nvPr/>
        </p:nvGraphicFramePr>
        <p:xfrm>
          <a:off x="428627" y="1141280"/>
          <a:ext cx="11306173" cy="5417059"/>
        </p:xfrm>
        <a:graphic>
          <a:graphicData uri="http://schemas.openxmlformats.org/drawingml/2006/table">
            <a:tbl>
              <a:tblPr/>
              <a:tblGrid>
                <a:gridCol w="485773">
                  <a:extLst>
                    <a:ext uri="{9D8B030D-6E8A-4147-A177-3AD203B41FA5}">
                      <a16:colId xmlns:a16="http://schemas.microsoft.com/office/drawing/2014/main" val="20000"/>
                    </a:ext>
                  </a:extLst>
                </a:gridCol>
                <a:gridCol w="1434905">
                  <a:extLst>
                    <a:ext uri="{9D8B030D-6E8A-4147-A177-3AD203B41FA5}">
                      <a16:colId xmlns:a16="http://schemas.microsoft.com/office/drawing/2014/main" val="20001"/>
                    </a:ext>
                  </a:extLst>
                </a:gridCol>
                <a:gridCol w="3685735">
                  <a:extLst>
                    <a:ext uri="{9D8B030D-6E8A-4147-A177-3AD203B41FA5}">
                      <a16:colId xmlns:a16="http://schemas.microsoft.com/office/drawing/2014/main" val="20003"/>
                    </a:ext>
                  </a:extLst>
                </a:gridCol>
                <a:gridCol w="787791">
                  <a:extLst>
                    <a:ext uri="{9D8B030D-6E8A-4147-A177-3AD203B41FA5}">
                      <a16:colId xmlns:a16="http://schemas.microsoft.com/office/drawing/2014/main" val="20004"/>
                    </a:ext>
                  </a:extLst>
                </a:gridCol>
                <a:gridCol w="1073962">
                  <a:extLst>
                    <a:ext uri="{9D8B030D-6E8A-4147-A177-3AD203B41FA5}">
                      <a16:colId xmlns:a16="http://schemas.microsoft.com/office/drawing/2014/main" val="20005"/>
                    </a:ext>
                  </a:extLst>
                </a:gridCol>
                <a:gridCol w="2120358">
                  <a:extLst>
                    <a:ext uri="{9D8B030D-6E8A-4147-A177-3AD203B41FA5}">
                      <a16:colId xmlns:a16="http://schemas.microsoft.com/office/drawing/2014/main" val="20006"/>
                    </a:ext>
                  </a:extLst>
                </a:gridCol>
                <a:gridCol w="1717649">
                  <a:extLst>
                    <a:ext uri="{9D8B030D-6E8A-4147-A177-3AD203B41FA5}">
                      <a16:colId xmlns:a16="http://schemas.microsoft.com/office/drawing/2014/main" val="20007"/>
                    </a:ext>
                  </a:extLst>
                </a:gridCol>
              </a:tblGrid>
              <a:tr h="257733">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kern="1200" cap="none" normalizeH="0" baseline="0" dirty="0">
                          <a:ln>
                            <a:noFill/>
                          </a:ln>
                          <a:solidFill>
                            <a:schemeClr val="bg1"/>
                          </a:solidFill>
                          <a:effectLst/>
                          <a:latin typeface="Arial" charset="0"/>
                          <a:ea typeface="+mn-ea"/>
                          <a:cs typeface="+mn-cs"/>
                        </a:rPr>
                        <a:t>#</a:t>
                      </a:r>
                    </a:p>
                  </a:txBody>
                  <a:tcPr marL="72000" marR="72000" marT="27432" marB="27432" anchor="ctr" horzOverflow="overflow">
                    <a:lnL w="3175" cap="flat" cmpd="sng" algn="ctr">
                      <a:solidFill>
                        <a:srgbClr val="00608A"/>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System &amp; Tools</a:t>
                      </a:r>
                      <a:endParaRPr kumimoji="0" lang="en-US" sz="1200" b="1" i="0" u="none" strike="noStrike" cap="none" normalizeH="0" baseline="0" dirty="0">
                        <a:ln>
                          <a:noFill/>
                        </a:ln>
                        <a:solidFill>
                          <a:srgbClr val="FF0000"/>
                        </a:solidFill>
                        <a:effectLst/>
                        <a:latin typeface="Arial" charset="0"/>
                      </a:endParaRP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Solution</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Owner</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Completion date*</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defTabSz="914400" eaLnBrk="1" fontAlgn="auto" latinLnBrk="0" hangingPunct="1">
                        <a:lnSpc>
                          <a:spcPct val="100000"/>
                        </a:lnSpc>
                        <a:spcBef>
                          <a:spcPts val="0"/>
                        </a:spcBef>
                        <a:spcAft>
                          <a:spcPts val="0"/>
                        </a:spcAft>
                        <a:buClr>
                          <a:srgbClr val="E7E5D3"/>
                        </a:buClr>
                        <a:buSzTx/>
                        <a:buFontTx/>
                        <a:buNone/>
                        <a:tabLst/>
                        <a:defRPr/>
                      </a:pPr>
                      <a:r>
                        <a:rPr kumimoji="0" lang="en-US" sz="1200" b="1" i="0" u="none" strike="noStrike" kern="0" cap="none" spc="0" normalizeH="0" baseline="0" noProof="0" dirty="0">
                          <a:ln>
                            <a:noFill/>
                          </a:ln>
                          <a:solidFill>
                            <a:schemeClr val="bg1"/>
                          </a:solidFill>
                          <a:effectLst/>
                          <a:uLnTx/>
                          <a:uFillTx/>
                          <a:latin typeface="Arial Bold" pitchFamily="34" charset="0"/>
                          <a:ea typeface="ＭＳ Ｐゴシック"/>
                          <a:cs typeface="Arial Bold" pitchFamily="34" charset="0"/>
                        </a:rPr>
                        <a:t>KPI – Bowler metric</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00608A"/>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p>
                      <a:pPr marL="0" marR="0" lvl="0" indent="0" defTabSz="914400" eaLnBrk="1" fontAlgn="auto" latinLnBrk="0" hangingPunct="1">
                        <a:lnSpc>
                          <a:spcPct val="100000"/>
                        </a:lnSpc>
                        <a:spcBef>
                          <a:spcPts val="0"/>
                        </a:spcBef>
                        <a:spcAft>
                          <a:spcPts val="0"/>
                        </a:spcAft>
                        <a:buClr>
                          <a:srgbClr val="E7E5D3"/>
                        </a:buClr>
                        <a:buSzTx/>
                        <a:buFontTx/>
                        <a:buNone/>
                        <a:tabLst/>
                        <a:defRPr/>
                      </a:pPr>
                      <a:r>
                        <a:rPr kumimoji="0" lang="en-US" sz="1200" b="1" i="0" u="none" strike="noStrike" kern="0" cap="none" spc="0" normalizeH="0" baseline="0" noProof="0" dirty="0">
                          <a:ln>
                            <a:noFill/>
                          </a:ln>
                          <a:solidFill>
                            <a:schemeClr val="bg1"/>
                          </a:solidFill>
                          <a:effectLst/>
                          <a:uLnTx/>
                          <a:uFillTx/>
                          <a:latin typeface="Arial Bold" pitchFamily="34" charset="0"/>
                          <a:ea typeface="ＭＳ Ｐゴシック"/>
                          <a:cs typeface="Arial Bold" pitchFamily="34" charset="0"/>
                        </a:rPr>
                        <a:t>Issues / Challenges / Help needed</a:t>
                      </a:r>
                    </a:p>
                  </a:txBody>
                  <a:tcPr marL="72000" marR="72000" marT="27432" marB="27432" anchor="ctr" horzOverflow="overflow">
                    <a:lnL w="3175" cap="flat" cmpd="sng" algn="ctr">
                      <a:solidFill>
                        <a:srgbClr val="00608A"/>
                      </a:solidFill>
                      <a:prstDash val="solid"/>
                      <a:round/>
                      <a:headEnd type="none" w="med" len="med"/>
                      <a:tailEnd type="none" w="med" len="med"/>
                    </a:lnL>
                    <a:lnR w="3175" cap="flat" cmpd="sng" algn="ctr">
                      <a:solidFill>
                        <a:srgbClr val="00608A"/>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extLst>
                  <a:ext uri="{0D108BD9-81ED-4DB2-BD59-A6C34878D82A}">
                    <a16:rowId xmlns:a16="http://schemas.microsoft.com/office/drawing/2014/main" val="10000"/>
                  </a:ext>
                </a:extLst>
              </a:tr>
              <a:tr h="303553">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1</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Autobank</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17475" lvl="0" indent="-117475" algn="l" defTabSz="914400" rtl="0" eaLnBrk="0" fontAlgn="auto" latinLnBrk="0"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Check auto update option from PP screen &amp; confirm update process with AML team</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TBD</a:t>
                      </a:r>
                    </a:p>
                  </a:txBody>
                  <a:tcPr marL="45720" marR="45720" marT="137160" marB="137160"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Arial"/>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TBD</a:t>
                      </a:r>
                    </a:p>
                  </a:txBody>
                  <a:tcPr marL="45720" marR="45720" marT="137160" marB="137160"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TBD</a:t>
                      </a:r>
                    </a:p>
                  </a:txBody>
                  <a:tcPr marL="45720" marR="45720" marT="137160" marB="137160"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1"/>
                  </a:ext>
                </a:extLst>
              </a:tr>
              <a:tr h="425805">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2</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Autobank</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Use Sending bank details Table (MICR, IBAN) auto update </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2"/>
                  </a:ext>
                </a:extLst>
              </a:tr>
              <a:tr h="465326">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3</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Arial"/>
                          <a:ea typeface="+mn-ea"/>
                          <a:cs typeface="+mn-cs"/>
                          <a:sym typeface="Symbol" pitchFamily="18" charset="2"/>
                        </a:rPr>
                        <a:t>Autobank</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Analyze and update Table (</a:t>
                      </a:r>
                      <a:r>
                        <a:rPr lang="en-US" sz="1200" kern="0" dirty="0" err="1">
                          <a:solidFill>
                            <a:srgbClr val="6B6B6B">
                              <a:lumMod val="75000"/>
                            </a:srgbClr>
                          </a:solidFill>
                          <a:latin typeface="Arial" pitchFamily="34" charset="0"/>
                          <a:ea typeface="+mn-ea"/>
                          <a:cs typeface="Arial" charset="0"/>
                          <a:sym typeface="Symbol" pitchFamily="18" charset="2"/>
                        </a:rPr>
                        <a:t>Serrala</a:t>
                      </a:r>
                      <a:r>
                        <a:rPr lang="en-US" sz="1200" kern="0" dirty="0">
                          <a:solidFill>
                            <a:srgbClr val="6B6B6B">
                              <a:lumMod val="75000"/>
                            </a:srgbClr>
                          </a:solidFill>
                          <a:latin typeface="Arial" pitchFamily="34" charset="0"/>
                          <a:ea typeface="+mn-ea"/>
                          <a:cs typeface="Arial" charset="0"/>
                          <a:sym typeface="Symbol" pitchFamily="18" charset="2"/>
                        </a:rPr>
                        <a:t> use business partner, BSEG, FBL5N0)</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3"/>
                  </a:ext>
                </a:extLst>
              </a:tr>
              <a:tr h="465326">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4</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Autobank</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Use Sending bank details Table (MICR, IBAN) auto update </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2702065566"/>
                  </a:ext>
                </a:extLst>
              </a:tr>
              <a:tr h="465326">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7</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TRAX </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Space removing in Bank file narration in Auto bank </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2905385213"/>
                  </a:ext>
                </a:extLst>
              </a:tr>
              <a:tr h="465326">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12</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Remit Library, OCR</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Auto forward rule from other mailbox to Renewables global one</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Educate Biz Sales/ PM / Collections / Cash to forward (Banner in CRM system)</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742446451"/>
                  </a:ext>
                </a:extLst>
              </a:tr>
              <a:tr h="465326">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13</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Remit Library, OCR</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Educate Customer to send remittance to the correct email box - remit library. </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Add email address in Collector email signature</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9489078"/>
                  </a:ext>
                </a:extLst>
              </a:tr>
            </a:tbl>
          </a:graphicData>
        </a:graphic>
      </p:graphicFrame>
      <p:sp>
        <p:nvSpPr>
          <p:cNvPr id="10" name="Text Placeholder 1">
            <a:extLst>
              <a:ext uri="{FF2B5EF4-FFF2-40B4-BE49-F238E27FC236}">
                <a16:creationId xmlns:a16="http://schemas.microsoft.com/office/drawing/2014/main" id="{57AFC34F-2CFF-4777-9A05-1CBB6F0856A0}"/>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lvl="0">
              <a:defRPr/>
            </a:pPr>
            <a:r>
              <a:rPr lang="en-US" kern="0" dirty="0">
                <a:solidFill>
                  <a:srgbClr val="073262"/>
                </a:solidFill>
              </a:rPr>
              <a:t>Implementation roadmap / Action plan        1of2</a:t>
            </a:r>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32387891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a:extLst>
              <a:ext uri="{FF2B5EF4-FFF2-40B4-BE49-F238E27FC236}">
                <a16:creationId xmlns:a16="http://schemas.microsoft.com/office/drawing/2014/main" id="{2D537C6D-ABBD-4AFD-89CF-E697261A403B}"/>
              </a:ext>
            </a:extLst>
          </p:cNvPr>
          <p:cNvGraphicFramePr>
            <a:graphicFrameLocks/>
          </p:cNvGraphicFramePr>
          <p:nvPr/>
        </p:nvGraphicFramePr>
        <p:xfrm>
          <a:off x="428627" y="1141280"/>
          <a:ext cx="11306173" cy="4549775"/>
        </p:xfrm>
        <a:graphic>
          <a:graphicData uri="http://schemas.openxmlformats.org/drawingml/2006/table">
            <a:tbl>
              <a:tblPr/>
              <a:tblGrid>
                <a:gridCol w="485773">
                  <a:extLst>
                    <a:ext uri="{9D8B030D-6E8A-4147-A177-3AD203B41FA5}">
                      <a16:colId xmlns:a16="http://schemas.microsoft.com/office/drawing/2014/main" val="20000"/>
                    </a:ext>
                  </a:extLst>
                </a:gridCol>
                <a:gridCol w="1434905">
                  <a:extLst>
                    <a:ext uri="{9D8B030D-6E8A-4147-A177-3AD203B41FA5}">
                      <a16:colId xmlns:a16="http://schemas.microsoft.com/office/drawing/2014/main" val="20001"/>
                    </a:ext>
                  </a:extLst>
                </a:gridCol>
                <a:gridCol w="3685735">
                  <a:extLst>
                    <a:ext uri="{9D8B030D-6E8A-4147-A177-3AD203B41FA5}">
                      <a16:colId xmlns:a16="http://schemas.microsoft.com/office/drawing/2014/main" val="20003"/>
                    </a:ext>
                  </a:extLst>
                </a:gridCol>
                <a:gridCol w="787791">
                  <a:extLst>
                    <a:ext uri="{9D8B030D-6E8A-4147-A177-3AD203B41FA5}">
                      <a16:colId xmlns:a16="http://schemas.microsoft.com/office/drawing/2014/main" val="20004"/>
                    </a:ext>
                  </a:extLst>
                </a:gridCol>
                <a:gridCol w="1073962">
                  <a:extLst>
                    <a:ext uri="{9D8B030D-6E8A-4147-A177-3AD203B41FA5}">
                      <a16:colId xmlns:a16="http://schemas.microsoft.com/office/drawing/2014/main" val="20005"/>
                    </a:ext>
                  </a:extLst>
                </a:gridCol>
                <a:gridCol w="2120358">
                  <a:extLst>
                    <a:ext uri="{9D8B030D-6E8A-4147-A177-3AD203B41FA5}">
                      <a16:colId xmlns:a16="http://schemas.microsoft.com/office/drawing/2014/main" val="20006"/>
                    </a:ext>
                  </a:extLst>
                </a:gridCol>
                <a:gridCol w="1717649">
                  <a:extLst>
                    <a:ext uri="{9D8B030D-6E8A-4147-A177-3AD203B41FA5}">
                      <a16:colId xmlns:a16="http://schemas.microsoft.com/office/drawing/2014/main" val="20007"/>
                    </a:ext>
                  </a:extLst>
                </a:gridCol>
              </a:tblGrid>
              <a:tr h="257733">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kern="1200" cap="none" normalizeH="0" baseline="0" dirty="0">
                          <a:ln>
                            <a:noFill/>
                          </a:ln>
                          <a:solidFill>
                            <a:schemeClr val="bg1"/>
                          </a:solidFill>
                          <a:effectLst/>
                          <a:latin typeface="Arial" charset="0"/>
                          <a:ea typeface="+mn-ea"/>
                          <a:cs typeface="+mn-cs"/>
                        </a:rPr>
                        <a:t>#</a:t>
                      </a:r>
                    </a:p>
                  </a:txBody>
                  <a:tcPr marL="72000" marR="72000" marT="27432" marB="27432" anchor="ctr" horzOverflow="overflow">
                    <a:lnL w="3175" cap="flat" cmpd="sng" algn="ctr">
                      <a:solidFill>
                        <a:srgbClr val="00608A"/>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System &amp; Tools</a:t>
                      </a:r>
                      <a:endParaRPr kumimoji="0" lang="en-US" sz="1200" b="1" i="0" u="none" strike="noStrike" cap="none" normalizeH="0" baseline="0" dirty="0">
                        <a:ln>
                          <a:noFill/>
                        </a:ln>
                        <a:solidFill>
                          <a:srgbClr val="FF0000"/>
                        </a:solidFill>
                        <a:effectLst/>
                        <a:latin typeface="Arial" charset="0"/>
                      </a:endParaRP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Solution</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Owner</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Completion date*</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defTabSz="914400" eaLnBrk="1" fontAlgn="auto" latinLnBrk="0" hangingPunct="1">
                        <a:lnSpc>
                          <a:spcPct val="100000"/>
                        </a:lnSpc>
                        <a:spcBef>
                          <a:spcPts val="0"/>
                        </a:spcBef>
                        <a:spcAft>
                          <a:spcPts val="0"/>
                        </a:spcAft>
                        <a:buClr>
                          <a:srgbClr val="E7E5D3"/>
                        </a:buClr>
                        <a:buSzTx/>
                        <a:buFontTx/>
                        <a:buNone/>
                        <a:tabLst/>
                        <a:defRPr/>
                      </a:pPr>
                      <a:r>
                        <a:rPr kumimoji="0" lang="en-US" sz="1200" b="1" i="0" u="none" strike="noStrike" kern="0" cap="none" spc="0" normalizeH="0" baseline="0" noProof="0" dirty="0">
                          <a:ln>
                            <a:noFill/>
                          </a:ln>
                          <a:solidFill>
                            <a:schemeClr val="bg1"/>
                          </a:solidFill>
                          <a:effectLst/>
                          <a:uLnTx/>
                          <a:uFillTx/>
                          <a:latin typeface="Arial Bold" pitchFamily="34" charset="0"/>
                          <a:ea typeface="ＭＳ Ｐゴシック"/>
                          <a:cs typeface="Arial Bold" pitchFamily="34" charset="0"/>
                        </a:rPr>
                        <a:t>KPI – Bowler metric</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00608A"/>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p>
                      <a:pPr marL="0" marR="0" lvl="0" indent="0" defTabSz="914400" eaLnBrk="1" fontAlgn="auto" latinLnBrk="0" hangingPunct="1">
                        <a:lnSpc>
                          <a:spcPct val="100000"/>
                        </a:lnSpc>
                        <a:spcBef>
                          <a:spcPts val="0"/>
                        </a:spcBef>
                        <a:spcAft>
                          <a:spcPts val="0"/>
                        </a:spcAft>
                        <a:buClr>
                          <a:srgbClr val="E7E5D3"/>
                        </a:buClr>
                        <a:buSzTx/>
                        <a:buFontTx/>
                        <a:buNone/>
                        <a:tabLst/>
                        <a:defRPr/>
                      </a:pPr>
                      <a:r>
                        <a:rPr kumimoji="0" lang="en-US" sz="1200" b="1" i="0" u="none" strike="noStrike" kern="0" cap="none" spc="0" normalizeH="0" baseline="0" noProof="0" dirty="0">
                          <a:ln>
                            <a:noFill/>
                          </a:ln>
                          <a:solidFill>
                            <a:schemeClr val="bg1"/>
                          </a:solidFill>
                          <a:effectLst/>
                          <a:uLnTx/>
                          <a:uFillTx/>
                          <a:latin typeface="Arial Bold" pitchFamily="34" charset="0"/>
                          <a:ea typeface="ＭＳ Ｐゴシック"/>
                          <a:cs typeface="Arial Bold" pitchFamily="34" charset="0"/>
                        </a:rPr>
                        <a:t>Issues / Challenges / Help needed</a:t>
                      </a:r>
                    </a:p>
                  </a:txBody>
                  <a:tcPr marL="72000" marR="72000" marT="27432" marB="27432" anchor="ctr" horzOverflow="overflow">
                    <a:lnL w="3175" cap="flat" cmpd="sng" algn="ctr">
                      <a:solidFill>
                        <a:srgbClr val="00608A"/>
                      </a:solidFill>
                      <a:prstDash val="solid"/>
                      <a:round/>
                      <a:headEnd type="none" w="med" len="med"/>
                      <a:tailEnd type="none" w="med" len="med"/>
                    </a:lnL>
                    <a:lnR w="3175" cap="flat" cmpd="sng" algn="ctr">
                      <a:solidFill>
                        <a:srgbClr val="00608A"/>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extLst>
                  <a:ext uri="{0D108BD9-81ED-4DB2-BD59-A6C34878D82A}">
                    <a16:rowId xmlns:a16="http://schemas.microsoft.com/office/drawing/2014/main" val="10000"/>
                  </a:ext>
                </a:extLst>
              </a:tr>
              <a:tr h="303553">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14</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Remit Library, OCR</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Invoice templates to be validated and updated with correct email address for Renewables.</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45733822"/>
                  </a:ext>
                </a:extLst>
              </a:tr>
              <a:tr h="303553">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19</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TRAX, Auto Bank</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17475" lvl="0" indent="-117475" algn="l" defTabSz="914400" rtl="0" eaLnBrk="0" fontAlgn="auto" latinLnBrk="0"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FF0000"/>
                          </a:solidFill>
                          <a:latin typeface="+mn-lt"/>
                          <a:ea typeface="+mn-ea"/>
                          <a:cs typeface="+mn-cs"/>
                          <a:sym typeface="Symbol" pitchFamily="18" charset="2"/>
                        </a:rPr>
                        <a:t>Investigate special characters in Auto Bank</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TBD</a:t>
                      </a:r>
                    </a:p>
                  </a:txBody>
                  <a:tcPr marL="45720" marR="45720" marT="137160" marB="137160"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Arial"/>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TBD</a:t>
                      </a:r>
                    </a:p>
                  </a:txBody>
                  <a:tcPr marL="45720" marR="45720" marT="137160" marB="137160"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TBD</a:t>
                      </a:r>
                    </a:p>
                  </a:txBody>
                  <a:tcPr marL="45720" marR="45720" marT="137160" marB="137160"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1"/>
                  </a:ext>
                </a:extLst>
              </a:tr>
              <a:tr h="425805">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22</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Auto Bank, SAP</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Fix for 1 WBS scenarios in Auto Bank.</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Payment split in &gt;1 WBS require manual workaround via GL</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2"/>
                  </a:ext>
                </a:extLst>
              </a:tr>
              <a:tr h="465326">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24</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Auto Bank</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New rules on </a:t>
                      </a:r>
                      <a:r>
                        <a:rPr lang="en-US" sz="1200" kern="0" dirty="0" err="1">
                          <a:solidFill>
                            <a:srgbClr val="6B6B6B">
                              <a:lumMod val="75000"/>
                            </a:srgbClr>
                          </a:solidFill>
                          <a:latin typeface="Arial" pitchFamily="34" charset="0"/>
                          <a:ea typeface="+mn-ea"/>
                          <a:cs typeface="Arial" charset="0"/>
                          <a:sym typeface="Symbol" pitchFamily="18" charset="2"/>
                        </a:rPr>
                        <a:t>non_AR</a:t>
                      </a:r>
                      <a:r>
                        <a:rPr lang="en-US" sz="1200" kern="0" dirty="0">
                          <a:solidFill>
                            <a:srgbClr val="6B6B6B">
                              <a:lumMod val="75000"/>
                            </a:srgbClr>
                          </a:solidFill>
                          <a:latin typeface="Arial" pitchFamily="34" charset="0"/>
                          <a:ea typeface="+mn-ea"/>
                          <a:cs typeface="Arial" charset="0"/>
                          <a:sym typeface="Symbol" pitchFamily="18" charset="2"/>
                        </a:rPr>
                        <a:t> incoming</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3"/>
                  </a:ext>
                </a:extLst>
              </a:tr>
              <a:tr h="465326">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28</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Remit Library, OCR</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FF0000"/>
                          </a:solidFill>
                          <a:latin typeface="Arial" pitchFamily="34" charset="0"/>
                          <a:ea typeface="+mn-ea"/>
                          <a:cs typeface="Arial" charset="0"/>
                          <a:sym typeface="Symbol" pitchFamily="18" charset="2"/>
                        </a:rPr>
                        <a:t>Check with </a:t>
                      </a:r>
                      <a:r>
                        <a:rPr lang="en-US" sz="1200" kern="0" dirty="0" err="1">
                          <a:solidFill>
                            <a:srgbClr val="FF0000"/>
                          </a:solidFill>
                          <a:latin typeface="Arial" pitchFamily="34" charset="0"/>
                          <a:ea typeface="+mn-ea"/>
                          <a:cs typeface="Arial" charset="0"/>
                          <a:sym typeface="Symbol" pitchFamily="18" charset="2"/>
                        </a:rPr>
                        <a:t>Serrala</a:t>
                      </a:r>
                      <a:endParaRPr lang="en-US" sz="1200" kern="0" dirty="0">
                        <a:solidFill>
                          <a:srgbClr val="FF0000"/>
                        </a:solidFill>
                        <a:latin typeface="Arial" pitchFamily="34" charset="0"/>
                        <a:ea typeface="+mn-ea"/>
                        <a:cs typeface="Arial" charset="0"/>
                        <a:sym typeface="Symbol" pitchFamily="18" charset="2"/>
                      </a:endParaRP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2702065566"/>
                  </a:ext>
                </a:extLst>
              </a:tr>
              <a:tr h="465326">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29</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Remit Library, OCR</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FF0000"/>
                          </a:solidFill>
                          <a:latin typeface="Arial" pitchFamily="34" charset="0"/>
                          <a:ea typeface="+mn-ea"/>
                          <a:cs typeface="Arial" charset="0"/>
                          <a:sym typeface="Symbol" pitchFamily="18" charset="2"/>
                        </a:rPr>
                        <a:t>Check with </a:t>
                      </a:r>
                      <a:r>
                        <a:rPr lang="en-US" sz="1200" kern="0" dirty="0" err="1">
                          <a:solidFill>
                            <a:srgbClr val="FF0000"/>
                          </a:solidFill>
                          <a:latin typeface="Arial" pitchFamily="34" charset="0"/>
                          <a:ea typeface="+mn-ea"/>
                          <a:cs typeface="Arial" charset="0"/>
                          <a:sym typeface="Symbol" pitchFamily="18" charset="2"/>
                        </a:rPr>
                        <a:t>Serrala</a:t>
                      </a:r>
                      <a:endParaRPr lang="en-US" sz="1200" kern="0" dirty="0">
                        <a:solidFill>
                          <a:srgbClr val="FF0000"/>
                        </a:solidFill>
                        <a:latin typeface="Arial" pitchFamily="34" charset="0"/>
                        <a:ea typeface="+mn-ea"/>
                        <a:cs typeface="Arial" charset="0"/>
                        <a:sym typeface="Symbol" pitchFamily="18" charset="2"/>
                      </a:endParaRP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742446451"/>
                  </a:ext>
                </a:extLst>
              </a:tr>
              <a:tr h="465326">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K34</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Auto Bank</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Implement WBS fix and stop reversal and use AR rules to apply cash in Auto Bank</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Arial"/>
                          <a:ea typeface="+mn-ea"/>
                          <a:cs typeface="+mn-cs"/>
                          <a:sym typeface="Symbol" pitchFamily="18" charset="2"/>
                        </a:rPr>
                        <a:t>TBD</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TB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9489078"/>
                  </a:ext>
                </a:extLst>
              </a:tr>
            </a:tbl>
          </a:graphicData>
        </a:graphic>
      </p:graphicFrame>
      <p:sp>
        <p:nvSpPr>
          <p:cNvPr id="10" name="Text Placeholder 1">
            <a:extLst>
              <a:ext uri="{FF2B5EF4-FFF2-40B4-BE49-F238E27FC236}">
                <a16:creationId xmlns:a16="http://schemas.microsoft.com/office/drawing/2014/main" id="{57AFC34F-2CFF-4777-9A05-1CBB6F0856A0}"/>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lvl="0">
              <a:defRPr/>
            </a:pPr>
            <a:r>
              <a:rPr lang="en-US" kern="0" dirty="0">
                <a:solidFill>
                  <a:srgbClr val="073262"/>
                </a:solidFill>
              </a:rPr>
              <a:t>Implementation roadmap / Action plan        2of2</a:t>
            </a:r>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1489528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C524D3A-F784-4D13-8487-9A61DE5C17B0}"/>
              </a:ext>
            </a:extLst>
          </p:cNvPr>
          <p:cNvSpPr/>
          <p:nvPr/>
        </p:nvSpPr>
        <p:spPr>
          <a:xfrm>
            <a:off x="0" y="2293034"/>
            <a:ext cx="12192000" cy="2926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7200" b="1" dirty="0"/>
              <a:t>RTR</a:t>
            </a:r>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6891552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a:extLst>
              <a:ext uri="{FF2B5EF4-FFF2-40B4-BE49-F238E27FC236}">
                <a16:creationId xmlns:a16="http://schemas.microsoft.com/office/drawing/2014/main" id="{F871F991-5873-48F5-A22B-557E1BD4FEFF}"/>
              </a:ext>
            </a:extLst>
          </p:cNvPr>
          <p:cNvCxnSpPr>
            <a:cxnSpLocks/>
          </p:cNvCxnSpPr>
          <p:nvPr/>
        </p:nvCxnSpPr>
        <p:spPr>
          <a:xfrm>
            <a:off x="2443353"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CE0BCAC-BD49-4FD2-8A73-78EEB589D147}"/>
              </a:ext>
            </a:extLst>
          </p:cNvPr>
          <p:cNvSpPr/>
          <p:nvPr/>
        </p:nvSpPr>
        <p:spPr>
          <a:xfrm>
            <a:off x="599832" y="3137651"/>
            <a:ext cx="1841023" cy="738664"/>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73262"/>
                </a:solidFill>
                <a:effectLst/>
                <a:uLnTx/>
                <a:uFillTx/>
                <a:latin typeface="Georgia"/>
                <a:ea typeface="+mn-ea"/>
                <a:cs typeface="+mn-cs"/>
              </a:rPr>
              <a:t>Team members participated in the workout</a:t>
            </a:r>
          </a:p>
        </p:txBody>
      </p:sp>
      <p:sp>
        <p:nvSpPr>
          <p:cNvPr id="17" name="Rectangle 16">
            <a:extLst>
              <a:ext uri="{FF2B5EF4-FFF2-40B4-BE49-F238E27FC236}">
                <a16:creationId xmlns:a16="http://schemas.microsoft.com/office/drawing/2014/main" id="{E7189E9C-8093-42A3-88D5-1C2AC5055D86}"/>
              </a:ext>
            </a:extLst>
          </p:cNvPr>
          <p:cNvSpPr/>
          <p:nvPr/>
        </p:nvSpPr>
        <p:spPr>
          <a:xfrm>
            <a:off x="2492260" y="3119513"/>
            <a:ext cx="2207546" cy="523220"/>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73262"/>
                </a:solidFill>
                <a:effectLst/>
                <a:uLnTx/>
                <a:uFillTx/>
                <a:latin typeface="Georgia"/>
                <a:ea typeface="+mn-ea"/>
                <a:cs typeface="+mn-cs"/>
              </a:rPr>
              <a:t>Kaizens (improvement opportunities) identified</a:t>
            </a:r>
          </a:p>
        </p:txBody>
      </p:sp>
      <p:cxnSp>
        <p:nvCxnSpPr>
          <p:cNvPr id="18" name="Straight Arrow Connector 17">
            <a:extLst>
              <a:ext uri="{FF2B5EF4-FFF2-40B4-BE49-F238E27FC236}">
                <a16:creationId xmlns:a16="http://schemas.microsoft.com/office/drawing/2014/main" id="{55D9AF09-E7B5-46AE-A7BA-646266694E69}"/>
              </a:ext>
            </a:extLst>
          </p:cNvPr>
          <p:cNvCxnSpPr>
            <a:cxnSpLocks/>
          </p:cNvCxnSpPr>
          <p:nvPr/>
        </p:nvCxnSpPr>
        <p:spPr>
          <a:xfrm>
            <a:off x="6918022"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12D4E95-10E2-49DB-A576-CCF67539F676}"/>
              </a:ext>
            </a:extLst>
          </p:cNvPr>
          <p:cNvSpPr/>
          <p:nvPr/>
        </p:nvSpPr>
        <p:spPr>
          <a:xfrm>
            <a:off x="7284889" y="3134136"/>
            <a:ext cx="1785478" cy="738664"/>
          </a:xfrm>
          <a:prstGeom prst="rect">
            <a:avLst/>
          </a:prstGeom>
        </p:spPr>
        <p:txBody>
          <a:bodyPr wrap="square">
            <a:spAutoFit/>
          </a:bodyPr>
          <a:lstStyle/>
          <a:p>
            <a:pPr algn="ctr" defTabSz="973138">
              <a:spcBef>
                <a:spcPct val="50000"/>
              </a:spcBef>
              <a:tabLst>
                <a:tab pos="1374775" algn="l"/>
              </a:tabLst>
            </a:pPr>
            <a:r>
              <a:rPr lang="en-US" sz="1400" dirty="0">
                <a:solidFill>
                  <a:srgbClr val="073262"/>
                </a:solidFill>
                <a:latin typeface="Georgia" panose="02040502050405020303" pitchFamily="18" charset="0"/>
              </a:rPr>
              <a:t>Strategic/Long Term </a:t>
            </a:r>
            <a:r>
              <a:rPr lang="en-US" sz="1400" dirty="0">
                <a:solidFill>
                  <a:srgbClr val="073262"/>
                </a:solidFill>
                <a:latin typeface="Georgia"/>
              </a:rPr>
              <a:t>solutions identified</a:t>
            </a:r>
            <a:endParaRPr lang="en-US" sz="1400" dirty="0">
              <a:solidFill>
                <a:srgbClr val="073262"/>
              </a:solidFill>
              <a:latin typeface="Georgia" panose="02040502050405020303" pitchFamily="18" charset="0"/>
            </a:endParaRPr>
          </a:p>
        </p:txBody>
      </p:sp>
      <p:cxnSp>
        <p:nvCxnSpPr>
          <p:cNvPr id="25" name="Straight Arrow Connector 24">
            <a:extLst>
              <a:ext uri="{FF2B5EF4-FFF2-40B4-BE49-F238E27FC236}">
                <a16:creationId xmlns:a16="http://schemas.microsoft.com/office/drawing/2014/main" id="{774879DF-94D3-4978-B752-662A5172A20D}"/>
              </a:ext>
            </a:extLst>
          </p:cNvPr>
          <p:cNvCxnSpPr>
            <a:cxnSpLocks/>
          </p:cNvCxnSpPr>
          <p:nvPr/>
        </p:nvCxnSpPr>
        <p:spPr>
          <a:xfrm>
            <a:off x="233309"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15FAA2B-6C69-4788-9676-F363D742F09A}"/>
              </a:ext>
            </a:extLst>
          </p:cNvPr>
          <p:cNvCxnSpPr>
            <a:cxnSpLocks/>
          </p:cNvCxnSpPr>
          <p:nvPr/>
        </p:nvCxnSpPr>
        <p:spPr>
          <a:xfrm>
            <a:off x="9537508"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261BD8EC-C7F3-4D78-A7AB-2D8AB5689611}"/>
              </a:ext>
            </a:extLst>
          </p:cNvPr>
          <p:cNvCxnSpPr>
            <a:cxnSpLocks/>
          </p:cNvCxnSpPr>
          <p:nvPr/>
        </p:nvCxnSpPr>
        <p:spPr>
          <a:xfrm>
            <a:off x="4639747"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71F4AC1C-6372-457C-A87B-F2C7EA0CEDE3}"/>
              </a:ext>
            </a:extLst>
          </p:cNvPr>
          <p:cNvSpPr/>
          <p:nvPr/>
        </p:nvSpPr>
        <p:spPr>
          <a:xfrm>
            <a:off x="4729594" y="3119513"/>
            <a:ext cx="2057789" cy="738664"/>
          </a:xfrm>
          <a:prstGeom prst="rect">
            <a:avLst/>
          </a:prstGeom>
        </p:spPr>
        <p:txBody>
          <a:bodyPr wrap="square">
            <a:spAutoFit/>
          </a:bodyPr>
          <a:lstStyle/>
          <a:p>
            <a:pPr algn="ctr" defTabSz="685800">
              <a:defRPr/>
            </a:pPr>
            <a:r>
              <a:rPr lang="en-US" sz="1400" dirty="0">
                <a:solidFill>
                  <a:srgbClr val="073262"/>
                </a:solidFill>
                <a:latin typeface="Georgia" panose="02040502050405020303" pitchFamily="18" charset="0"/>
              </a:rPr>
              <a:t>Quick Hits / Short Term</a:t>
            </a:r>
            <a:r>
              <a:rPr lang="en-US" sz="1400" dirty="0">
                <a:solidFill>
                  <a:srgbClr val="073262"/>
                </a:solidFill>
                <a:latin typeface="Georgia"/>
              </a:rPr>
              <a:t> solutions prioritized</a:t>
            </a:r>
            <a:endParaRPr lang="en-US" sz="1400" dirty="0">
              <a:solidFill>
                <a:srgbClr val="073262"/>
              </a:solidFill>
              <a:latin typeface="Georgia" panose="02040502050405020303" pitchFamily="18" charset="0"/>
            </a:endParaRPr>
          </a:p>
        </p:txBody>
      </p:sp>
      <p:sp>
        <p:nvSpPr>
          <p:cNvPr id="35" name="Text Placeholder 1">
            <a:extLst>
              <a:ext uri="{FF2B5EF4-FFF2-40B4-BE49-F238E27FC236}">
                <a16:creationId xmlns:a16="http://schemas.microsoft.com/office/drawing/2014/main" id="{85917716-2996-4995-A1B5-E8A3153B5F97}"/>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73262"/>
                </a:solidFill>
                <a:effectLst/>
                <a:uLnTx/>
                <a:uFillTx/>
                <a:latin typeface="Georgia" panose="02040502050405020303" pitchFamily="18" charset="0"/>
                <a:ea typeface="+mn-ea"/>
                <a:cs typeface="+mn-cs"/>
              </a:rPr>
              <a:t>Summary of RTR lean workout</a:t>
            </a:r>
            <a:endParaRPr kumimoji="0" lang="en-US" sz="3000" b="0" i="0" u="none" strike="noStrike" kern="0" cap="none" spc="0" normalizeH="0" baseline="0" noProof="0" dirty="0">
              <a:ln>
                <a:noFill/>
              </a:ln>
              <a:solidFill>
                <a:schemeClr val="accent2"/>
              </a:solidFill>
              <a:effectLst/>
              <a:uLnTx/>
              <a:uFillTx/>
              <a:latin typeface="Georgia" panose="02040502050405020303" pitchFamily="18" charset="0"/>
              <a:ea typeface="+mn-ea"/>
              <a:cs typeface="+mn-cs"/>
            </a:endParaRPr>
          </a:p>
        </p:txBody>
      </p:sp>
      <p:grpSp>
        <p:nvGrpSpPr>
          <p:cNvPr id="52" name="Group 101">
            <a:extLst>
              <a:ext uri="{FF2B5EF4-FFF2-40B4-BE49-F238E27FC236}">
                <a16:creationId xmlns:a16="http://schemas.microsoft.com/office/drawing/2014/main" id="{A026F53E-D6FB-45E0-9999-4C922FBC6353}"/>
              </a:ext>
            </a:extLst>
          </p:cNvPr>
          <p:cNvGrpSpPr>
            <a:grpSpLocks noChangeAspect="1"/>
          </p:cNvGrpSpPr>
          <p:nvPr/>
        </p:nvGrpSpPr>
        <p:grpSpPr bwMode="auto">
          <a:xfrm>
            <a:off x="5546882" y="4743011"/>
            <a:ext cx="1019187" cy="943691"/>
            <a:chOff x="1546" y="3472"/>
            <a:chExt cx="567" cy="525"/>
          </a:xfrm>
          <a:solidFill>
            <a:schemeClr val="bg2"/>
          </a:solidFill>
        </p:grpSpPr>
        <p:sp>
          <p:nvSpPr>
            <p:cNvPr id="53" name="Freeform 102">
              <a:extLst>
                <a:ext uri="{FF2B5EF4-FFF2-40B4-BE49-F238E27FC236}">
                  <a16:creationId xmlns:a16="http://schemas.microsoft.com/office/drawing/2014/main" id="{D5DCA84A-4832-437A-A1B5-09576465ADF2}"/>
                </a:ext>
              </a:extLst>
            </p:cNvPr>
            <p:cNvSpPr>
              <a:spLocks noEditPoints="1"/>
            </p:cNvSpPr>
            <p:nvPr/>
          </p:nvSpPr>
          <p:spPr bwMode="auto">
            <a:xfrm>
              <a:off x="1650" y="3472"/>
              <a:ext cx="340" cy="340"/>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72 w 144"/>
                <a:gd name="T11" fmla="*/ 130 h 144"/>
                <a:gd name="T12" fmla="*/ 14 w 144"/>
                <a:gd name="T13" fmla="*/ 72 h 144"/>
                <a:gd name="T14" fmla="*/ 72 w 144"/>
                <a:gd name="T15" fmla="*/ 14 h 144"/>
                <a:gd name="T16" fmla="*/ 130 w 144"/>
                <a:gd name="T17" fmla="*/ 72 h 144"/>
                <a:gd name="T18" fmla="*/ 72 w 144"/>
                <a:gd name="T19" fmla="*/ 13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0"/>
                  </a:moveTo>
                  <a:cubicBezTo>
                    <a:pt x="32" y="0"/>
                    <a:pt x="0" y="32"/>
                    <a:pt x="0" y="72"/>
                  </a:cubicBezTo>
                  <a:cubicBezTo>
                    <a:pt x="0" y="112"/>
                    <a:pt x="32" y="144"/>
                    <a:pt x="72" y="144"/>
                  </a:cubicBezTo>
                  <a:cubicBezTo>
                    <a:pt x="111" y="144"/>
                    <a:pt x="144" y="112"/>
                    <a:pt x="144" y="72"/>
                  </a:cubicBezTo>
                  <a:cubicBezTo>
                    <a:pt x="144" y="32"/>
                    <a:pt x="111" y="0"/>
                    <a:pt x="72" y="0"/>
                  </a:cubicBezTo>
                  <a:close/>
                  <a:moveTo>
                    <a:pt x="72" y="130"/>
                  </a:moveTo>
                  <a:cubicBezTo>
                    <a:pt x="40" y="130"/>
                    <a:pt x="14" y="104"/>
                    <a:pt x="14" y="72"/>
                  </a:cubicBezTo>
                  <a:cubicBezTo>
                    <a:pt x="14" y="40"/>
                    <a:pt x="40" y="14"/>
                    <a:pt x="72" y="14"/>
                  </a:cubicBezTo>
                  <a:cubicBezTo>
                    <a:pt x="104" y="14"/>
                    <a:pt x="130" y="40"/>
                    <a:pt x="130" y="72"/>
                  </a:cubicBezTo>
                  <a:cubicBezTo>
                    <a:pt x="130" y="104"/>
                    <a:pt x="104" y="130"/>
                    <a:pt x="72"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54" name="Freeform 103">
              <a:extLst>
                <a:ext uri="{FF2B5EF4-FFF2-40B4-BE49-F238E27FC236}">
                  <a16:creationId xmlns:a16="http://schemas.microsoft.com/office/drawing/2014/main" id="{430D2AAF-9C69-46A1-9EF0-D90E3CCE563C}"/>
                </a:ext>
              </a:extLst>
            </p:cNvPr>
            <p:cNvSpPr>
              <a:spLocks/>
            </p:cNvSpPr>
            <p:nvPr/>
          </p:nvSpPr>
          <p:spPr bwMode="auto">
            <a:xfrm>
              <a:off x="1917" y="3739"/>
              <a:ext cx="146" cy="149"/>
            </a:xfrm>
            <a:custGeom>
              <a:avLst/>
              <a:gdLst>
                <a:gd name="T0" fmla="*/ 0 w 62"/>
                <a:gd name="T1" fmla="*/ 24 h 63"/>
                <a:gd name="T2" fmla="*/ 39 w 62"/>
                <a:gd name="T3" fmla="*/ 63 h 63"/>
                <a:gd name="T4" fmla="*/ 62 w 62"/>
                <a:gd name="T5" fmla="*/ 39 h 63"/>
                <a:gd name="T6" fmla="*/ 24 w 62"/>
                <a:gd name="T7" fmla="*/ 0 h 63"/>
                <a:gd name="T8" fmla="*/ 0 w 62"/>
                <a:gd name="T9" fmla="*/ 24 h 63"/>
              </a:gdLst>
              <a:ahLst/>
              <a:cxnLst>
                <a:cxn ang="0">
                  <a:pos x="T0" y="T1"/>
                </a:cxn>
                <a:cxn ang="0">
                  <a:pos x="T2" y="T3"/>
                </a:cxn>
                <a:cxn ang="0">
                  <a:pos x="T4" y="T5"/>
                </a:cxn>
                <a:cxn ang="0">
                  <a:pos x="T6" y="T7"/>
                </a:cxn>
                <a:cxn ang="0">
                  <a:pos x="T8" y="T9"/>
                </a:cxn>
              </a:cxnLst>
              <a:rect l="0" t="0" r="r" b="b"/>
              <a:pathLst>
                <a:path w="62" h="63">
                  <a:moveTo>
                    <a:pt x="0" y="24"/>
                  </a:moveTo>
                  <a:cubicBezTo>
                    <a:pt x="39" y="63"/>
                    <a:pt x="39" y="63"/>
                    <a:pt x="39" y="63"/>
                  </a:cubicBezTo>
                  <a:cubicBezTo>
                    <a:pt x="39" y="63"/>
                    <a:pt x="60" y="45"/>
                    <a:pt x="62" y="39"/>
                  </a:cubicBezTo>
                  <a:cubicBezTo>
                    <a:pt x="24" y="0"/>
                    <a:pt x="24" y="0"/>
                    <a:pt x="24" y="0"/>
                  </a:cubicBezTo>
                  <a:cubicBezTo>
                    <a:pt x="24" y="0"/>
                    <a:pt x="18" y="11"/>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55" name="Freeform 104">
              <a:extLst>
                <a:ext uri="{FF2B5EF4-FFF2-40B4-BE49-F238E27FC236}">
                  <a16:creationId xmlns:a16="http://schemas.microsoft.com/office/drawing/2014/main" id="{B9D5D44A-0F39-42FF-85E0-C1C0609CE092}"/>
                </a:ext>
              </a:extLst>
            </p:cNvPr>
            <p:cNvSpPr>
              <a:spLocks/>
            </p:cNvSpPr>
            <p:nvPr/>
          </p:nvSpPr>
          <p:spPr bwMode="auto">
            <a:xfrm>
              <a:off x="2016" y="3841"/>
              <a:ext cx="97" cy="99"/>
            </a:xfrm>
            <a:custGeom>
              <a:avLst/>
              <a:gdLst>
                <a:gd name="T0" fmla="*/ 0 w 41"/>
                <a:gd name="T1" fmla="*/ 24 h 42"/>
                <a:gd name="T2" fmla="*/ 25 w 41"/>
                <a:gd name="T3" fmla="*/ 0 h 42"/>
                <a:gd name="T4" fmla="*/ 30 w 41"/>
                <a:gd name="T5" fmla="*/ 27 h 42"/>
                <a:gd name="T6" fmla="*/ 0 w 41"/>
                <a:gd name="T7" fmla="*/ 24 h 42"/>
              </a:gdLst>
              <a:ahLst/>
              <a:cxnLst>
                <a:cxn ang="0">
                  <a:pos x="T0" y="T1"/>
                </a:cxn>
                <a:cxn ang="0">
                  <a:pos x="T2" y="T3"/>
                </a:cxn>
                <a:cxn ang="0">
                  <a:pos x="T4" y="T5"/>
                </a:cxn>
                <a:cxn ang="0">
                  <a:pos x="T6" y="T7"/>
                </a:cxn>
              </a:cxnLst>
              <a:rect l="0" t="0" r="r" b="b"/>
              <a:pathLst>
                <a:path w="41" h="42">
                  <a:moveTo>
                    <a:pt x="0" y="24"/>
                  </a:moveTo>
                  <a:cubicBezTo>
                    <a:pt x="0" y="24"/>
                    <a:pt x="19" y="9"/>
                    <a:pt x="25" y="0"/>
                  </a:cubicBezTo>
                  <a:cubicBezTo>
                    <a:pt x="25" y="0"/>
                    <a:pt x="41" y="11"/>
                    <a:pt x="30" y="27"/>
                  </a:cubicBezTo>
                  <a:cubicBezTo>
                    <a:pt x="17" y="42"/>
                    <a:pt x="3" y="27"/>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56" name="Freeform 105">
              <a:extLst>
                <a:ext uri="{FF2B5EF4-FFF2-40B4-BE49-F238E27FC236}">
                  <a16:creationId xmlns:a16="http://schemas.microsoft.com/office/drawing/2014/main" id="{354079BD-9E5F-4D99-AB33-49F8891B8658}"/>
                </a:ext>
              </a:extLst>
            </p:cNvPr>
            <p:cNvSpPr>
              <a:spLocks/>
            </p:cNvSpPr>
            <p:nvPr/>
          </p:nvSpPr>
          <p:spPr bwMode="auto">
            <a:xfrm>
              <a:off x="1600" y="3597"/>
              <a:ext cx="234" cy="236"/>
            </a:xfrm>
            <a:custGeom>
              <a:avLst/>
              <a:gdLst>
                <a:gd name="T0" fmla="*/ 98 w 99"/>
                <a:gd name="T1" fmla="*/ 34 h 100"/>
                <a:gd name="T2" fmla="*/ 87 w 99"/>
                <a:gd name="T3" fmla="*/ 0 h 100"/>
                <a:gd name="T4" fmla="*/ 53 w 99"/>
                <a:gd name="T5" fmla="*/ 15 h 100"/>
                <a:gd name="T6" fmla="*/ 49 w 99"/>
                <a:gd name="T7" fmla="*/ 24 h 100"/>
                <a:gd name="T8" fmla="*/ 58 w 99"/>
                <a:gd name="T9" fmla="*/ 28 h 100"/>
                <a:gd name="T10" fmla="*/ 69 w 99"/>
                <a:gd name="T11" fmla="*/ 23 h 100"/>
                <a:gd name="T12" fmla="*/ 50 w 99"/>
                <a:gd name="T13" fmla="*/ 60 h 100"/>
                <a:gd name="T14" fmla="*/ 52 w 99"/>
                <a:gd name="T15" fmla="*/ 68 h 100"/>
                <a:gd name="T16" fmla="*/ 40 w 99"/>
                <a:gd name="T17" fmla="*/ 89 h 100"/>
                <a:gd name="T18" fmla="*/ 39 w 99"/>
                <a:gd name="T19" fmla="*/ 91 h 100"/>
                <a:gd name="T20" fmla="*/ 37 w 99"/>
                <a:gd name="T21" fmla="*/ 90 h 100"/>
                <a:gd name="T22" fmla="*/ 24 w 99"/>
                <a:gd name="T23" fmla="*/ 75 h 100"/>
                <a:gd name="T24" fmla="*/ 18 w 99"/>
                <a:gd name="T25" fmla="*/ 72 h 100"/>
                <a:gd name="T26" fmla="*/ 13 w 99"/>
                <a:gd name="T27" fmla="*/ 76 h 100"/>
                <a:gd name="T28" fmla="*/ 1 w 99"/>
                <a:gd name="T29" fmla="*/ 96 h 100"/>
                <a:gd name="T30" fmla="*/ 2 w 99"/>
                <a:gd name="T31" fmla="*/ 100 h 100"/>
                <a:gd name="T32" fmla="*/ 3 w 99"/>
                <a:gd name="T33" fmla="*/ 100 h 100"/>
                <a:gd name="T34" fmla="*/ 5 w 99"/>
                <a:gd name="T35" fmla="*/ 99 h 100"/>
                <a:gd name="T36" fmla="*/ 17 w 99"/>
                <a:gd name="T37" fmla="*/ 78 h 100"/>
                <a:gd name="T38" fmla="*/ 19 w 99"/>
                <a:gd name="T39" fmla="*/ 77 h 100"/>
                <a:gd name="T40" fmla="*/ 21 w 99"/>
                <a:gd name="T41" fmla="*/ 78 h 100"/>
                <a:gd name="T42" fmla="*/ 33 w 99"/>
                <a:gd name="T43" fmla="*/ 93 h 100"/>
                <a:gd name="T44" fmla="*/ 39 w 99"/>
                <a:gd name="T45" fmla="*/ 96 h 100"/>
                <a:gd name="T46" fmla="*/ 45 w 99"/>
                <a:gd name="T47" fmla="*/ 92 h 100"/>
                <a:gd name="T48" fmla="*/ 56 w 99"/>
                <a:gd name="T49" fmla="*/ 70 h 100"/>
                <a:gd name="T50" fmla="*/ 56 w 99"/>
                <a:gd name="T51" fmla="*/ 70 h 100"/>
                <a:gd name="T52" fmla="*/ 62 w 99"/>
                <a:gd name="T53" fmla="*/ 66 h 100"/>
                <a:gd name="T54" fmla="*/ 82 w 99"/>
                <a:gd name="T55" fmla="*/ 27 h 100"/>
                <a:gd name="T56" fmla="*/ 85 w 99"/>
                <a:gd name="T57" fmla="*/ 38 h 100"/>
                <a:gd name="T58" fmla="*/ 92 w 99"/>
                <a:gd name="T59" fmla="*/ 43 h 100"/>
                <a:gd name="T60" fmla="*/ 94 w 99"/>
                <a:gd name="T61" fmla="*/ 43 h 100"/>
                <a:gd name="T62" fmla="*/ 98 w 99"/>
                <a:gd name="T63" fmla="*/ 3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100">
                  <a:moveTo>
                    <a:pt x="98" y="34"/>
                  </a:moveTo>
                  <a:cubicBezTo>
                    <a:pt x="87" y="0"/>
                    <a:pt x="87" y="0"/>
                    <a:pt x="87" y="0"/>
                  </a:cubicBezTo>
                  <a:cubicBezTo>
                    <a:pt x="53" y="15"/>
                    <a:pt x="53" y="15"/>
                    <a:pt x="53" y="15"/>
                  </a:cubicBezTo>
                  <a:cubicBezTo>
                    <a:pt x="49" y="17"/>
                    <a:pt x="48" y="21"/>
                    <a:pt x="49" y="24"/>
                  </a:cubicBezTo>
                  <a:cubicBezTo>
                    <a:pt x="51" y="28"/>
                    <a:pt x="55" y="29"/>
                    <a:pt x="58" y="28"/>
                  </a:cubicBezTo>
                  <a:cubicBezTo>
                    <a:pt x="69" y="23"/>
                    <a:pt x="69" y="23"/>
                    <a:pt x="69" y="23"/>
                  </a:cubicBezTo>
                  <a:cubicBezTo>
                    <a:pt x="50" y="60"/>
                    <a:pt x="50" y="60"/>
                    <a:pt x="50" y="60"/>
                  </a:cubicBezTo>
                  <a:cubicBezTo>
                    <a:pt x="49" y="63"/>
                    <a:pt x="50" y="66"/>
                    <a:pt x="52" y="68"/>
                  </a:cubicBezTo>
                  <a:cubicBezTo>
                    <a:pt x="40" y="89"/>
                    <a:pt x="40" y="89"/>
                    <a:pt x="40" y="89"/>
                  </a:cubicBezTo>
                  <a:cubicBezTo>
                    <a:pt x="40" y="90"/>
                    <a:pt x="39" y="91"/>
                    <a:pt x="39" y="91"/>
                  </a:cubicBezTo>
                  <a:cubicBezTo>
                    <a:pt x="38" y="91"/>
                    <a:pt x="37" y="90"/>
                    <a:pt x="37" y="90"/>
                  </a:cubicBezTo>
                  <a:cubicBezTo>
                    <a:pt x="24" y="75"/>
                    <a:pt x="24" y="75"/>
                    <a:pt x="24" y="75"/>
                  </a:cubicBezTo>
                  <a:cubicBezTo>
                    <a:pt x="23" y="73"/>
                    <a:pt x="21" y="72"/>
                    <a:pt x="18" y="72"/>
                  </a:cubicBezTo>
                  <a:cubicBezTo>
                    <a:pt x="16" y="72"/>
                    <a:pt x="14" y="73"/>
                    <a:pt x="13" y="76"/>
                  </a:cubicBezTo>
                  <a:cubicBezTo>
                    <a:pt x="1" y="96"/>
                    <a:pt x="1" y="96"/>
                    <a:pt x="1" y="96"/>
                  </a:cubicBezTo>
                  <a:cubicBezTo>
                    <a:pt x="0" y="98"/>
                    <a:pt x="0" y="99"/>
                    <a:pt x="2" y="100"/>
                  </a:cubicBezTo>
                  <a:cubicBezTo>
                    <a:pt x="2" y="100"/>
                    <a:pt x="2" y="100"/>
                    <a:pt x="3" y="100"/>
                  </a:cubicBezTo>
                  <a:cubicBezTo>
                    <a:pt x="4" y="100"/>
                    <a:pt x="5" y="100"/>
                    <a:pt x="5" y="99"/>
                  </a:cubicBezTo>
                  <a:cubicBezTo>
                    <a:pt x="17" y="78"/>
                    <a:pt x="17" y="78"/>
                    <a:pt x="17" y="78"/>
                  </a:cubicBezTo>
                  <a:cubicBezTo>
                    <a:pt x="17" y="77"/>
                    <a:pt x="18" y="77"/>
                    <a:pt x="19" y="77"/>
                  </a:cubicBezTo>
                  <a:cubicBezTo>
                    <a:pt x="19" y="77"/>
                    <a:pt x="20" y="77"/>
                    <a:pt x="21" y="78"/>
                  </a:cubicBezTo>
                  <a:cubicBezTo>
                    <a:pt x="33" y="93"/>
                    <a:pt x="33" y="93"/>
                    <a:pt x="33" y="93"/>
                  </a:cubicBezTo>
                  <a:cubicBezTo>
                    <a:pt x="35" y="95"/>
                    <a:pt x="37" y="96"/>
                    <a:pt x="39" y="96"/>
                  </a:cubicBezTo>
                  <a:cubicBezTo>
                    <a:pt x="41" y="95"/>
                    <a:pt x="43" y="94"/>
                    <a:pt x="45" y="92"/>
                  </a:cubicBezTo>
                  <a:cubicBezTo>
                    <a:pt x="56" y="70"/>
                    <a:pt x="56" y="70"/>
                    <a:pt x="56" y="70"/>
                  </a:cubicBezTo>
                  <a:cubicBezTo>
                    <a:pt x="56" y="70"/>
                    <a:pt x="56" y="70"/>
                    <a:pt x="56" y="70"/>
                  </a:cubicBezTo>
                  <a:cubicBezTo>
                    <a:pt x="59" y="70"/>
                    <a:pt x="61" y="69"/>
                    <a:pt x="62" y="66"/>
                  </a:cubicBezTo>
                  <a:cubicBezTo>
                    <a:pt x="82" y="27"/>
                    <a:pt x="82" y="27"/>
                    <a:pt x="82" y="27"/>
                  </a:cubicBezTo>
                  <a:cubicBezTo>
                    <a:pt x="85" y="38"/>
                    <a:pt x="85" y="38"/>
                    <a:pt x="85" y="38"/>
                  </a:cubicBezTo>
                  <a:cubicBezTo>
                    <a:pt x="86" y="41"/>
                    <a:pt x="89" y="43"/>
                    <a:pt x="92" y="43"/>
                  </a:cubicBezTo>
                  <a:cubicBezTo>
                    <a:pt x="92" y="43"/>
                    <a:pt x="93" y="43"/>
                    <a:pt x="94" y="43"/>
                  </a:cubicBezTo>
                  <a:cubicBezTo>
                    <a:pt x="97" y="42"/>
                    <a:pt x="99" y="38"/>
                    <a:pt x="98"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57" name="Freeform 106">
              <a:extLst>
                <a:ext uri="{FF2B5EF4-FFF2-40B4-BE49-F238E27FC236}">
                  <a16:creationId xmlns:a16="http://schemas.microsoft.com/office/drawing/2014/main" id="{F707437D-074E-44FC-B5BA-D4112548E3CD}"/>
                </a:ext>
              </a:extLst>
            </p:cNvPr>
            <p:cNvSpPr>
              <a:spLocks/>
            </p:cNvSpPr>
            <p:nvPr/>
          </p:nvSpPr>
          <p:spPr bwMode="auto">
            <a:xfrm>
              <a:off x="1588" y="3864"/>
              <a:ext cx="114" cy="12"/>
            </a:xfrm>
            <a:custGeom>
              <a:avLst/>
              <a:gdLst>
                <a:gd name="T0" fmla="*/ 45 w 48"/>
                <a:gd name="T1" fmla="*/ 5 h 5"/>
                <a:gd name="T2" fmla="*/ 2 w 48"/>
                <a:gd name="T3" fmla="*/ 5 h 5"/>
                <a:gd name="T4" fmla="*/ 0 w 48"/>
                <a:gd name="T5" fmla="*/ 2 h 5"/>
                <a:gd name="T6" fmla="*/ 2 w 48"/>
                <a:gd name="T7" fmla="*/ 0 h 5"/>
                <a:gd name="T8" fmla="*/ 45 w 48"/>
                <a:gd name="T9" fmla="*/ 0 h 5"/>
                <a:gd name="T10" fmla="*/ 48 w 48"/>
                <a:gd name="T11" fmla="*/ 2 h 5"/>
                <a:gd name="T12" fmla="*/ 45 w 4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8" h="5">
                  <a:moveTo>
                    <a:pt x="45" y="5"/>
                  </a:moveTo>
                  <a:cubicBezTo>
                    <a:pt x="2" y="5"/>
                    <a:pt x="2" y="5"/>
                    <a:pt x="2" y="5"/>
                  </a:cubicBezTo>
                  <a:cubicBezTo>
                    <a:pt x="1" y="5"/>
                    <a:pt x="0" y="4"/>
                    <a:pt x="0" y="2"/>
                  </a:cubicBezTo>
                  <a:cubicBezTo>
                    <a:pt x="0" y="1"/>
                    <a:pt x="1" y="0"/>
                    <a:pt x="2" y="0"/>
                  </a:cubicBezTo>
                  <a:cubicBezTo>
                    <a:pt x="45" y="0"/>
                    <a:pt x="45" y="0"/>
                    <a:pt x="45" y="0"/>
                  </a:cubicBezTo>
                  <a:cubicBezTo>
                    <a:pt x="47" y="0"/>
                    <a:pt x="48" y="1"/>
                    <a:pt x="48" y="2"/>
                  </a:cubicBezTo>
                  <a:cubicBezTo>
                    <a:pt x="48" y="4"/>
                    <a:pt x="47"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58" name="Freeform 107">
              <a:extLst>
                <a:ext uri="{FF2B5EF4-FFF2-40B4-BE49-F238E27FC236}">
                  <a16:creationId xmlns:a16="http://schemas.microsoft.com/office/drawing/2014/main" id="{DE80EDBF-73B8-45D3-A68B-75811373FEBD}"/>
                </a:ext>
              </a:extLst>
            </p:cNvPr>
            <p:cNvSpPr>
              <a:spLocks/>
            </p:cNvSpPr>
            <p:nvPr/>
          </p:nvSpPr>
          <p:spPr bwMode="auto">
            <a:xfrm>
              <a:off x="1588" y="3888"/>
              <a:ext cx="114" cy="12"/>
            </a:xfrm>
            <a:custGeom>
              <a:avLst/>
              <a:gdLst>
                <a:gd name="T0" fmla="*/ 45 w 48"/>
                <a:gd name="T1" fmla="*/ 5 h 5"/>
                <a:gd name="T2" fmla="*/ 2 w 48"/>
                <a:gd name="T3" fmla="*/ 5 h 5"/>
                <a:gd name="T4" fmla="*/ 0 w 48"/>
                <a:gd name="T5" fmla="*/ 2 h 5"/>
                <a:gd name="T6" fmla="*/ 2 w 48"/>
                <a:gd name="T7" fmla="*/ 0 h 5"/>
                <a:gd name="T8" fmla="*/ 45 w 48"/>
                <a:gd name="T9" fmla="*/ 0 h 5"/>
                <a:gd name="T10" fmla="*/ 48 w 48"/>
                <a:gd name="T11" fmla="*/ 2 h 5"/>
                <a:gd name="T12" fmla="*/ 45 w 4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8" h="5">
                  <a:moveTo>
                    <a:pt x="45" y="5"/>
                  </a:moveTo>
                  <a:cubicBezTo>
                    <a:pt x="2" y="5"/>
                    <a:pt x="2" y="5"/>
                    <a:pt x="2" y="5"/>
                  </a:cubicBezTo>
                  <a:cubicBezTo>
                    <a:pt x="1" y="5"/>
                    <a:pt x="0" y="4"/>
                    <a:pt x="0" y="2"/>
                  </a:cubicBezTo>
                  <a:cubicBezTo>
                    <a:pt x="0" y="1"/>
                    <a:pt x="1" y="0"/>
                    <a:pt x="2" y="0"/>
                  </a:cubicBezTo>
                  <a:cubicBezTo>
                    <a:pt x="45" y="0"/>
                    <a:pt x="45" y="0"/>
                    <a:pt x="45" y="0"/>
                  </a:cubicBezTo>
                  <a:cubicBezTo>
                    <a:pt x="47" y="0"/>
                    <a:pt x="48" y="1"/>
                    <a:pt x="48" y="2"/>
                  </a:cubicBezTo>
                  <a:cubicBezTo>
                    <a:pt x="48" y="4"/>
                    <a:pt x="47"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59" name="Freeform 108">
              <a:extLst>
                <a:ext uri="{FF2B5EF4-FFF2-40B4-BE49-F238E27FC236}">
                  <a16:creationId xmlns:a16="http://schemas.microsoft.com/office/drawing/2014/main" id="{EC356CC5-87A6-49CF-ACED-23EB96B397AC}"/>
                </a:ext>
              </a:extLst>
            </p:cNvPr>
            <p:cNvSpPr>
              <a:spLocks/>
            </p:cNvSpPr>
            <p:nvPr/>
          </p:nvSpPr>
          <p:spPr bwMode="auto">
            <a:xfrm>
              <a:off x="1588" y="3911"/>
              <a:ext cx="114" cy="12"/>
            </a:xfrm>
            <a:custGeom>
              <a:avLst/>
              <a:gdLst>
                <a:gd name="T0" fmla="*/ 45 w 48"/>
                <a:gd name="T1" fmla="*/ 5 h 5"/>
                <a:gd name="T2" fmla="*/ 2 w 48"/>
                <a:gd name="T3" fmla="*/ 5 h 5"/>
                <a:gd name="T4" fmla="*/ 0 w 48"/>
                <a:gd name="T5" fmla="*/ 2 h 5"/>
                <a:gd name="T6" fmla="*/ 2 w 48"/>
                <a:gd name="T7" fmla="*/ 0 h 5"/>
                <a:gd name="T8" fmla="*/ 45 w 48"/>
                <a:gd name="T9" fmla="*/ 0 h 5"/>
                <a:gd name="T10" fmla="*/ 48 w 48"/>
                <a:gd name="T11" fmla="*/ 2 h 5"/>
                <a:gd name="T12" fmla="*/ 45 w 4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8" h="5">
                  <a:moveTo>
                    <a:pt x="45" y="5"/>
                  </a:moveTo>
                  <a:cubicBezTo>
                    <a:pt x="2" y="5"/>
                    <a:pt x="2" y="5"/>
                    <a:pt x="2" y="5"/>
                  </a:cubicBezTo>
                  <a:cubicBezTo>
                    <a:pt x="1" y="5"/>
                    <a:pt x="0" y="4"/>
                    <a:pt x="0" y="2"/>
                  </a:cubicBezTo>
                  <a:cubicBezTo>
                    <a:pt x="0" y="1"/>
                    <a:pt x="1" y="0"/>
                    <a:pt x="2" y="0"/>
                  </a:cubicBezTo>
                  <a:cubicBezTo>
                    <a:pt x="45" y="0"/>
                    <a:pt x="45" y="0"/>
                    <a:pt x="45" y="0"/>
                  </a:cubicBezTo>
                  <a:cubicBezTo>
                    <a:pt x="47" y="0"/>
                    <a:pt x="48" y="1"/>
                    <a:pt x="48" y="2"/>
                  </a:cubicBezTo>
                  <a:cubicBezTo>
                    <a:pt x="48" y="4"/>
                    <a:pt x="47"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60" name="Freeform 109">
              <a:extLst>
                <a:ext uri="{FF2B5EF4-FFF2-40B4-BE49-F238E27FC236}">
                  <a16:creationId xmlns:a16="http://schemas.microsoft.com/office/drawing/2014/main" id="{4A423D16-E558-4E94-B24B-AD9ACA1D2453}"/>
                </a:ext>
              </a:extLst>
            </p:cNvPr>
            <p:cNvSpPr>
              <a:spLocks/>
            </p:cNvSpPr>
            <p:nvPr/>
          </p:nvSpPr>
          <p:spPr bwMode="auto">
            <a:xfrm>
              <a:off x="1720" y="3864"/>
              <a:ext cx="112" cy="12"/>
            </a:xfrm>
            <a:custGeom>
              <a:avLst/>
              <a:gdLst>
                <a:gd name="T0" fmla="*/ 45 w 47"/>
                <a:gd name="T1" fmla="*/ 5 h 5"/>
                <a:gd name="T2" fmla="*/ 2 w 47"/>
                <a:gd name="T3" fmla="*/ 5 h 5"/>
                <a:gd name="T4" fmla="*/ 0 w 47"/>
                <a:gd name="T5" fmla="*/ 2 h 5"/>
                <a:gd name="T6" fmla="*/ 2 w 47"/>
                <a:gd name="T7" fmla="*/ 0 h 5"/>
                <a:gd name="T8" fmla="*/ 45 w 47"/>
                <a:gd name="T9" fmla="*/ 0 h 5"/>
                <a:gd name="T10" fmla="*/ 47 w 47"/>
                <a:gd name="T11" fmla="*/ 2 h 5"/>
                <a:gd name="T12" fmla="*/ 45 w 4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7" h="5">
                  <a:moveTo>
                    <a:pt x="45" y="5"/>
                  </a:moveTo>
                  <a:cubicBezTo>
                    <a:pt x="2" y="5"/>
                    <a:pt x="2" y="5"/>
                    <a:pt x="2" y="5"/>
                  </a:cubicBezTo>
                  <a:cubicBezTo>
                    <a:pt x="1" y="5"/>
                    <a:pt x="0" y="4"/>
                    <a:pt x="0" y="2"/>
                  </a:cubicBezTo>
                  <a:cubicBezTo>
                    <a:pt x="0" y="1"/>
                    <a:pt x="1" y="0"/>
                    <a:pt x="2" y="0"/>
                  </a:cubicBezTo>
                  <a:cubicBezTo>
                    <a:pt x="45" y="0"/>
                    <a:pt x="45" y="0"/>
                    <a:pt x="45" y="0"/>
                  </a:cubicBezTo>
                  <a:cubicBezTo>
                    <a:pt x="46" y="0"/>
                    <a:pt x="47" y="1"/>
                    <a:pt x="47" y="2"/>
                  </a:cubicBezTo>
                  <a:cubicBezTo>
                    <a:pt x="47" y="4"/>
                    <a:pt x="46"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61" name="Freeform 110">
              <a:extLst>
                <a:ext uri="{FF2B5EF4-FFF2-40B4-BE49-F238E27FC236}">
                  <a16:creationId xmlns:a16="http://schemas.microsoft.com/office/drawing/2014/main" id="{80E705CA-D6FB-4CDA-9A9E-C2460E59EE7B}"/>
                </a:ext>
              </a:extLst>
            </p:cNvPr>
            <p:cNvSpPr>
              <a:spLocks/>
            </p:cNvSpPr>
            <p:nvPr/>
          </p:nvSpPr>
          <p:spPr bwMode="auto">
            <a:xfrm>
              <a:off x="1720" y="3888"/>
              <a:ext cx="112" cy="12"/>
            </a:xfrm>
            <a:custGeom>
              <a:avLst/>
              <a:gdLst>
                <a:gd name="T0" fmla="*/ 45 w 47"/>
                <a:gd name="T1" fmla="*/ 5 h 5"/>
                <a:gd name="T2" fmla="*/ 2 w 47"/>
                <a:gd name="T3" fmla="*/ 5 h 5"/>
                <a:gd name="T4" fmla="*/ 0 w 47"/>
                <a:gd name="T5" fmla="*/ 2 h 5"/>
                <a:gd name="T6" fmla="*/ 2 w 47"/>
                <a:gd name="T7" fmla="*/ 0 h 5"/>
                <a:gd name="T8" fmla="*/ 45 w 47"/>
                <a:gd name="T9" fmla="*/ 0 h 5"/>
                <a:gd name="T10" fmla="*/ 47 w 47"/>
                <a:gd name="T11" fmla="*/ 2 h 5"/>
                <a:gd name="T12" fmla="*/ 45 w 4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7" h="5">
                  <a:moveTo>
                    <a:pt x="45" y="5"/>
                  </a:moveTo>
                  <a:cubicBezTo>
                    <a:pt x="2" y="5"/>
                    <a:pt x="2" y="5"/>
                    <a:pt x="2" y="5"/>
                  </a:cubicBezTo>
                  <a:cubicBezTo>
                    <a:pt x="1" y="5"/>
                    <a:pt x="0" y="4"/>
                    <a:pt x="0" y="2"/>
                  </a:cubicBezTo>
                  <a:cubicBezTo>
                    <a:pt x="0" y="1"/>
                    <a:pt x="1" y="0"/>
                    <a:pt x="2" y="0"/>
                  </a:cubicBezTo>
                  <a:cubicBezTo>
                    <a:pt x="45" y="0"/>
                    <a:pt x="45" y="0"/>
                    <a:pt x="45" y="0"/>
                  </a:cubicBezTo>
                  <a:cubicBezTo>
                    <a:pt x="46" y="0"/>
                    <a:pt x="47" y="1"/>
                    <a:pt x="47" y="2"/>
                  </a:cubicBezTo>
                  <a:cubicBezTo>
                    <a:pt x="47" y="4"/>
                    <a:pt x="46"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62" name="Freeform 111">
              <a:extLst>
                <a:ext uri="{FF2B5EF4-FFF2-40B4-BE49-F238E27FC236}">
                  <a16:creationId xmlns:a16="http://schemas.microsoft.com/office/drawing/2014/main" id="{A46114CE-934C-49DF-8539-AAC9720998CF}"/>
                </a:ext>
              </a:extLst>
            </p:cNvPr>
            <p:cNvSpPr>
              <a:spLocks/>
            </p:cNvSpPr>
            <p:nvPr/>
          </p:nvSpPr>
          <p:spPr bwMode="auto">
            <a:xfrm>
              <a:off x="1720" y="3911"/>
              <a:ext cx="112" cy="12"/>
            </a:xfrm>
            <a:custGeom>
              <a:avLst/>
              <a:gdLst>
                <a:gd name="T0" fmla="*/ 45 w 47"/>
                <a:gd name="T1" fmla="*/ 5 h 5"/>
                <a:gd name="T2" fmla="*/ 2 w 47"/>
                <a:gd name="T3" fmla="*/ 5 h 5"/>
                <a:gd name="T4" fmla="*/ 0 w 47"/>
                <a:gd name="T5" fmla="*/ 2 h 5"/>
                <a:gd name="T6" fmla="*/ 2 w 47"/>
                <a:gd name="T7" fmla="*/ 0 h 5"/>
                <a:gd name="T8" fmla="*/ 45 w 47"/>
                <a:gd name="T9" fmla="*/ 0 h 5"/>
                <a:gd name="T10" fmla="*/ 47 w 47"/>
                <a:gd name="T11" fmla="*/ 2 h 5"/>
                <a:gd name="T12" fmla="*/ 45 w 4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7" h="5">
                  <a:moveTo>
                    <a:pt x="45" y="5"/>
                  </a:moveTo>
                  <a:cubicBezTo>
                    <a:pt x="2" y="5"/>
                    <a:pt x="2" y="5"/>
                    <a:pt x="2" y="5"/>
                  </a:cubicBezTo>
                  <a:cubicBezTo>
                    <a:pt x="1" y="5"/>
                    <a:pt x="0" y="4"/>
                    <a:pt x="0" y="2"/>
                  </a:cubicBezTo>
                  <a:cubicBezTo>
                    <a:pt x="0" y="1"/>
                    <a:pt x="1" y="0"/>
                    <a:pt x="2" y="0"/>
                  </a:cubicBezTo>
                  <a:cubicBezTo>
                    <a:pt x="45" y="0"/>
                    <a:pt x="45" y="0"/>
                    <a:pt x="45" y="0"/>
                  </a:cubicBezTo>
                  <a:cubicBezTo>
                    <a:pt x="46" y="0"/>
                    <a:pt x="47" y="1"/>
                    <a:pt x="47" y="2"/>
                  </a:cubicBezTo>
                  <a:cubicBezTo>
                    <a:pt x="47" y="4"/>
                    <a:pt x="46"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sp>
          <p:nvSpPr>
            <p:cNvPr id="63" name="Freeform 112">
              <a:extLst>
                <a:ext uri="{FF2B5EF4-FFF2-40B4-BE49-F238E27FC236}">
                  <a16:creationId xmlns:a16="http://schemas.microsoft.com/office/drawing/2014/main" id="{771B2CC0-5A72-462F-AC00-F872C346AFF3}"/>
                </a:ext>
              </a:extLst>
            </p:cNvPr>
            <p:cNvSpPr>
              <a:spLocks noEditPoints="1"/>
            </p:cNvSpPr>
            <p:nvPr/>
          </p:nvSpPr>
          <p:spPr bwMode="auto">
            <a:xfrm>
              <a:off x="1546" y="3536"/>
              <a:ext cx="328" cy="461"/>
            </a:xfrm>
            <a:custGeom>
              <a:avLst/>
              <a:gdLst>
                <a:gd name="T0" fmla="*/ 130 w 139"/>
                <a:gd name="T1" fmla="*/ 195 h 195"/>
                <a:gd name="T2" fmla="*/ 9 w 139"/>
                <a:gd name="T3" fmla="*/ 195 h 195"/>
                <a:gd name="T4" fmla="*/ 0 w 139"/>
                <a:gd name="T5" fmla="*/ 186 h 195"/>
                <a:gd name="T6" fmla="*/ 0 w 139"/>
                <a:gd name="T7" fmla="*/ 9 h 195"/>
                <a:gd name="T8" fmla="*/ 9 w 139"/>
                <a:gd name="T9" fmla="*/ 0 h 195"/>
                <a:gd name="T10" fmla="*/ 130 w 139"/>
                <a:gd name="T11" fmla="*/ 0 h 195"/>
                <a:gd name="T12" fmla="*/ 139 w 139"/>
                <a:gd name="T13" fmla="*/ 9 h 195"/>
                <a:gd name="T14" fmla="*/ 139 w 139"/>
                <a:gd name="T15" fmla="*/ 186 h 195"/>
                <a:gd name="T16" fmla="*/ 130 w 139"/>
                <a:gd name="T17" fmla="*/ 195 h 195"/>
                <a:gd name="T18" fmla="*/ 11 w 139"/>
                <a:gd name="T19" fmla="*/ 184 h 195"/>
                <a:gd name="T20" fmla="*/ 128 w 139"/>
                <a:gd name="T21" fmla="*/ 184 h 195"/>
                <a:gd name="T22" fmla="*/ 128 w 139"/>
                <a:gd name="T23" fmla="*/ 11 h 195"/>
                <a:gd name="T24" fmla="*/ 11 w 139"/>
                <a:gd name="T25" fmla="*/ 11 h 195"/>
                <a:gd name="T26" fmla="*/ 11 w 139"/>
                <a:gd name="T2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95">
                  <a:moveTo>
                    <a:pt x="130" y="195"/>
                  </a:moveTo>
                  <a:cubicBezTo>
                    <a:pt x="9" y="195"/>
                    <a:pt x="9" y="195"/>
                    <a:pt x="9" y="195"/>
                  </a:cubicBezTo>
                  <a:cubicBezTo>
                    <a:pt x="4" y="195"/>
                    <a:pt x="0" y="191"/>
                    <a:pt x="0" y="186"/>
                  </a:cubicBezTo>
                  <a:cubicBezTo>
                    <a:pt x="0" y="9"/>
                    <a:pt x="0" y="9"/>
                    <a:pt x="0" y="9"/>
                  </a:cubicBezTo>
                  <a:cubicBezTo>
                    <a:pt x="0" y="4"/>
                    <a:pt x="4" y="0"/>
                    <a:pt x="9" y="0"/>
                  </a:cubicBezTo>
                  <a:cubicBezTo>
                    <a:pt x="130" y="0"/>
                    <a:pt x="130" y="0"/>
                    <a:pt x="130" y="0"/>
                  </a:cubicBezTo>
                  <a:cubicBezTo>
                    <a:pt x="135" y="0"/>
                    <a:pt x="139" y="4"/>
                    <a:pt x="139" y="9"/>
                  </a:cubicBezTo>
                  <a:cubicBezTo>
                    <a:pt x="139" y="186"/>
                    <a:pt x="139" y="186"/>
                    <a:pt x="139" y="186"/>
                  </a:cubicBezTo>
                  <a:cubicBezTo>
                    <a:pt x="139" y="191"/>
                    <a:pt x="135" y="195"/>
                    <a:pt x="130" y="195"/>
                  </a:cubicBezTo>
                  <a:close/>
                  <a:moveTo>
                    <a:pt x="11" y="184"/>
                  </a:moveTo>
                  <a:cubicBezTo>
                    <a:pt x="128" y="184"/>
                    <a:pt x="128" y="184"/>
                    <a:pt x="128" y="184"/>
                  </a:cubicBezTo>
                  <a:cubicBezTo>
                    <a:pt x="128" y="11"/>
                    <a:pt x="128" y="11"/>
                    <a:pt x="128" y="11"/>
                  </a:cubicBezTo>
                  <a:cubicBezTo>
                    <a:pt x="11" y="11"/>
                    <a:pt x="11" y="11"/>
                    <a:pt x="11" y="11"/>
                  </a:cubicBezTo>
                  <a:cubicBezTo>
                    <a:pt x="11" y="184"/>
                    <a:pt x="11" y="184"/>
                    <a:pt x="11"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prstClr val="black"/>
                </a:solidFill>
                <a:effectLst/>
                <a:uLnTx/>
                <a:uFillTx/>
                <a:latin typeface="Georgia"/>
              </a:endParaRPr>
            </a:p>
          </p:txBody>
        </p:sp>
      </p:grpSp>
      <p:sp>
        <p:nvSpPr>
          <p:cNvPr id="64" name="Freeform 91">
            <a:extLst>
              <a:ext uri="{FF2B5EF4-FFF2-40B4-BE49-F238E27FC236}">
                <a16:creationId xmlns:a16="http://schemas.microsoft.com/office/drawing/2014/main" id="{61E0C9DB-2A09-4452-915C-165C21CFDE53}"/>
              </a:ext>
            </a:extLst>
          </p:cNvPr>
          <p:cNvSpPr>
            <a:spLocks noEditPoints="1"/>
          </p:cNvSpPr>
          <p:nvPr/>
        </p:nvSpPr>
        <p:spPr bwMode="auto">
          <a:xfrm>
            <a:off x="975151" y="4830381"/>
            <a:ext cx="1181755" cy="856321"/>
          </a:xfrm>
          <a:custGeom>
            <a:avLst/>
            <a:gdLst>
              <a:gd name="T0" fmla="*/ 199 w 395"/>
              <a:gd name="T1" fmla="*/ 71 h 272"/>
              <a:gd name="T2" fmla="*/ 54 w 395"/>
              <a:gd name="T3" fmla="*/ 175 h 272"/>
              <a:gd name="T4" fmla="*/ 37 w 395"/>
              <a:gd name="T5" fmla="*/ 183 h 272"/>
              <a:gd name="T6" fmla="*/ 17 w 395"/>
              <a:gd name="T7" fmla="*/ 234 h 272"/>
              <a:gd name="T8" fmla="*/ 17 w 395"/>
              <a:gd name="T9" fmla="*/ 131 h 272"/>
              <a:gd name="T10" fmla="*/ 0 w 395"/>
              <a:gd name="T11" fmla="*/ 164 h 272"/>
              <a:gd name="T12" fmla="*/ 47 w 395"/>
              <a:gd name="T13" fmla="*/ 104 h 272"/>
              <a:gd name="T14" fmla="*/ 54 w 395"/>
              <a:gd name="T15" fmla="*/ 175 h 272"/>
              <a:gd name="T16" fmla="*/ 54 w 395"/>
              <a:gd name="T17" fmla="*/ 91 h 272"/>
              <a:gd name="T18" fmla="*/ 12 w 395"/>
              <a:gd name="T19" fmla="*/ 78 h 272"/>
              <a:gd name="T20" fmla="*/ 341 w 395"/>
              <a:gd name="T21" fmla="*/ 234 h 272"/>
              <a:gd name="T22" fmla="*/ 361 w 395"/>
              <a:gd name="T23" fmla="*/ 183 h 272"/>
              <a:gd name="T24" fmla="*/ 378 w 395"/>
              <a:gd name="T25" fmla="*/ 173 h 272"/>
              <a:gd name="T26" fmla="*/ 380 w 395"/>
              <a:gd name="T27" fmla="*/ 131 h 272"/>
              <a:gd name="T28" fmla="*/ 395 w 395"/>
              <a:gd name="T29" fmla="*/ 118 h 272"/>
              <a:gd name="T30" fmla="*/ 348 w 395"/>
              <a:gd name="T31" fmla="*/ 110 h 272"/>
              <a:gd name="T32" fmla="*/ 359 w 395"/>
              <a:gd name="T33" fmla="*/ 54 h 272"/>
              <a:gd name="T34" fmla="*/ 343 w 395"/>
              <a:gd name="T35" fmla="*/ 94 h 272"/>
              <a:gd name="T36" fmla="*/ 359 w 395"/>
              <a:gd name="T37" fmla="*/ 54 h 272"/>
              <a:gd name="T38" fmla="*/ 285 w 395"/>
              <a:gd name="T39" fmla="*/ 256 h 272"/>
              <a:gd name="T40" fmla="*/ 289 w 395"/>
              <a:gd name="T41" fmla="*/ 256 h 272"/>
              <a:gd name="T42" fmla="*/ 310 w 395"/>
              <a:gd name="T43" fmla="*/ 169 h 272"/>
              <a:gd name="T44" fmla="*/ 313 w 395"/>
              <a:gd name="T45" fmla="*/ 169 h 272"/>
              <a:gd name="T46" fmla="*/ 313 w 395"/>
              <a:gd name="T47" fmla="*/ 94 h 272"/>
              <a:gd name="T48" fmla="*/ 273 w 395"/>
              <a:gd name="T49" fmla="*/ 182 h 272"/>
              <a:gd name="T50" fmla="*/ 230 w 395"/>
              <a:gd name="T51" fmla="*/ 116 h 272"/>
              <a:gd name="T52" fmla="*/ 227 w 395"/>
              <a:gd name="T53" fmla="*/ 179 h 272"/>
              <a:gd name="T54" fmla="*/ 202 w 395"/>
              <a:gd name="T55" fmla="*/ 195 h 272"/>
              <a:gd name="T56" fmla="*/ 171 w 395"/>
              <a:gd name="T57" fmla="*/ 272 h 272"/>
              <a:gd name="T58" fmla="*/ 171 w 395"/>
              <a:gd name="T59" fmla="*/ 116 h 272"/>
              <a:gd name="T60" fmla="*/ 145 w 395"/>
              <a:gd name="T61" fmla="*/ 166 h 272"/>
              <a:gd name="T62" fmla="*/ 231 w 395"/>
              <a:gd name="T63" fmla="*/ 75 h 272"/>
              <a:gd name="T64" fmla="*/ 230 w 395"/>
              <a:gd name="T65" fmla="*/ 166 h 272"/>
              <a:gd name="T66" fmla="*/ 112 w 395"/>
              <a:gd name="T67" fmla="*/ 256 h 272"/>
              <a:gd name="T68" fmla="*/ 107 w 395"/>
              <a:gd name="T69" fmla="*/ 256 h 272"/>
              <a:gd name="T70" fmla="*/ 86 w 395"/>
              <a:gd name="T71" fmla="*/ 169 h 272"/>
              <a:gd name="T72" fmla="*/ 83 w 395"/>
              <a:gd name="T73" fmla="*/ 169 h 272"/>
              <a:gd name="T74" fmla="*/ 83 w 395"/>
              <a:gd name="T75" fmla="*/ 94 h 272"/>
              <a:gd name="T76" fmla="*/ 123 w 395"/>
              <a:gd name="T77" fmla="*/ 182 h 272"/>
              <a:gd name="T78" fmla="*/ 139 w 395"/>
              <a:gd name="T79" fmla="*/ 61 h 272"/>
              <a:gd name="T80" fmla="*/ 110 w 395"/>
              <a:gd name="T81" fmla="*/ 90 h 272"/>
              <a:gd name="T82" fmla="*/ 287 w 395"/>
              <a:gd name="T83" fmla="*/ 32 h 272"/>
              <a:gd name="T84" fmla="*/ 266 w 395"/>
              <a:gd name="T85" fmla="*/ 82 h 272"/>
              <a:gd name="T86" fmla="*/ 287 w 395"/>
              <a:gd name="T87" fmla="*/ 3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5" h="272">
                <a:moveTo>
                  <a:pt x="199" y="0"/>
                </a:moveTo>
                <a:cubicBezTo>
                  <a:pt x="219" y="0"/>
                  <a:pt x="235" y="16"/>
                  <a:pt x="235" y="35"/>
                </a:cubicBezTo>
                <a:cubicBezTo>
                  <a:pt x="235" y="55"/>
                  <a:pt x="219" y="71"/>
                  <a:pt x="199" y="71"/>
                </a:cubicBezTo>
                <a:cubicBezTo>
                  <a:pt x="180" y="71"/>
                  <a:pt x="164" y="55"/>
                  <a:pt x="164" y="35"/>
                </a:cubicBezTo>
                <a:cubicBezTo>
                  <a:pt x="164" y="16"/>
                  <a:pt x="180" y="0"/>
                  <a:pt x="199" y="0"/>
                </a:cubicBezTo>
                <a:close/>
                <a:moveTo>
                  <a:pt x="54" y="175"/>
                </a:moveTo>
                <a:cubicBezTo>
                  <a:pt x="54" y="234"/>
                  <a:pt x="54" y="234"/>
                  <a:pt x="54" y="234"/>
                </a:cubicBezTo>
                <a:cubicBezTo>
                  <a:pt x="37" y="234"/>
                  <a:pt x="37" y="234"/>
                  <a:pt x="37" y="234"/>
                </a:cubicBezTo>
                <a:cubicBezTo>
                  <a:pt x="37" y="183"/>
                  <a:pt x="37" y="183"/>
                  <a:pt x="37" y="183"/>
                </a:cubicBezTo>
                <a:cubicBezTo>
                  <a:pt x="34" y="183"/>
                  <a:pt x="34" y="183"/>
                  <a:pt x="34" y="183"/>
                </a:cubicBezTo>
                <a:cubicBezTo>
                  <a:pt x="34" y="234"/>
                  <a:pt x="34" y="234"/>
                  <a:pt x="34" y="234"/>
                </a:cubicBezTo>
                <a:cubicBezTo>
                  <a:pt x="17" y="234"/>
                  <a:pt x="17" y="234"/>
                  <a:pt x="17" y="234"/>
                </a:cubicBezTo>
                <a:cubicBezTo>
                  <a:pt x="17" y="173"/>
                  <a:pt x="17" y="173"/>
                  <a:pt x="17" y="173"/>
                </a:cubicBezTo>
                <a:cubicBezTo>
                  <a:pt x="17" y="164"/>
                  <a:pt x="17" y="164"/>
                  <a:pt x="17" y="164"/>
                </a:cubicBezTo>
                <a:cubicBezTo>
                  <a:pt x="17" y="131"/>
                  <a:pt x="17" y="131"/>
                  <a:pt x="17" y="131"/>
                </a:cubicBezTo>
                <a:cubicBezTo>
                  <a:pt x="14" y="131"/>
                  <a:pt x="14" y="131"/>
                  <a:pt x="14" y="131"/>
                </a:cubicBezTo>
                <a:cubicBezTo>
                  <a:pt x="14" y="164"/>
                  <a:pt x="14" y="164"/>
                  <a:pt x="14" y="164"/>
                </a:cubicBezTo>
                <a:cubicBezTo>
                  <a:pt x="0" y="164"/>
                  <a:pt x="0" y="164"/>
                  <a:pt x="0" y="164"/>
                </a:cubicBezTo>
                <a:cubicBezTo>
                  <a:pt x="0" y="118"/>
                  <a:pt x="0" y="118"/>
                  <a:pt x="0" y="118"/>
                </a:cubicBezTo>
                <a:cubicBezTo>
                  <a:pt x="0" y="110"/>
                  <a:pt x="6" y="104"/>
                  <a:pt x="14" y="104"/>
                </a:cubicBezTo>
                <a:cubicBezTo>
                  <a:pt x="47" y="104"/>
                  <a:pt x="47" y="104"/>
                  <a:pt x="47" y="104"/>
                </a:cubicBezTo>
                <a:cubicBezTo>
                  <a:pt x="47" y="106"/>
                  <a:pt x="47" y="108"/>
                  <a:pt x="47" y="110"/>
                </a:cubicBezTo>
                <a:cubicBezTo>
                  <a:pt x="47" y="175"/>
                  <a:pt x="47" y="175"/>
                  <a:pt x="47" y="175"/>
                </a:cubicBezTo>
                <a:cubicBezTo>
                  <a:pt x="54" y="175"/>
                  <a:pt x="54" y="175"/>
                  <a:pt x="54" y="175"/>
                </a:cubicBezTo>
                <a:close/>
                <a:moveTo>
                  <a:pt x="36" y="54"/>
                </a:moveTo>
                <a:cubicBezTo>
                  <a:pt x="49" y="54"/>
                  <a:pt x="59" y="65"/>
                  <a:pt x="59" y="78"/>
                </a:cubicBezTo>
                <a:cubicBezTo>
                  <a:pt x="59" y="83"/>
                  <a:pt x="57" y="88"/>
                  <a:pt x="54" y="91"/>
                </a:cubicBezTo>
                <a:cubicBezTo>
                  <a:pt x="54" y="92"/>
                  <a:pt x="53" y="93"/>
                  <a:pt x="52" y="94"/>
                </a:cubicBezTo>
                <a:cubicBezTo>
                  <a:pt x="48" y="98"/>
                  <a:pt x="42" y="101"/>
                  <a:pt x="36" y="101"/>
                </a:cubicBezTo>
                <a:cubicBezTo>
                  <a:pt x="23" y="101"/>
                  <a:pt x="12" y="90"/>
                  <a:pt x="12" y="78"/>
                </a:cubicBezTo>
                <a:cubicBezTo>
                  <a:pt x="12" y="65"/>
                  <a:pt x="23" y="54"/>
                  <a:pt x="36" y="54"/>
                </a:cubicBezTo>
                <a:close/>
                <a:moveTo>
                  <a:pt x="341" y="175"/>
                </a:moveTo>
                <a:cubicBezTo>
                  <a:pt x="341" y="234"/>
                  <a:pt x="341" y="234"/>
                  <a:pt x="341" y="234"/>
                </a:cubicBezTo>
                <a:cubicBezTo>
                  <a:pt x="357" y="234"/>
                  <a:pt x="357" y="234"/>
                  <a:pt x="357" y="234"/>
                </a:cubicBezTo>
                <a:cubicBezTo>
                  <a:pt x="357" y="183"/>
                  <a:pt x="357" y="183"/>
                  <a:pt x="357" y="183"/>
                </a:cubicBezTo>
                <a:cubicBezTo>
                  <a:pt x="361" y="183"/>
                  <a:pt x="361" y="183"/>
                  <a:pt x="361" y="183"/>
                </a:cubicBezTo>
                <a:cubicBezTo>
                  <a:pt x="361" y="234"/>
                  <a:pt x="361" y="234"/>
                  <a:pt x="361" y="234"/>
                </a:cubicBezTo>
                <a:cubicBezTo>
                  <a:pt x="378" y="234"/>
                  <a:pt x="378" y="234"/>
                  <a:pt x="378" y="234"/>
                </a:cubicBezTo>
                <a:cubicBezTo>
                  <a:pt x="378" y="173"/>
                  <a:pt x="378" y="173"/>
                  <a:pt x="378" y="173"/>
                </a:cubicBezTo>
                <a:cubicBezTo>
                  <a:pt x="378" y="164"/>
                  <a:pt x="378" y="164"/>
                  <a:pt x="378" y="164"/>
                </a:cubicBezTo>
                <a:cubicBezTo>
                  <a:pt x="378" y="131"/>
                  <a:pt x="378" y="131"/>
                  <a:pt x="378" y="131"/>
                </a:cubicBezTo>
                <a:cubicBezTo>
                  <a:pt x="380" y="131"/>
                  <a:pt x="380" y="131"/>
                  <a:pt x="380" y="131"/>
                </a:cubicBezTo>
                <a:cubicBezTo>
                  <a:pt x="380" y="164"/>
                  <a:pt x="380" y="164"/>
                  <a:pt x="380" y="164"/>
                </a:cubicBezTo>
                <a:cubicBezTo>
                  <a:pt x="395" y="164"/>
                  <a:pt x="395" y="164"/>
                  <a:pt x="395" y="164"/>
                </a:cubicBezTo>
                <a:cubicBezTo>
                  <a:pt x="395" y="118"/>
                  <a:pt x="395" y="118"/>
                  <a:pt x="395" y="118"/>
                </a:cubicBezTo>
                <a:cubicBezTo>
                  <a:pt x="395" y="110"/>
                  <a:pt x="389" y="104"/>
                  <a:pt x="381" y="104"/>
                </a:cubicBezTo>
                <a:cubicBezTo>
                  <a:pt x="347" y="104"/>
                  <a:pt x="347" y="104"/>
                  <a:pt x="347" y="104"/>
                </a:cubicBezTo>
                <a:cubicBezTo>
                  <a:pt x="348" y="106"/>
                  <a:pt x="348" y="108"/>
                  <a:pt x="348" y="110"/>
                </a:cubicBezTo>
                <a:cubicBezTo>
                  <a:pt x="348" y="175"/>
                  <a:pt x="348" y="175"/>
                  <a:pt x="348" y="175"/>
                </a:cubicBezTo>
                <a:cubicBezTo>
                  <a:pt x="341" y="175"/>
                  <a:pt x="341" y="175"/>
                  <a:pt x="341" y="175"/>
                </a:cubicBezTo>
                <a:close/>
                <a:moveTo>
                  <a:pt x="359" y="54"/>
                </a:moveTo>
                <a:cubicBezTo>
                  <a:pt x="346" y="54"/>
                  <a:pt x="336" y="65"/>
                  <a:pt x="336" y="78"/>
                </a:cubicBezTo>
                <a:cubicBezTo>
                  <a:pt x="336" y="83"/>
                  <a:pt x="337" y="88"/>
                  <a:pt x="340" y="91"/>
                </a:cubicBezTo>
                <a:cubicBezTo>
                  <a:pt x="341" y="92"/>
                  <a:pt x="342" y="93"/>
                  <a:pt x="343" y="94"/>
                </a:cubicBezTo>
                <a:cubicBezTo>
                  <a:pt x="347" y="98"/>
                  <a:pt x="353" y="101"/>
                  <a:pt x="359" y="101"/>
                </a:cubicBezTo>
                <a:cubicBezTo>
                  <a:pt x="372" y="101"/>
                  <a:pt x="383" y="90"/>
                  <a:pt x="383" y="78"/>
                </a:cubicBezTo>
                <a:cubicBezTo>
                  <a:pt x="383" y="65"/>
                  <a:pt x="372" y="54"/>
                  <a:pt x="359" y="54"/>
                </a:cubicBezTo>
                <a:close/>
                <a:moveTo>
                  <a:pt x="264" y="182"/>
                </a:moveTo>
                <a:cubicBezTo>
                  <a:pt x="264" y="256"/>
                  <a:pt x="264" y="256"/>
                  <a:pt x="264" y="256"/>
                </a:cubicBezTo>
                <a:cubicBezTo>
                  <a:pt x="285" y="256"/>
                  <a:pt x="285" y="256"/>
                  <a:pt x="285" y="256"/>
                </a:cubicBezTo>
                <a:cubicBezTo>
                  <a:pt x="285" y="193"/>
                  <a:pt x="285" y="193"/>
                  <a:pt x="285" y="193"/>
                </a:cubicBezTo>
                <a:cubicBezTo>
                  <a:pt x="289" y="193"/>
                  <a:pt x="289" y="193"/>
                  <a:pt x="289" y="193"/>
                </a:cubicBezTo>
                <a:cubicBezTo>
                  <a:pt x="289" y="256"/>
                  <a:pt x="289" y="256"/>
                  <a:pt x="289" y="256"/>
                </a:cubicBezTo>
                <a:cubicBezTo>
                  <a:pt x="310" y="256"/>
                  <a:pt x="310" y="256"/>
                  <a:pt x="310" y="256"/>
                </a:cubicBezTo>
                <a:cubicBezTo>
                  <a:pt x="310" y="180"/>
                  <a:pt x="310" y="180"/>
                  <a:pt x="310" y="180"/>
                </a:cubicBezTo>
                <a:cubicBezTo>
                  <a:pt x="310" y="169"/>
                  <a:pt x="310" y="169"/>
                  <a:pt x="310" y="169"/>
                </a:cubicBezTo>
                <a:cubicBezTo>
                  <a:pt x="310" y="127"/>
                  <a:pt x="310" y="127"/>
                  <a:pt x="310" y="127"/>
                </a:cubicBezTo>
                <a:cubicBezTo>
                  <a:pt x="313" y="127"/>
                  <a:pt x="313" y="127"/>
                  <a:pt x="313" y="127"/>
                </a:cubicBezTo>
                <a:cubicBezTo>
                  <a:pt x="313" y="169"/>
                  <a:pt x="313" y="169"/>
                  <a:pt x="313" y="169"/>
                </a:cubicBezTo>
                <a:cubicBezTo>
                  <a:pt x="332" y="169"/>
                  <a:pt x="332" y="169"/>
                  <a:pt x="332" y="169"/>
                </a:cubicBezTo>
                <a:cubicBezTo>
                  <a:pt x="332" y="112"/>
                  <a:pt x="332" y="112"/>
                  <a:pt x="332" y="112"/>
                </a:cubicBezTo>
                <a:cubicBezTo>
                  <a:pt x="332" y="102"/>
                  <a:pt x="323" y="94"/>
                  <a:pt x="313" y="94"/>
                </a:cubicBezTo>
                <a:cubicBezTo>
                  <a:pt x="272" y="94"/>
                  <a:pt x="272" y="94"/>
                  <a:pt x="272" y="94"/>
                </a:cubicBezTo>
                <a:cubicBezTo>
                  <a:pt x="273" y="96"/>
                  <a:pt x="273" y="99"/>
                  <a:pt x="273" y="102"/>
                </a:cubicBezTo>
                <a:cubicBezTo>
                  <a:pt x="273" y="182"/>
                  <a:pt x="273" y="182"/>
                  <a:pt x="273" y="182"/>
                </a:cubicBezTo>
                <a:cubicBezTo>
                  <a:pt x="264" y="182"/>
                  <a:pt x="264" y="182"/>
                  <a:pt x="264" y="182"/>
                </a:cubicBezTo>
                <a:close/>
                <a:moveTo>
                  <a:pt x="230" y="166"/>
                </a:moveTo>
                <a:cubicBezTo>
                  <a:pt x="230" y="116"/>
                  <a:pt x="230" y="116"/>
                  <a:pt x="230" y="116"/>
                </a:cubicBezTo>
                <a:cubicBezTo>
                  <a:pt x="227" y="116"/>
                  <a:pt x="227" y="116"/>
                  <a:pt x="227" y="116"/>
                </a:cubicBezTo>
                <a:cubicBezTo>
                  <a:pt x="227" y="166"/>
                  <a:pt x="227" y="166"/>
                  <a:pt x="227" y="166"/>
                </a:cubicBezTo>
                <a:cubicBezTo>
                  <a:pt x="227" y="179"/>
                  <a:pt x="227" y="179"/>
                  <a:pt x="227" y="179"/>
                </a:cubicBezTo>
                <a:cubicBezTo>
                  <a:pt x="227" y="272"/>
                  <a:pt x="227" y="272"/>
                  <a:pt x="227" y="272"/>
                </a:cubicBezTo>
                <a:cubicBezTo>
                  <a:pt x="202" y="272"/>
                  <a:pt x="202" y="272"/>
                  <a:pt x="202" y="272"/>
                </a:cubicBezTo>
                <a:cubicBezTo>
                  <a:pt x="202" y="195"/>
                  <a:pt x="202" y="195"/>
                  <a:pt x="202" y="195"/>
                </a:cubicBezTo>
                <a:cubicBezTo>
                  <a:pt x="197" y="195"/>
                  <a:pt x="197" y="195"/>
                  <a:pt x="197" y="195"/>
                </a:cubicBezTo>
                <a:cubicBezTo>
                  <a:pt x="197" y="272"/>
                  <a:pt x="197" y="272"/>
                  <a:pt x="197" y="272"/>
                </a:cubicBezTo>
                <a:cubicBezTo>
                  <a:pt x="171" y="272"/>
                  <a:pt x="171" y="272"/>
                  <a:pt x="171" y="272"/>
                </a:cubicBezTo>
                <a:cubicBezTo>
                  <a:pt x="171" y="179"/>
                  <a:pt x="171" y="179"/>
                  <a:pt x="171" y="179"/>
                </a:cubicBezTo>
                <a:cubicBezTo>
                  <a:pt x="171" y="166"/>
                  <a:pt x="171" y="166"/>
                  <a:pt x="171" y="166"/>
                </a:cubicBezTo>
                <a:cubicBezTo>
                  <a:pt x="171" y="116"/>
                  <a:pt x="171" y="116"/>
                  <a:pt x="171" y="116"/>
                </a:cubicBezTo>
                <a:cubicBezTo>
                  <a:pt x="167" y="116"/>
                  <a:pt x="167" y="116"/>
                  <a:pt x="167" y="116"/>
                </a:cubicBezTo>
                <a:cubicBezTo>
                  <a:pt x="167" y="166"/>
                  <a:pt x="167" y="166"/>
                  <a:pt x="167" y="166"/>
                </a:cubicBezTo>
                <a:cubicBezTo>
                  <a:pt x="145" y="166"/>
                  <a:pt x="145" y="166"/>
                  <a:pt x="145" y="166"/>
                </a:cubicBezTo>
                <a:cubicBezTo>
                  <a:pt x="145" y="97"/>
                  <a:pt x="145" y="97"/>
                  <a:pt x="145" y="97"/>
                </a:cubicBezTo>
                <a:cubicBezTo>
                  <a:pt x="145" y="85"/>
                  <a:pt x="155" y="75"/>
                  <a:pt x="167" y="75"/>
                </a:cubicBezTo>
                <a:cubicBezTo>
                  <a:pt x="235" y="75"/>
                  <a:pt x="163" y="75"/>
                  <a:pt x="231" y="75"/>
                </a:cubicBezTo>
                <a:cubicBezTo>
                  <a:pt x="243" y="75"/>
                  <a:pt x="253" y="85"/>
                  <a:pt x="253" y="97"/>
                </a:cubicBezTo>
                <a:cubicBezTo>
                  <a:pt x="253" y="166"/>
                  <a:pt x="253" y="166"/>
                  <a:pt x="253" y="166"/>
                </a:cubicBezTo>
                <a:cubicBezTo>
                  <a:pt x="249" y="166"/>
                  <a:pt x="240" y="166"/>
                  <a:pt x="230" y="166"/>
                </a:cubicBezTo>
                <a:close/>
                <a:moveTo>
                  <a:pt x="132" y="182"/>
                </a:moveTo>
                <a:cubicBezTo>
                  <a:pt x="132" y="256"/>
                  <a:pt x="132" y="256"/>
                  <a:pt x="132" y="256"/>
                </a:cubicBezTo>
                <a:cubicBezTo>
                  <a:pt x="112" y="256"/>
                  <a:pt x="112" y="256"/>
                  <a:pt x="112" y="256"/>
                </a:cubicBezTo>
                <a:cubicBezTo>
                  <a:pt x="112" y="193"/>
                  <a:pt x="112" y="193"/>
                  <a:pt x="112" y="193"/>
                </a:cubicBezTo>
                <a:cubicBezTo>
                  <a:pt x="107" y="193"/>
                  <a:pt x="107" y="193"/>
                  <a:pt x="107" y="193"/>
                </a:cubicBezTo>
                <a:cubicBezTo>
                  <a:pt x="107" y="256"/>
                  <a:pt x="107" y="256"/>
                  <a:pt x="107" y="256"/>
                </a:cubicBezTo>
                <a:cubicBezTo>
                  <a:pt x="86" y="256"/>
                  <a:pt x="86" y="256"/>
                  <a:pt x="86" y="256"/>
                </a:cubicBezTo>
                <a:cubicBezTo>
                  <a:pt x="86" y="180"/>
                  <a:pt x="86" y="180"/>
                  <a:pt x="86" y="180"/>
                </a:cubicBezTo>
                <a:cubicBezTo>
                  <a:pt x="86" y="169"/>
                  <a:pt x="86" y="169"/>
                  <a:pt x="86" y="169"/>
                </a:cubicBezTo>
                <a:cubicBezTo>
                  <a:pt x="86" y="127"/>
                  <a:pt x="86" y="127"/>
                  <a:pt x="86" y="127"/>
                </a:cubicBezTo>
                <a:cubicBezTo>
                  <a:pt x="83" y="127"/>
                  <a:pt x="83" y="127"/>
                  <a:pt x="83" y="127"/>
                </a:cubicBezTo>
                <a:cubicBezTo>
                  <a:pt x="83" y="169"/>
                  <a:pt x="83" y="169"/>
                  <a:pt x="83" y="169"/>
                </a:cubicBezTo>
                <a:cubicBezTo>
                  <a:pt x="65" y="169"/>
                  <a:pt x="65" y="169"/>
                  <a:pt x="65" y="169"/>
                </a:cubicBezTo>
                <a:cubicBezTo>
                  <a:pt x="65" y="112"/>
                  <a:pt x="65" y="112"/>
                  <a:pt x="65" y="112"/>
                </a:cubicBezTo>
                <a:cubicBezTo>
                  <a:pt x="65" y="102"/>
                  <a:pt x="73" y="94"/>
                  <a:pt x="83" y="94"/>
                </a:cubicBezTo>
                <a:cubicBezTo>
                  <a:pt x="124" y="94"/>
                  <a:pt x="124" y="94"/>
                  <a:pt x="124" y="94"/>
                </a:cubicBezTo>
                <a:cubicBezTo>
                  <a:pt x="124" y="96"/>
                  <a:pt x="123" y="99"/>
                  <a:pt x="123" y="102"/>
                </a:cubicBezTo>
                <a:cubicBezTo>
                  <a:pt x="123" y="182"/>
                  <a:pt x="123" y="182"/>
                  <a:pt x="123" y="182"/>
                </a:cubicBezTo>
                <a:cubicBezTo>
                  <a:pt x="132" y="182"/>
                  <a:pt x="132" y="182"/>
                  <a:pt x="132" y="182"/>
                </a:cubicBezTo>
                <a:close/>
                <a:moveTo>
                  <a:pt x="110" y="32"/>
                </a:moveTo>
                <a:cubicBezTo>
                  <a:pt x="126" y="32"/>
                  <a:pt x="139" y="45"/>
                  <a:pt x="139" y="61"/>
                </a:cubicBezTo>
                <a:cubicBezTo>
                  <a:pt x="139" y="68"/>
                  <a:pt x="136" y="74"/>
                  <a:pt x="133" y="78"/>
                </a:cubicBezTo>
                <a:cubicBezTo>
                  <a:pt x="132" y="80"/>
                  <a:pt x="131" y="81"/>
                  <a:pt x="130" y="82"/>
                </a:cubicBezTo>
                <a:cubicBezTo>
                  <a:pt x="125" y="87"/>
                  <a:pt x="118" y="90"/>
                  <a:pt x="110" y="90"/>
                </a:cubicBezTo>
                <a:cubicBezTo>
                  <a:pt x="93" y="90"/>
                  <a:pt x="80" y="77"/>
                  <a:pt x="80" y="61"/>
                </a:cubicBezTo>
                <a:cubicBezTo>
                  <a:pt x="80" y="45"/>
                  <a:pt x="93" y="32"/>
                  <a:pt x="110" y="32"/>
                </a:cubicBezTo>
                <a:close/>
                <a:moveTo>
                  <a:pt x="287" y="32"/>
                </a:moveTo>
                <a:cubicBezTo>
                  <a:pt x="271" y="32"/>
                  <a:pt x="258" y="45"/>
                  <a:pt x="258" y="61"/>
                </a:cubicBezTo>
                <a:cubicBezTo>
                  <a:pt x="258" y="68"/>
                  <a:pt x="260" y="74"/>
                  <a:pt x="263" y="78"/>
                </a:cubicBezTo>
                <a:cubicBezTo>
                  <a:pt x="264" y="80"/>
                  <a:pt x="265" y="81"/>
                  <a:pt x="266" y="82"/>
                </a:cubicBezTo>
                <a:cubicBezTo>
                  <a:pt x="271" y="87"/>
                  <a:pt x="279" y="90"/>
                  <a:pt x="287" y="90"/>
                </a:cubicBezTo>
                <a:cubicBezTo>
                  <a:pt x="303" y="90"/>
                  <a:pt x="316" y="77"/>
                  <a:pt x="316" y="61"/>
                </a:cubicBezTo>
                <a:cubicBezTo>
                  <a:pt x="316" y="45"/>
                  <a:pt x="303" y="32"/>
                  <a:pt x="287"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66" name="Picture 65">
            <a:extLst>
              <a:ext uri="{FF2B5EF4-FFF2-40B4-BE49-F238E27FC236}">
                <a16:creationId xmlns:a16="http://schemas.microsoft.com/office/drawing/2014/main" id="{63125C1C-065D-41C8-A1B5-0324EF8D85CC}"/>
              </a:ext>
            </a:extLst>
          </p:cNvPr>
          <p:cNvPicPr>
            <a:picLocks noChangeAspect="1"/>
          </p:cNvPicPr>
          <p:nvPr/>
        </p:nvPicPr>
        <p:blipFill>
          <a:blip r:embed="rId2"/>
          <a:stretch>
            <a:fillRect/>
          </a:stretch>
        </p:blipFill>
        <p:spPr>
          <a:xfrm>
            <a:off x="2565775" y="4555681"/>
            <a:ext cx="1907545" cy="1231415"/>
          </a:xfrm>
          <a:prstGeom prst="rect">
            <a:avLst/>
          </a:prstGeom>
        </p:spPr>
      </p:pic>
      <p:pic>
        <p:nvPicPr>
          <p:cNvPr id="67" name="Picture 66">
            <a:extLst>
              <a:ext uri="{FF2B5EF4-FFF2-40B4-BE49-F238E27FC236}">
                <a16:creationId xmlns:a16="http://schemas.microsoft.com/office/drawing/2014/main" id="{091D3D83-C56A-4E1B-80AA-404732F13880}"/>
              </a:ext>
            </a:extLst>
          </p:cNvPr>
          <p:cNvPicPr>
            <a:picLocks noChangeAspect="1"/>
          </p:cNvPicPr>
          <p:nvPr/>
        </p:nvPicPr>
        <p:blipFill>
          <a:blip r:embed="rId2"/>
          <a:stretch>
            <a:fillRect/>
          </a:stretch>
        </p:blipFill>
        <p:spPr>
          <a:xfrm>
            <a:off x="2805389" y="4782021"/>
            <a:ext cx="1777922" cy="1147737"/>
          </a:xfrm>
          <a:prstGeom prst="rect">
            <a:avLst/>
          </a:prstGeom>
        </p:spPr>
      </p:pic>
      <p:sp>
        <p:nvSpPr>
          <p:cNvPr id="109" name="AutoShape 4">
            <a:extLst>
              <a:ext uri="{FF2B5EF4-FFF2-40B4-BE49-F238E27FC236}">
                <a16:creationId xmlns:a16="http://schemas.microsoft.com/office/drawing/2014/main" id="{1B0B4D6B-0EB6-4D92-8052-DFA7DBA925CB}"/>
              </a:ext>
            </a:extLst>
          </p:cNvPr>
          <p:cNvSpPr>
            <a:spLocks noChangeAspect="1" noChangeArrowheads="1" noTextEdit="1"/>
          </p:cNvSpPr>
          <p:nvPr/>
        </p:nvSpPr>
        <p:spPr bwMode="auto">
          <a:xfrm flipH="1">
            <a:off x="7640006" y="2759302"/>
            <a:ext cx="2325037" cy="62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b="1"/>
          </a:p>
        </p:txBody>
      </p:sp>
      <p:sp>
        <p:nvSpPr>
          <p:cNvPr id="113" name="AutoShape 4">
            <a:extLst>
              <a:ext uri="{FF2B5EF4-FFF2-40B4-BE49-F238E27FC236}">
                <a16:creationId xmlns:a16="http://schemas.microsoft.com/office/drawing/2014/main" id="{0E5CDA56-17E6-47A7-BDB3-4840DDAAF48E}"/>
              </a:ext>
            </a:extLst>
          </p:cNvPr>
          <p:cNvSpPr>
            <a:spLocks noChangeAspect="1" noChangeArrowheads="1" noTextEdit="1"/>
          </p:cNvSpPr>
          <p:nvPr/>
        </p:nvSpPr>
        <p:spPr bwMode="auto">
          <a:xfrm flipH="1">
            <a:off x="4969755" y="4234002"/>
            <a:ext cx="2325037" cy="62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b="1"/>
          </a:p>
        </p:txBody>
      </p:sp>
      <p:pic>
        <p:nvPicPr>
          <p:cNvPr id="118" name="Picture 117">
            <a:extLst>
              <a:ext uri="{FF2B5EF4-FFF2-40B4-BE49-F238E27FC236}">
                <a16:creationId xmlns:a16="http://schemas.microsoft.com/office/drawing/2014/main" id="{A7006AFD-0ED2-4686-BD68-A2694BAEBE0E}"/>
              </a:ext>
            </a:extLst>
          </p:cNvPr>
          <p:cNvPicPr>
            <a:picLocks noChangeAspect="1"/>
          </p:cNvPicPr>
          <p:nvPr/>
        </p:nvPicPr>
        <p:blipFill>
          <a:blip r:embed="rId3"/>
          <a:stretch>
            <a:fillRect/>
          </a:stretch>
        </p:blipFill>
        <p:spPr>
          <a:xfrm>
            <a:off x="6916652" y="4413018"/>
            <a:ext cx="2066362" cy="1374078"/>
          </a:xfrm>
          <a:prstGeom prst="rect">
            <a:avLst/>
          </a:prstGeom>
        </p:spPr>
      </p:pic>
      <p:sp>
        <p:nvSpPr>
          <p:cNvPr id="2" name="Hexagon 1">
            <a:extLst>
              <a:ext uri="{FF2B5EF4-FFF2-40B4-BE49-F238E27FC236}">
                <a16:creationId xmlns:a16="http://schemas.microsoft.com/office/drawing/2014/main" id="{0719D945-E3A4-4DF5-8C98-EBDC55E7ECD8}"/>
              </a:ext>
            </a:extLst>
          </p:cNvPr>
          <p:cNvSpPr/>
          <p:nvPr/>
        </p:nvSpPr>
        <p:spPr>
          <a:xfrm>
            <a:off x="732466" y="1533729"/>
            <a:ext cx="1503454" cy="12255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20</a:t>
            </a:r>
            <a:endParaRPr lang="en-IN" sz="2000" b="1" dirty="0"/>
          </a:p>
        </p:txBody>
      </p:sp>
      <p:sp>
        <p:nvSpPr>
          <p:cNvPr id="47" name="Hexagon 46">
            <a:extLst>
              <a:ext uri="{FF2B5EF4-FFF2-40B4-BE49-F238E27FC236}">
                <a16:creationId xmlns:a16="http://schemas.microsoft.com/office/drawing/2014/main" id="{96BA3DD5-54C6-4715-9C5A-17C81AFE10DB}"/>
              </a:ext>
            </a:extLst>
          </p:cNvPr>
          <p:cNvSpPr/>
          <p:nvPr/>
        </p:nvSpPr>
        <p:spPr>
          <a:xfrm>
            <a:off x="2826574" y="1533729"/>
            <a:ext cx="1503454" cy="12255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34</a:t>
            </a:r>
            <a:endParaRPr lang="en-IN" sz="2000" b="1" dirty="0"/>
          </a:p>
        </p:txBody>
      </p:sp>
      <p:sp>
        <p:nvSpPr>
          <p:cNvPr id="48" name="Hexagon 47">
            <a:extLst>
              <a:ext uri="{FF2B5EF4-FFF2-40B4-BE49-F238E27FC236}">
                <a16:creationId xmlns:a16="http://schemas.microsoft.com/office/drawing/2014/main" id="{2C11B531-E6B2-4609-84A1-90C106F85836}"/>
              </a:ext>
            </a:extLst>
          </p:cNvPr>
          <p:cNvSpPr/>
          <p:nvPr/>
        </p:nvSpPr>
        <p:spPr>
          <a:xfrm>
            <a:off x="4941469" y="1533729"/>
            <a:ext cx="1503454" cy="1225574"/>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13</a:t>
            </a:r>
            <a:endParaRPr lang="en-IN" sz="2000" b="1" dirty="0"/>
          </a:p>
        </p:txBody>
      </p:sp>
      <p:sp>
        <p:nvSpPr>
          <p:cNvPr id="49" name="Hexagon 48">
            <a:extLst>
              <a:ext uri="{FF2B5EF4-FFF2-40B4-BE49-F238E27FC236}">
                <a16:creationId xmlns:a16="http://schemas.microsoft.com/office/drawing/2014/main" id="{3E2D0CF6-5BB5-42D2-ACA9-AA8558CE644C}"/>
              </a:ext>
            </a:extLst>
          </p:cNvPr>
          <p:cNvSpPr/>
          <p:nvPr/>
        </p:nvSpPr>
        <p:spPr>
          <a:xfrm>
            <a:off x="7164894" y="1533729"/>
            <a:ext cx="1503454" cy="1225574"/>
          </a:xfrm>
          <a:prstGeom prst="hexag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21</a:t>
            </a:r>
            <a:endParaRPr lang="en-IN" sz="2000" b="1" dirty="0"/>
          </a:p>
        </p:txBody>
      </p:sp>
      <p:sp>
        <p:nvSpPr>
          <p:cNvPr id="3" name="Footer Placeholder 2"/>
          <p:cNvSpPr>
            <a:spLocks noGrp="1"/>
          </p:cNvSpPr>
          <p:nvPr>
            <p:ph type="ftr" sz="quarter" idx="3"/>
          </p:nvPr>
        </p:nvSpPr>
        <p:spPr>
          <a:xfrm>
            <a:off x="419168" y="6426211"/>
            <a:ext cx="2396518" cy="222250"/>
          </a:xfrm>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36" name="Hexagon 35">
            <a:extLst>
              <a:ext uri="{FF2B5EF4-FFF2-40B4-BE49-F238E27FC236}">
                <a16:creationId xmlns:a16="http://schemas.microsoft.com/office/drawing/2014/main" id="{3E2D0CF6-5BB5-42D2-ACA9-AA8558CE644C}"/>
              </a:ext>
            </a:extLst>
          </p:cNvPr>
          <p:cNvSpPr/>
          <p:nvPr/>
        </p:nvSpPr>
        <p:spPr>
          <a:xfrm>
            <a:off x="10159337" y="1533729"/>
            <a:ext cx="1503454" cy="1225574"/>
          </a:xfrm>
          <a:prstGeom prst="hexagon">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a:t>20%</a:t>
            </a:r>
          </a:p>
        </p:txBody>
      </p:sp>
      <p:sp>
        <p:nvSpPr>
          <p:cNvPr id="37" name="Rectangle 36">
            <a:extLst>
              <a:ext uri="{FF2B5EF4-FFF2-40B4-BE49-F238E27FC236}">
                <a16:creationId xmlns:a16="http://schemas.microsoft.com/office/drawing/2014/main" id="{E12D4E95-10E2-49DB-A576-CCF67539F676}"/>
              </a:ext>
            </a:extLst>
          </p:cNvPr>
          <p:cNvSpPr/>
          <p:nvPr/>
        </p:nvSpPr>
        <p:spPr>
          <a:xfrm>
            <a:off x="9878453" y="3134136"/>
            <a:ext cx="1785478" cy="523220"/>
          </a:xfrm>
          <a:prstGeom prst="rect">
            <a:avLst/>
          </a:prstGeom>
        </p:spPr>
        <p:txBody>
          <a:bodyPr wrap="square">
            <a:spAutoFit/>
          </a:bodyPr>
          <a:lstStyle/>
          <a:p>
            <a:pPr algn="ctr" defTabSz="973138">
              <a:spcBef>
                <a:spcPct val="50000"/>
              </a:spcBef>
              <a:tabLst>
                <a:tab pos="1374775" algn="l"/>
              </a:tabLst>
            </a:pPr>
            <a:r>
              <a:rPr lang="en-US" sz="1400" dirty="0">
                <a:solidFill>
                  <a:srgbClr val="073262"/>
                </a:solidFill>
                <a:latin typeface="Georgia" panose="02040502050405020303" pitchFamily="18" charset="0"/>
              </a:rPr>
              <a:t>AutoBank increase from 50% to 70%</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04650" y="4311226"/>
            <a:ext cx="1812534" cy="1206159"/>
          </a:xfrm>
          <a:prstGeom prst="rect">
            <a:avLst/>
          </a:prstGeom>
        </p:spPr>
      </p:pic>
    </p:spTree>
    <p:extLst>
      <p:ext uri="{BB962C8B-B14F-4D97-AF65-F5344CB8AC3E}">
        <p14:creationId xmlns:p14="http://schemas.microsoft.com/office/powerpoint/2010/main" val="33550431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Rectangle 100"/>
          <p:cNvSpPr>
            <a:spLocks noChangeArrowheads="1"/>
          </p:cNvSpPr>
          <p:nvPr/>
        </p:nvSpPr>
        <p:spPr bwMode="auto">
          <a:xfrm>
            <a:off x="541691" y="3260399"/>
            <a:ext cx="978251" cy="848775"/>
          </a:xfrm>
          <a:prstGeom prst="rect">
            <a:avLst/>
          </a:prstGeom>
          <a:solidFill>
            <a:srgbClr val="00608A">
              <a:lumMod val="75000"/>
            </a:srgbClr>
          </a:solidFill>
          <a:ln w="12700">
            <a:solidFill>
              <a:sysClr val="windowText" lastClr="000000"/>
            </a:solidFill>
            <a:miter lim="800000"/>
            <a:headEnd/>
            <a:tailEnd/>
          </a:ln>
        </p:spPr>
        <p:txBody>
          <a:bodyPr wrap="square" lIns="0" tIns="0" rIns="0" bIns="0">
            <a:noAutofit/>
          </a:bodyPr>
          <a:lstStyle/>
          <a:p>
            <a:pPr lvl="0" algn="ctr">
              <a:defRPr/>
            </a:pPr>
            <a:r>
              <a:rPr lang="en-US" sz="1050" kern="0" dirty="0">
                <a:solidFill>
                  <a:prstClr val="white"/>
                </a:solidFill>
              </a:rPr>
              <a:t>GL system close</a:t>
            </a:r>
          </a:p>
          <a:p>
            <a:pPr lvl="0" algn="ctr">
              <a:defRPr/>
            </a:pPr>
            <a:r>
              <a:rPr lang="en-US" sz="1050" kern="0" dirty="0">
                <a:solidFill>
                  <a:prstClr val="white"/>
                </a:solidFill>
              </a:rPr>
              <a:t>(Blackout Period)-Manual booking</a:t>
            </a:r>
          </a:p>
        </p:txBody>
      </p:sp>
      <p:sp>
        <p:nvSpPr>
          <p:cNvPr id="252" name="Rectangle 132"/>
          <p:cNvSpPr>
            <a:spLocks noChangeArrowheads="1"/>
          </p:cNvSpPr>
          <p:nvPr/>
        </p:nvSpPr>
        <p:spPr bwMode="auto">
          <a:xfrm>
            <a:off x="6281496" y="3358403"/>
            <a:ext cx="792000" cy="415498"/>
          </a:xfrm>
          <a:prstGeom prst="rect">
            <a:avLst/>
          </a:prstGeom>
          <a:solidFill>
            <a:srgbClr val="00608A">
              <a:lumMod val="20000"/>
              <a:lumOff val="80000"/>
            </a:srgbClr>
          </a:solidFill>
          <a:ln w="12700">
            <a:solidFill>
              <a:sysClr val="windowText" lastClr="000000"/>
            </a:solidFill>
            <a:miter lim="800000"/>
            <a:headEnd/>
            <a:tailEnd/>
          </a:ln>
        </p:spPr>
        <p:txBody>
          <a:bodyPr wrap="square" lIns="0" tIns="0" rIns="0" bIns="0">
            <a:spAutoFit/>
          </a:bodyPr>
          <a:lstStyle/>
          <a:p>
            <a:pPr lvl="0" algn="ctr">
              <a:defRPr/>
            </a:pPr>
            <a:r>
              <a:rPr lang="en-US" sz="900" kern="0" dirty="0">
                <a:solidFill>
                  <a:prstClr val="black"/>
                </a:solidFill>
              </a:rPr>
              <a:t>Follow-ups/report out on open items</a:t>
            </a:r>
            <a:endParaRPr kumimoji="0" lang="en-US" sz="900" b="0" i="0" u="none" strike="noStrike" kern="0" cap="none" spc="0" normalizeH="0" baseline="0" noProof="0" dirty="0">
              <a:ln>
                <a:noFill/>
              </a:ln>
              <a:solidFill>
                <a:prstClr val="black"/>
              </a:solidFill>
              <a:effectLst/>
              <a:uLnTx/>
              <a:uFillTx/>
              <a:cs typeface="Arial" charset="0"/>
            </a:endParaRPr>
          </a:p>
        </p:txBody>
      </p:sp>
      <p:sp>
        <p:nvSpPr>
          <p:cNvPr id="254" name="Rectangle 138"/>
          <p:cNvSpPr>
            <a:spLocks noChangeArrowheads="1"/>
          </p:cNvSpPr>
          <p:nvPr/>
        </p:nvSpPr>
        <p:spPr bwMode="auto">
          <a:xfrm>
            <a:off x="2600665" y="3341950"/>
            <a:ext cx="792000" cy="553998"/>
          </a:xfrm>
          <a:prstGeom prst="rect">
            <a:avLst/>
          </a:prstGeom>
          <a:solidFill>
            <a:srgbClr val="00608A">
              <a:lumMod val="20000"/>
              <a:lumOff val="80000"/>
            </a:srgb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ea typeface="+mn-ea"/>
                <a:cs typeface="+mn-cs"/>
              </a:rPr>
              <a:t>Webcash check vis-à-vis Bank GL</a:t>
            </a:r>
            <a:r>
              <a:rPr kumimoji="0" lang="en-US" sz="900" b="0" i="0" u="none" strike="noStrike" kern="0" cap="none" spc="0" normalizeH="0" noProof="0" dirty="0">
                <a:ln>
                  <a:noFill/>
                </a:ln>
                <a:solidFill>
                  <a:srgbClr val="000000"/>
                </a:solidFill>
                <a:effectLst/>
                <a:uLnTx/>
                <a:uFillTx/>
                <a:ea typeface="+mn-ea"/>
                <a:cs typeface="+mn-cs"/>
              </a:rPr>
              <a:t> plus other GL check</a:t>
            </a: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262" name="Rectangle 136"/>
          <p:cNvSpPr>
            <a:spLocks noChangeArrowheads="1"/>
          </p:cNvSpPr>
          <p:nvPr/>
        </p:nvSpPr>
        <p:spPr bwMode="auto">
          <a:xfrm>
            <a:off x="7313549" y="3358247"/>
            <a:ext cx="792000" cy="276999"/>
          </a:xfrm>
          <a:prstGeom prst="rect">
            <a:avLst/>
          </a:prstGeom>
          <a:solidFill>
            <a:srgbClr val="7396F9"/>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ea typeface="+mn-ea"/>
                <a:cs typeface="+mn-cs"/>
              </a:rPr>
              <a:t>Closing -Cashpool Match</a:t>
            </a:r>
          </a:p>
        </p:txBody>
      </p:sp>
      <p:sp>
        <p:nvSpPr>
          <p:cNvPr id="263" name="Rectangle 136"/>
          <p:cNvSpPr>
            <a:spLocks noChangeArrowheads="1"/>
          </p:cNvSpPr>
          <p:nvPr/>
        </p:nvSpPr>
        <p:spPr bwMode="auto">
          <a:xfrm>
            <a:off x="8276417" y="3356455"/>
            <a:ext cx="792000" cy="415498"/>
          </a:xfrm>
          <a:prstGeom prst="rect">
            <a:avLst/>
          </a:prstGeom>
          <a:solidFill>
            <a:srgbClr val="00B0F0"/>
          </a:solidFill>
          <a:ln w="12700">
            <a:solidFill>
              <a:sysClr val="windowText" lastClr="000000"/>
            </a:solidFill>
            <a:miter lim="800000"/>
            <a:headEnd/>
            <a:tailEnd/>
          </a:ln>
        </p:spPr>
        <p:txBody>
          <a:bodyPr wrap="square" lIns="0" tIns="0" rIns="0" bIns="0">
            <a:spAutoFit/>
          </a:bodyPr>
          <a:lstStyle/>
          <a:p>
            <a:pPr algn="ctr"/>
            <a:r>
              <a:rPr lang="en-US" sz="900" kern="0" dirty="0">
                <a:solidFill>
                  <a:prstClr val="black"/>
                </a:solidFill>
              </a:rPr>
              <a:t>Closing – Int. booking &amp; Accrual</a:t>
            </a:r>
          </a:p>
        </p:txBody>
      </p:sp>
      <p:sp>
        <p:nvSpPr>
          <p:cNvPr id="274" name="Rectangle 111"/>
          <p:cNvSpPr>
            <a:spLocks noChangeArrowheads="1"/>
          </p:cNvSpPr>
          <p:nvPr/>
        </p:nvSpPr>
        <p:spPr bwMode="auto">
          <a:xfrm>
            <a:off x="8755629" y="6456740"/>
            <a:ext cx="457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ea typeface="+mn-ea"/>
              <a:cs typeface="+mn-cs"/>
            </a:endParaRPr>
          </a:p>
        </p:txBody>
      </p:sp>
      <p:sp>
        <p:nvSpPr>
          <p:cNvPr id="275" name="Rectangle 115"/>
          <p:cNvSpPr>
            <a:spLocks noChangeArrowheads="1"/>
          </p:cNvSpPr>
          <p:nvPr/>
        </p:nvSpPr>
        <p:spPr bwMode="auto">
          <a:xfrm>
            <a:off x="1629012" y="2310474"/>
            <a:ext cx="5261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ea typeface="+mn-ea"/>
              <a:cs typeface="+mn-cs"/>
            </a:endParaRPr>
          </a:p>
        </p:txBody>
      </p:sp>
      <p:sp>
        <p:nvSpPr>
          <p:cNvPr id="286" name="Rectangle 130"/>
          <p:cNvSpPr>
            <a:spLocks noChangeArrowheads="1"/>
          </p:cNvSpPr>
          <p:nvPr/>
        </p:nvSpPr>
        <p:spPr bwMode="auto">
          <a:xfrm>
            <a:off x="1668553" y="3346395"/>
            <a:ext cx="838050" cy="692497"/>
          </a:xfrm>
          <a:prstGeom prst="rect">
            <a:avLst/>
          </a:prstGeom>
          <a:solidFill>
            <a:srgbClr val="00608A">
              <a:lumMod val="20000"/>
              <a:lumOff val="80000"/>
            </a:srgbClr>
          </a:solidFill>
          <a:ln w="12700">
            <a:solidFill>
              <a:sysClr val="windowText" lastClr="000000"/>
            </a:solidFill>
            <a:miter lim="800000"/>
            <a:headEnd/>
            <a:tailEnd/>
          </a:ln>
        </p:spPr>
        <p:txBody>
          <a:bodyPr wrap="square" lIns="0" tIns="0" rIns="0" bIns="0">
            <a:spAutoFit/>
          </a:bodyPr>
          <a:lstStyle/>
          <a:p>
            <a:pPr lvl="0" algn="ctr">
              <a:defRPr/>
            </a:pPr>
            <a:r>
              <a:rPr lang="en-US" sz="900" kern="0" dirty="0">
                <a:solidFill>
                  <a:srgbClr val="000000"/>
                </a:solidFill>
              </a:rPr>
              <a:t>Webcash Data extraction &amp; booking (Manual/AutoBank)</a:t>
            </a:r>
            <a:endParaRPr kumimoji="0" lang="en-US" sz="900" b="0" i="0" u="none" strike="noStrike" kern="0" cap="none" spc="0" normalizeH="0" baseline="0" noProof="0" dirty="0">
              <a:ln>
                <a:noFill/>
              </a:ln>
              <a:solidFill>
                <a:srgbClr val="000000"/>
              </a:solidFill>
              <a:effectLst/>
              <a:uLnTx/>
              <a:uFillTx/>
            </a:endParaRPr>
          </a:p>
        </p:txBody>
      </p:sp>
      <p:sp>
        <p:nvSpPr>
          <p:cNvPr id="289" name="Rectangle 136"/>
          <p:cNvSpPr>
            <a:spLocks noChangeArrowheads="1"/>
          </p:cNvSpPr>
          <p:nvPr/>
        </p:nvSpPr>
        <p:spPr bwMode="auto">
          <a:xfrm>
            <a:off x="5309657" y="3353858"/>
            <a:ext cx="855167" cy="692497"/>
          </a:xfrm>
          <a:prstGeom prst="rect">
            <a:avLst/>
          </a:prstGeom>
          <a:solidFill>
            <a:srgbClr val="00608A">
              <a:lumMod val="20000"/>
              <a:lumOff val="80000"/>
            </a:srgb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ea typeface="+mn-ea"/>
                <a:cs typeface="+mn-cs"/>
              </a:rPr>
              <a:t>Manual /Reclass JEs</a:t>
            </a:r>
            <a:r>
              <a:rPr kumimoji="0" lang="en-US" sz="900" b="0" i="0" u="none" strike="noStrike" kern="0" cap="none" spc="0" normalizeH="0" noProof="0" dirty="0">
                <a:ln>
                  <a:noFill/>
                </a:ln>
                <a:solidFill>
                  <a:prstClr val="black"/>
                </a:solidFill>
                <a:effectLst/>
                <a:uLnTx/>
                <a:uFillTx/>
                <a:ea typeface="+mn-ea"/>
                <a:cs typeface="+mn-cs"/>
              </a:rPr>
              <a:t> in case of no/wrong posting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ea typeface="+mn-ea"/>
              <a:cs typeface="+mn-cs"/>
            </a:endParaRPr>
          </a:p>
        </p:txBody>
      </p:sp>
      <p:sp>
        <p:nvSpPr>
          <p:cNvPr id="132" name="Rectangle 136"/>
          <p:cNvSpPr>
            <a:spLocks noChangeArrowheads="1"/>
          </p:cNvSpPr>
          <p:nvPr/>
        </p:nvSpPr>
        <p:spPr bwMode="auto">
          <a:xfrm>
            <a:off x="3481553" y="3353177"/>
            <a:ext cx="792000" cy="415498"/>
          </a:xfrm>
          <a:prstGeom prst="rect">
            <a:avLst/>
          </a:prstGeom>
          <a:solidFill>
            <a:srgbClr val="00608A">
              <a:lumMod val="20000"/>
              <a:lumOff val="80000"/>
            </a:srgb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ea typeface="+mn-ea"/>
                <a:cs typeface="+mn-cs"/>
              </a:rPr>
              <a:t>Identification &amp; Assignment</a:t>
            </a:r>
            <a:r>
              <a:rPr kumimoji="0" lang="en-US" sz="900" b="0" i="0" u="none" strike="noStrike" kern="0" cap="none" spc="0" normalizeH="0" noProof="0" dirty="0">
                <a:ln>
                  <a:noFill/>
                </a:ln>
                <a:solidFill>
                  <a:prstClr val="black"/>
                </a:solidFill>
                <a:effectLst/>
                <a:uLnTx/>
                <a:uFillTx/>
                <a:ea typeface="+mn-ea"/>
                <a:cs typeface="+mn-cs"/>
              </a:rPr>
              <a:t> of open Items</a:t>
            </a:r>
            <a:endParaRPr kumimoji="0" lang="en-US" sz="900" b="0" i="0" u="none" strike="noStrike" kern="0" cap="none" spc="0" normalizeH="0" baseline="0" noProof="0" dirty="0">
              <a:ln>
                <a:noFill/>
              </a:ln>
              <a:solidFill>
                <a:prstClr val="black"/>
              </a:solidFill>
              <a:effectLst/>
              <a:uLnTx/>
              <a:uFillTx/>
              <a:ea typeface="+mn-ea"/>
              <a:cs typeface="+mn-cs"/>
            </a:endParaRPr>
          </a:p>
        </p:txBody>
      </p:sp>
      <p:sp>
        <p:nvSpPr>
          <p:cNvPr id="96" name="Rectangle 136"/>
          <p:cNvSpPr>
            <a:spLocks noChangeArrowheads="1"/>
          </p:cNvSpPr>
          <p:nvPr/>
        </p:nvSpPr>
        <p:spPr bwMode="auto">
          <a:xfrm>
            <a:off x="4377111" y="3353054"/>
            <a:ext cx="792000" cy="276999"/>
          </a:xfrm>
          <a:prstGeom prst="rect">
            <a:avLst/>
          </a:prstGeom>
          <a:solidFill>
            <a:srgbClr val="00608A">
              <a:lumMod val="20000"/>
              <a:lumOff val="80000"/>
            </a:srgb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noProof="0" dirty="0">
                <a:ln>
                  <a:noFill/>
                </a:ln>
                <a:solidFill>
                  <a:prstClr val="black"/>
                </a:solidFill>
                <a:effectLst/>
                <a:uLnTx/>
                <a:uFillTx/>
                <a:ea typeface="+mn-ea"/>
                <a:cs typeface="+mn-cs"/>
              </a:rPr>
              <a:t>Matching &amp; Clearing</a:t>
            </a:r>
            <a:endParaRPr kumimoji="0" lang="en-US" sz="900" b="0" i="0" u="none" strike="noStrike" kern="0" cap="none" spc="0" normalizeH="0" baseline="0" noProof="0" dirty="0">
              <a:ln>
                <a:noFill/>
              </a:ln>
              <a:solidFill>
                <a:prstClr val="black"/>
              </a:solidFill>
              <a:effectLst/>
              <a:uLnTx/>
              <a:uFillTx/>
              <a:ea typeface="+mn-ea"/>
              <a:cs typeface="+mn-cs"/>
            </a:endParaRPr>
          </a:p>
        </p:txBody>
      </p:sp>
      <p:sp>
        <p:nvSpPr>
          <p:cNvPr id="102" name="Rectangle 136"/>
          <p:cNvSpPr>
            <a:spLocks noChangeArrowheads="1"/>
          </p:cNvSpPr>
          <p:nvPr/>
        </p:nvSpPr>
        <p:spPr bwMode="auto">
          <a:xfrm>
            <a:off x="9169961" y="3356715"/>
            <a:ext cx="792000" cy="415498"/>
          </a:xfrm>
          <a:prstGeom prst="rect">
            <a:avLst/>
          </a:prstGeom>
          <a:solidFill>
            <a:srgbClr val="00B0F0"/>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ea typeface="+mn-ea"/>
                <a:cs typeface="+mn-cs"/>
              </a:rPr>
              <a:t>Clos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ea typeface="+mn-ea"/>
                <a:cs typeface="+mn-cs"/>
              </a:rPr>
              <a:t>-Reval</a:t>
            </a:r>
            <a:r>
              <a:rPr kumimoji="0" lang="en-US" sz="900" b="0" i="0" u="none" strike="noStrike" kern="0" cap="none" spc="0" normalizeH="0" noProof="0" dirty="0">
                <a:ln>
                  <a:noFill/>
                </a:ln>
                <a:solidFill>
                  <a:prstClr val="black"/>
                </a:solidFill>
                <a:effectLst/>
                <a:uLnTx/>
                <a:uFillTx/>
                <a:ea typeface="+mn-ea"/>
                <a:cs typeface="+mn-cs"/>
              </a:rPr>
              <a:t> run &amp; checking</a:t>
            </a:r>
            <a:endParaRPr kumimoji="0" lang="en-US" sz="900" b="0" i="0" u="none" strike="noStrike" kern="0" cap="none" spc="0" normalizeH="0" baseline="0" noProof="0" dirty="0">
              <a:ln>
                <a:noFill/>
              </a:ln>
              <a:solidFill>
                <a:prstClr val="black"/>
              </a:solidFill>
              <a:effectLst/>
              <a:uLnTx/>
              <a:uFillTx/>
              <a:ea typeface="+mn-ea"/>
              <a:cs typeface="+mn-cs"/>
            </a:endParaRPr>
          </a:p>
        </p:txBody>
      </p:sp>
      <p:cxnSp>
        <p:nvCxnSpPr>
          <p:cNvPr id="3" name="Straight Connector 2"/>
          <p:cNvCxnSpPr/>
          <p:nvPr/>
        </p:nvCxnSpPr>
        <p:spPr>
          <a:xfrm>
            <a:off x="484641" y="4842604"/>
            <a:ext cx="1167097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510767" y="2389084"/>
            <a:ext cx="11670973"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Up Arrow 3"/>
          <p:cNvSpPr/>
          <p:nvPr/>
        </p:nvSpPr>
        <p:spPr>
          <a:xfrm>
            <a:off x="5752006" y="2061645"/>
            <a:ext cx="352373" cy="31308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a:p>
        </p:txBody>
      </p:sp>
      <p:sp>
        <p:nvSpPr>
          <p:cNvPr id="5" name="Down Arrow 4"/>
          <p:cNvSpPr/>
          <p:nvPr/>
        </p:nvSpPr>
        <p:spPr>
          <a:xfrm>
            <a:off x="5756129" y="4841549"/>
            <a:ext cx="372835" cy="32975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6" name="Straight Connector 5"/>
          <p:cNvCxnSpPr/>
          <p:nvPr/>
        </p:nvCxnSpPr>
        <p:spPr>
          <a:xfrm>
            <a:off x="455304" y="325132"/>
            <a:ext cx="3211" cy="4621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2116425" y="276159"/>
            <a:ext cx="0" cy="4709083"/>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1820108" y="412875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14.70 Hrs</a:t>
            </a:r>
          </a:p>
        </p:txBody>
      </p:sp>
      <p:sp>
        <p:nvSpPr>
          <p:cNvPr id="71" name="TextBox 70"/>
          <p:cNvSpPr txBox="1"/>
          <p:nvPr/>
        </p:nvSpPr>
        <p:spPr>
          <a:xfrm>
            <a:off x="1793982" y="280330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0.74 Hrs</a:t>
            </a:r>
            <a:endParaRPr kumimoji="0" lang="en-US" sz="800" b="0" i="0" u="none" strike="noStrike" kern="0" cap="none" spc="0" normalizeH="0" baseline="0" noProof="0" dirty="0">
              <a:ln>
                <a:noFill/>
              </a:ln>
              <a:solidFill>
                <a:prstClr val="black"/>
              </a:solidFill>
              <a:effectLst/>
              <a:uLnTx/>
              <a:uFillTx/>
            </a:endParaRPr>
          </a:p>
        </p:txBody>
      </p:sp>
      <p:sp>
        <p:nvSpPr>
          <p:cNvPr id="72" name="TextBox 71"/>
          <p:cNvSpPr txBox="1"/>
          <p:nvPr/>
        </p:nvSpPr>
        <p:spPr>
          <a:xfrm>
            <a:off x="2843342" y="2802749"/>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5.15 Hrs</a:t>
            </a:r>
          </a:p>
        </p:txBody>
      </p:sp>
      <p:sp>
        <p:nvSpPr>
          <p:cNvPr id="73" name="TextBox 72"/>
          <p:cNvSpPr txBox="1"/>
          <p:nvPr/>
        </p:nvSpPr>
        <p:spPr>
          <a:xfrm>
            <a:off x="3696071" y="280228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16.54 Hrs</a:t>
            </a:r>
            <a:endParaRPr kumimoji="0" lang="en-US" sz="800" b="0" i="0" u="none" strike="noStrike" kern="0" cap="none" spc="0" normalizeH="0" baseline="0" noProof="0" dirty="0">
              <a:ln>
                <a:noFill/>
              </a:ln>
              <a:solidFill>
                <a:prstClr val="black"/>
              </a:solidFill>
              <a:effectLst/>
              <a:uLnTx/>
              <a:uFillTx/>
            </a:endParaRPr>
          </a:p>
        </p:txBody>
      </p:sp>
      <p:sp>
        <p:nvSpPr>
          <p:cNvPr id="74" name="TextBox 73"/>
          <p:cNvSpPr txBox="1"/>
          <p:nvPr/>
        </p:nvSpPr>
        <p:spPr>
          <a:xfrm>
            <a:off x="4480554" y="280228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11.03 Hrs</a:t>
            </a:r>
            <a:endParaRPr kumimoji="0" lang="en-US" sz="800" b="0" i="0" u="none" strike="noStrike" kern="0" cap="none" spc="0" normalizeH="0" baseline="0" noProof="0" dirty="0">
              <a:ln>
                <a:noFill/>
              </a:ln>
              <a:solidFill>
                <a:prstClr val="black"/>
              </a:solidFill>
              <a:effectLst/>
              <a:uLnTx/>
              <a:uFillTx/>
            </a:endParaRPr>
          </a:p>
        </p:txBody>
      </p:sp>
      <p:sp>
        <p:nvSpPr>
          <p:cNvPr id="75" name="TextBox 74"/>
          <p:cNvSpPr txBox="1"/>
          <p:nvPr/>
        </p:nvSpPr>
        <p:spPr>
          <a:xfrm>
            <a:off x="5294585" y="280228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8.82 Hrs</a:t>
            </a:r>
          </a:p>
        </p:txBody>
      </p:sp>
      <p:sp>
        <p:nvSpPr>
          <p:cNvPr id="76" name="TextBox 75"/>
          <p:cNvSpPr txBox="1"/>
          <p:nvPr/>
        </p:nvSpPr>
        <p:spPr>
          <a:xfrm>
            <a:off x="6238587" y="280228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17.64 Hrs</a:t>
            </a:r>
            <a:endParaRPr kumimoji="0" lang="en-US" sz="800" b="0" i="0" u="none" strike="noStrike" kern="0" cap="none" spc="0" normalizeH="0" baseline="0" noProof="0" dirty="0">
              <a:ln>
                <a:noFill/>
              </a:ln>
              <a:solidFill>
                <a:prstClr val="black"/>
              </a:solidFill>
              <a:effectLst/>
              <a:uLnTx/>
              <a:uFillTx/>
            </a:endParaRPr>
          </a:p>
        </p:txBody>
      </p:sp>
      <p:sp>
        <p:nvSpPr>
          <p:cNvPr id="77" name="TextBox 76"/>
          <p:cNvSpPr txBox="1"/>
          <p:nvPr/>
        </p:nvSpPr>
        <p:spPr>
          <a:xfrm>
            <a:off x="7464801" y="280228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7.35 Hrs</a:t>
            </a:r>
            <a:endParaRPr kumimoji="0" lang="en-US" sz="800" b="0" i="0" u="none" strike="noStrike" kern="0" cap="none" spc="0" normalizeH="0" baseline="0" noProof="0" dirty="0">
              <a:ln>
                <a:noFill/>
              </a:ln>
              <a:solidFill>
                <a:prstClr val="black"/>
              </a:solidFill>
              <a:effectLst/>
              <a:uLnTx/>
              <a:uFillTx/>
            </a:endParaRPr>
          </a:p>
        </p:txBody>
      </p:sp>
      <p:sp>
        <p:nvSpPr>
          <p:cNvPr id="78" name="TextBox 77"/>
          <p:cNvSpPr txBox="1"/>
          <p:nvPr/>
        </p:nvSpPr>
        <p:spPr>
          <a:xfrm>
            <a:off x="8314201" y="280228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5.88</a:t>
            </a:r>
            <a:r>
              <a:rPr kumimoji="0" lang="en-US" sz="800" b="0" i="0" u="none" strike="noStrike" kern="0" cap="none" spc="0" normalizeH="0" noProof="0" dirty="0">
                <a:ln>
                  <a:noFill/>
                </a:ln>
                <a:solidFill>
                  <a:prstClr val="black"/>
                </a:solidFill>
                <a:effectLst/>
                <a:uLnTx/>
                <a:uFillTx/>
                <a:ea typeface="+mn-ea"/>
                <a:cs typeface="+mn-cs"/>
              </a:rPr>
              <a:t> Hrs</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79" name="TextBox 78"/>
          <p:cNvSpPr txBox="1"/>
          <p:nvPr/>
        </p:nvSpPr>
        <p:spPr>
          <a:xfrm>
            <a:off x="9198705" y="280228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4.41 Hrs</a:t>
            </a:r>
          </a:p>
        </p:txBody>
      </p:sp>
      <p:sp>
        <p:nvSpPr>
          <p:cNvPr id="81" name="TextBox 80"/>
          <p:cNvSpPr txBox="1"/>
          <p:nvPr/>
        </p:nvSpPr>
        <p:spPr>
          <a:xfrm>
            <a:off x="2678497" y="412875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11.03 Hrs</a:t>
            </a:r>
            <a:endParaRPr kumimoji="0" lang="en-US" sz="800" b="0" i="0" u="none" strike="noStrike" kern="0" cap="none" spc="0" normalizeH="0" baseline="0" noProof="0" dirty="0">
              <a:ln>
                <a:noFill/>
              </a:ln>
              <a:solidFill>
                <a:prstClr val="black"/>
              </a:solidFill>
              <a:effectLst/>
              <a:uLnTx/>
              <a:uFillTx/>
            </a:endParaRPr>
          </a:p>
        </p:txBody>
      </p:sp>
      <p:sp>
        <p:nvSpPr>
          <p:cNvPr id="82" name="TextBox 81"/>
          <p:cNvSpPr txBox="1"/>
          <p:nvPr/>
        </p:nvSpPr>
        <p:spPr>
          <a:xfrm>
            <a:off x="3533805" y="412875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22.05 Hrs</a:t>
            </a:r>
            <a:endParaRPr kumimoji="0" lang="en-US" sz="800" b="0" i="0" u="none" strike="noStrike" kern="0" cap="none" spc="0" normalizeH="0" baseline="0" noProof="0" dirty="0">
              <a:ln>
                <a:noFill/>
              </a:ln>
              <a:solidFill>
                <a:prstClr val="black"/>
              </a:solidFill>
              <a:effectLst/>
              <a:uLnTx/>
              <a:uFillTx/>
            </a:endParaRPr>
          </a:p>
        </p:txBody>
      </p:sp>
      <p:sp>
        <p:nvSpPr>
          <p:cNvPr id="83" name="TextBox 82"/>
          <p:cNvSpPr txBox="1"/>
          <p:nvPr/>
        </p:nvSpPr>
        <p:spPr>
          <a:xfrm>
            <a:off x="4331963" y="412875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lvl="0" algn="ctr">
              <a:defRPr/>
            </a:pPr>
            <a:r>
              <a:rPr lang="en-US" sz="800" kern="0" dirty="0">
                <a:solidFill>
                  <a:prstClr val="black"/>
                </a:solidFill>
              </a:rPr>
              <a:t>11.03 Hrs</a:t>
            </a:r>
          </a:p>
        </p:txBody>
      </p:sp>
      <p:sp>
        <p:nvSpPr>
          <p:cNvPr id="84" name="TextBox 83"/>
          <p:cNvSpPr txBox="1"/>
          <p:nvPr/>
        </p:nvSpPr>
        <p:spPr>
          <a:xfrm>
            <a:off x="5246944" y="412875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11.76 Hrs</a:t>
            </a:r>
          </a:p>
        </p:txBody>
      </p:sp>
      <p:sp>
        <p:nvSpPr>
          <p:cNvPr id="85" name="TextBox 84"/>
          <p:cNvSpPr txBox="1"/>
          <p:nvPr/>
        </p:nvSpPr>
        <p:spPr>
          <a:xfrm>
            <a:off x="6238587" y="412875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23.52 Hrs</a:t>
            </a:r>
          </a:p>
        </p:txBody>
      </p:sp>
      <p:sp>
        <p:nvSpPr>
          <p:cNvPr id="86" name="TextBox 85"/>
          <p:cNvSpPr txBox="1"/>
          <p:nvPr/>
        </p:nvSpPr>
        <p:spPr>
          <a:xfrm>
            <a:off x="7469046" y="4120727"/>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7.35 Hrs</a:t>
            </a:r>
          </a:p>
        </p:txBody>
      </p:sp>
      <p:sp>
        <p:nvSpPr>
          <p:cNvPr id="87" name="TextBox 86"/>
          <p:cNvSpPr txBox="1"/>
          <p:nvPr/>
        </p:nvSpPr>
        <p:spPr>
          <a:xfrm>
            <a:off x="8315678" y="4120727"/>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5.88 Hrs</a:t>
            </a:r>
          </a:p>
        </p:txBody>
      </p:sp>
      <p:sp>
        <p:nvSpPr>
          <p:cNvPr id="88" name="TextBox 87"/>
          <p:cNvSpPr txBox="1"/>
          <p:nvPr/>
        </p:nvSpPr>
        <p:spPr>
          <a:xfrm>
            <a:off x="9198705" y="4120727"/>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4.41 Hrs</a:t>
            </a:r>
          </a:p>
        </p:txBody>
      </p:sp>
      <p:sp>
        <p:nvSpPr>
          <p:cNvPr id="93" name="TextBox 92"/>
          <p:cNvSpPr txBox="1"/>
          <p:nvPr/>
        </p:nvSpPr>
        <p:spPr>
          <a:xfrm>
            <a:off x="744819" y="4413492"/>
            <a:ext cx="625022"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algn="ctr">
              <a:defRPr sz="800" b="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5 Hrs</a:t>
            </a:r>
          </a:p>
        </p:txBody>
      </p:sp>
      <p:sp>
        <p:nvSpPr>
          <p:cNvPr id="123" name="AutoShape 138"/>
          <p:cNvSpPr>
            <a:spLocks noChangeArrowheads="1"/>
          </p:cNvSpPr>
          <p:nvPr/>
        </p:nvSpPr>
        <p:spPr bwMode="auto">
          <a:xfrm>
            <a:off x="4372969" y="5260900"/>
            <a:ext cx="1772129" cy="859329"/>
          </a:xfrm>
          <a:prstGeom prst="star16">
            <a:avLst>
              <a:gd name="adj" fmla="val 37500"/>
            </a:avLst>
          </a:prstGeom>
          <a:noFill/>
          <a:ln w="22225" algn="ctr">
            <a:solidFill>
              <a:srgbClr val="FF0000"/>
            </a:solidFill>
            <a:miter lim="800000"/>
            <a:headEnd/>
            <a:tailEnd/>
          </a:ln>
        </p:spPr>
        <p:txBody>
          <a:bodyPr wrap="square" lIns="0" tIns="0" rIns="0" bIns="0"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ea typeface="+mn-ea"/>
                <a:cs typeface="Arial" panose="020B0604020202020204" pitchFamily="34" charset="0"/>
              </a:rPr>
              <a:t>Matching and Clearing requires Manual intervention </a:t>
            </a:r>
          </a:p>
        </p:txBody>
      </p:sp>
      <p:sp>
        <p:nvSpPr>
          <p:cNvPr id="129" name="AutoShape 138"/>
          <p:cNvSpPr>
            <a:spLocks noChangeArrowheads="1"/>
          </p:cNvSpPr>
          <p:nvPr/>
        </p:nvSpPr>
        <p:spPr bwMode="auto">
          <a:xfrm>
            <a:off x="230106" y="5611111"/>
            <a:ext cx="1892568" cy="460534"/>
          </a:xfrm>
          <a:prstGeom prst="star16">
            <a:avLst>
              <a:gd name="adj" fmla="val 37500"/>
            </a:avLst>
          </a:prstGeom>
          <a:noFill/>
          <a:ln w="22225" algn="ctr">
            <a:solidFill>
              <a:srgbClr val="FF0000"/>
            </a:solidFill>
            <a:miter lim="800000"/>
            <a:headEnd/>
            <a:tailEnd/>
          </a:ln>
        </p:spPr>
        <p:txBody>
          <a:bodyPr wrap="square" lIns="0" tIns="0" rIns="0" bIns="0" anchor="ctr">
            <a:spAutoFit/>
          </a:bodyPr>
          <a:lstStyle/>
          <a:p>
            <a:pPr lvl="0" algn="ctr" fontAlgn="b">
              <a:defRPr/>
            </a:pPr>
            <a:r>
              <a:rPr lang="en-US" sz="800" b="1" dirty="0">
                <a:solidFill>
                  <a:srgbClr val="000000"/>
                </a:solidFill>
                <a:cs typeface="Arial" panose="020B0604020202020204" pitchFamily="34" charset="0"/>
              </a:rPr>
              <a:t>K1-</a:t>
            </a:r>
          </a:p>
          <a:p>
            <a:pPr lvl="0" algn="ctr" fontAlgn="b">
              <a:defRPr/>
            </a:pPr>
            <a:r>
              <a:rPr lang="en-US" sz="800" b="1" dirty="0">
                <a:solidFill>
                  <a:srgbClr val="000000"/>
                </a:solidFill>
                <a:cs typeface="Arial" panose="020B0604020202020204" pitchFamily="34" charset="0"/>
              </a:rPr>
              <a:t>5 days blackout period</a:t>
            </a:r>
          </a:p>
        </p:txBody>
      </p:sp>
      <p:sp>
        <p:nvSpPr>
          <p:cNvPr id="135" name="AutoShape 138"/>
          <p:cNvSpPr>
            <a:spLocks noChangeArrowheads="1"/>
          </p:cNvSpPr>
          <p:nvPr/>
        </p:nvSpPr>
        <p:spPr bwMode="auto">
          <a:xfrm>
            <a:off x="2264700" y="5449988"/>
            <a:ext cx="1977258" cy="815619"/>
          </a:xfrm>
          <a:prstGeom prst="star16">
            <a:avLst>
              <a:gd name="adj" fmla="val 37500"/>
            </a:avLst>
          </a:prstGeom>
          <a:noFill/>
          <a:ln w="22225" algn="ctr">
            <a:solidFill>
              <a:srgbClr val="FF0000"/>
            </a:solidFill>
            <a:miter lim="800000"/>
            <a:headEnd/>
            <a:tailEnd/>
          </a:ln>
        </p:spPr>
        <p:txBody>
          <a:bodyPr wrap="square" tIns="18288" bIns="18288" anchor="ctr">
            <a:noAutofit/>
          </a:bodyPr>
          <a:lstStyle/>
          <a:p>
            <a:pPr algn="ctr"/>
            <a:r>
              <a:rPr lang="en-US" sz="800" b="1" dirty="0">
                <a:solidFill>
                  <a:srgbClr val="000000"/>
                </a:solidFill>
                <a:cs typeface="Arial" panose="020B0604020202020204" pitchFamily="34" charset="0"/>
              </a:rPr>
              <a:t>Late availability of final cash pool calculation</a:t>
            </a:r>
          </a:p>
        </p:txBody>
      </p:sp>
      <p:sp>
        <p:nvSpPr>
          <p:cNvPr id="104" name="TextBox 103"/>
          <p:cNvSpPr txBox="1"/>
          <p:nvPr/>
        </p:nvSpPr>
        <p:spPr>
          <a:xfrm>
            <a:off x="6244014" y="2499677"/>
            <a:ext cx="700896"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8.82 Hrs</a:t>
            </a:r>
          </a:p>
        </p:txBody>
      </p:sp>
      <p:sp>
        <p:nvSpPr>
          <p:cNvPr id="107" name="TextBox 106"/>
          <p:cNvSpPr txBox="1"/>
          <p:nvPr/>
        </p:nvSpPr>
        <p:spPr>
          <a:xfrm>
            <a:off x="6244014" y="4421589"/>
            <a:ext cx="700896" cy="33855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5.88 </a:t>
            </a:r>
            <a:r>
              <a:rPr lang="en-US" dirty="0" err="1">
                <a:latin typeface="+mn-lt"/>
              </a:rPr>
              <a:t>Hrs</a:t>
            </a:r>
            <a:endParaRPr lang="en-US" dirty="0">
              <a:latin typeface="+mn-lt"/>
            </a:endParaRPr>
          </a:p>
          <a:p>
            <a:r>
              <a:rPr lang="en-US" dirty="0">
                <a:latin typeface="+mn-lt"/>
              </a:rPr>
              <a:t>8.82 </a:t>
            </a:r>
            <a:r>
              <a:rPr lang="en-US" dirty="0" err="1">
                <a:latin typeface="+mn-lt"/>
              </a:rPr>
              <a:t>Hrs</a:t>
            </a:r>
            <a:endParaRPr lang="en-US" dirty="0">
              <a:latin typeface="+mn-lt"/>
            </a:endParaRPr>
          </a:p>
        </p:txBody>
      </p:sp>
      <p:sp>
        <p:nvSpPr>
          <p:cNvPr id="253" name="Rectangle 134"/>
          <p:cNvSpPr>
            <a:spLocks noChangeArrowheads="1"/>
          </p:cNvSpPr>
          <p:nvPr/>
        </p:nvSpPr>
        <p:spPr bwMode="auto">
          <a:xfrm>
            <a:off x="10934394" y="3361308"/>
            <a:ext cx="792000" cy="553998"/>
          </a:xfrm>
          <a:prstGeom prst="rect">
            <a:avLst/>
          </a:prstGeom>
          <a:solidFill>
            <a:srgbClr val="00B0F0"/>
          </a:solidFill>
          <a:ln w="12700">
            <a:solidFill>
              <a:sysClr val="windowText" lastClr="000000"/>
            </a:solidFill>
            <a:miter lim="800000"/>
            <a:headEnd/>
            <a:tailEnd/>
          </a:ln>
        </p:spPr>
        <p:txBody>
          <a:bodyPr wrap="square" lIns="0" tIns="0" rIns="0" bIns="0">
            <a:spAutoFit/>
          </a:bodyPr>
          <a:lstStyle/>
          <a:p>
            <a:pPr algn="ctr"/>
            <a:r>
              <a:rPr lang="en-US" sz="900" kern="0" dirty="0">
                <a:solidFill>
                  <a:prstClr val="black"/>
                </a:solidFill>
              </a:rPr>
              <a:t>Reconciliation Preparation &amp; Submission on ARM</a:t>
            </a:r>
          </a:p>
        </p:txBody>
      </p:sp>
      <p:sp>
        <p:nvSpPr>
          <p:cNvPr id="80" name="TextBox 79"/>
          <p:cNvSpPr txBox="1"/>
          <p:nvPr/>
        </p:nvSpPr>
        <p:spPr>
          <a:xfrm>
            <a:off x="10995242" y="2802285"/>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24.99 Hrs</a:t>
            </a:r>
          </a:p>
        </p:txBody>
      </p:sp>
      <p:sp>
        <p:nvSpPr>
          <p:cNvPr id="89" name="TextBox 88"/>
          <p:cNvSpPr txBox="1"/>
          <p:nvPr/>
        </p:nvSpPr>
        <p:spPr>
          <a:xfrm>
            <a:off x="11026498" y="4120727"/>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lvl="0" algn="ctr">
              <a:defRPr/>
            </a:pPr>
            <a:r>
              <a:rPr lang="en-US" sz="800" kern="0" dirty="0">
                <a:solidFill>
                  <a:prstClr val="black"/>
                </a:solidFill>
              </a:rPr>
              <a:t>24.99 Hrs</a:t>
            </a:r>
          </a:p>
        </p:txBody>
      </p:sp>
      <p:sp>
        <p:nvSpPr>
          <p:cNvPr id="90" name="Rectangle 136"/>
          <p:cNvSpPr>
            <a:spLocks noChangeArrowheads="1"/>
          </p:cNvSpPr>
          <p:nvPr/>
        </p:nvSpPr>
        <p:spPr bwMode="auto">
          <a:xfrm>
            <a:off x="10040256" y="3358913"/>
            <a:ext cx="792000" cy="276999"/>
          </a:xfrm>
          <a:prstGeom prst="rect">
            <a:avLst/>
          </a:prstGeom>
          <a:solidFill>
            <a:srgbClr val="00B0F0"/>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ea typeface="+mn-ea"/>
                <a:cs typeface="+mn-cs"/>
              </a:rPr>
              <a:t>Hedg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ea typeface="+mn-ea"/>
                <a:cs typeface="+mn-cs"/>
              </a:rPr>
              <a:t>Ad-hoc Requests</a:t>
            </a:r>
          </a:p>
        </p:txBody>
      </p:sp>
      <p:sp>
        <p:nvSpPr>
          <p:cNvPr id="91" name="TextBox 90"/>
          <p:cNvSpPr txBox="1"/>
          <p:nvPr/>
        </p:nvSpPr>
        <p:spPr>
          <a:xfrm>
            <a:off x="10082063" y="2805300"/>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10.29 Hrs</a:t>
            </a:r>
          </a:p>
        </p:txBody>
      </p:sp>
      <p:sp>
        <p:nvSpPr>
          <p:cNvPr id="92" name="TextBox 91"/>
          <p:cNvSpPr txBox="1"/>
          <p:nvPr/>
        </p:nvSpPr>
        <p:spPr>
          <a:xfrm>
            <a:off x="10082063" y="4116122"/>
            <a:ext cx="700896"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p>
            <a:pPr lvl="0" algn="ctr">
              <a:defRPr/>
            </a:pPr>
            <a:r>
              <a:rPr lang="en-US" sz="800" kern="0" dirty="0">
                <a:solidFill>
                  <a:prstClr val="black"/>
                </a:solidFill>
              </a:rPr>
              <a:t>10.29 Hrs</a:t>
            </a:r>
          </a:p>
        </p:txBody>
      </p:sp>
      <p:sp>
        <p:nvSpPr>
          <p:cNvPr id="143" name="TextBox 142"/>
          <p:cNvSpPr txBox="1"/>
          <p:nvPr/>
        </p:nvSpPr>
        <p:spPr>
          <a:xfrm>
            <a:off x="58848" y="4089566"/>
            <a:ext cx="342399"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algn="ctr">
              <a:defRPr sz="800" b="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PT</a:t>
            </a:r>
          </a:p>
        </p:txBody>
      </p:sp>
      <p:sp>
        <p:nvSpPr>
          <p:cNvPr id="144" name="TextBox 143"/>
          <p:cNvSpPr txBox="1"/>
          <p:nvPr/>
        </p:nvSpPr>
        <p:spPr>
          <a:xfrm>
            <a:off x="1648865" y="3086659"/>
            <a:ext cx="1793499" cy="215444"/>
          </a:xfrm>
          <a:prstGeom prst="rect">
            <a:avLst/>
          </a:prstGeom>
          <a:solidFill>
            <a:schemeClr val="accent4"/>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Bank Statement Upload &amp; checking</a:t>
            </a:r>
            <a:endParaRPr kumimoji="0" lang="en-US" sz="800" b="0" i="0" u="none" strike="noStrike" kern="0" cap="none" spc="0" normalizeH="0" baseline="0" noProof="0" dirty="0">
              <a:ln>
                <a:noFill/>
              </a:ln>
              <a:solidFill>
                <a:prstClr val="black"/>
              </a:solidFill>
              <a:effectLst/>
              <a:uLnTx/>
              <a:uFillTx/>
            </a:endParaRPr>
          </a:p>
        </p:txBody>
      </p:sp>
      <p:sp>
        <p:nvSpPr>
          <p:cNvPr id="145" name="TextBox 144"/>
          <p:cNvSpPr txBox="1"/>
          <p:nvPr/>
        </p:nvSpPr>
        <p:spPr>
          <a:xfrm>
            <a:off x="3507680" y="3086204"/>
            <a:ext cx="3566384" cy="215444"/>
          </a:xfrm>
          <a:prstGeom prst="rect">
            <a:avLst/>
          </a:prstGeom>
          <a:solidFill>
            <a:schemeClr val="accent4"/>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Item</a:t>
            </a:r>
            <a:r>
              <a:rPr kumimoji="0" lang="en-US" sz="800" b="0" i="0" u="none" strike="noStrike" kern="0" cap="none" spc="0" normalizeH="0" noProof="0" dirty="0">
                <a:ln>
                  <a:noFill/>
                </a:ln>
                <a:solidFill>
                  <a:prstClr val="black"/>
                </a:solidFill>
                <a:effectLst/>
                <a:uLnTx/>
                <a:uFillTx/>
                <a:ea typeface="+mn-ea"/>
                <a:cs typeface="+mn-cs"/>
              </a:rPr>
              <a:t> Assignment, Follow Up &amp; Clearing</a:t>
            </a:r>
            <a:endParaRPr kumimoji="0" lang="en-US" sz="800" b="0" i="0" u="none" strike="noStrike" kern="0" cap="none" spc="0" normalizeH="0" baseline="0" noProof="0" dirty="0">
              <a:ln>
                <a:noFill/>
              </a:ln>
              <a:solidFill>
                <a:prstClr val="black"/>
              </a:solidFill>
              <a:effectLst/>
              <a:uLnTx/>
              <a:uFillTx/>
              <a:ea typeface="+mn-ea"/>
              <a:cs typeface="+mn-cs"/>
            </a:endParaRPr>
          </a:p>
        </p:txBody>
      </p:sp>
      <p:sp>
        <p:nvSpPr>
          <p:cNvPr id="146" name="TextBox 145"/>
          <p:cNvSpPr txBox="1"/>
          <p:nvPr/>
        </p:nvSpPr>
        <p:spPr>
          <a:xfrm>
            <a:off x="7309197" y="3079756"/>
            <a:ext cx="3463042" cy="215444"/>
          </a:xfrm>
          <a:prstGeom prst="rect">
            <a:avLst/>
          </a:prstGeom>
          <a:solidFill>
            <a:schemeClr val="accent4"/>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Closing Activities</a:t>
            </a:r>
          </a:p>
        </p:txBody>
      </p:sp>
      <p:sp>
        <p:nvSpPr>
          <p:cNvPr id="147" name="TextBox 146"/>
          <p:cNvSpPr txBox="1"/>
          <p:nvPr/>
        </p:nvSpPr>
        <p:spPr>
          <a:xfrm>
            <a:off x="10921331" y="3080558"/>
            <a:ext cx="888838" cy="215444"/>
          </a:xfrm>
          <a:prstGeom prst="rect">
            <a:avLst/>
          </a:prstGeom>
          <a:solidFill>
            <a:schemeClr val="accent4"/>
          </a:solidFill>
          <a:ln w="3175" cap="flat" cmpd="sng" algn="ctr">
            <a:solidFill>
              <a:sysClr val="windowText" lastClr="0000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black"/>
                </a:solidFill>
              </a:rPr>
              <a:t>Reconciliations</a:t>
            </a:r>
            <a:endParaRPr kumimoji="0" lang="en-US" sz="800" b="0" i="0" u="none" strike="noStrike" kern="0" cap="none" spc="0" normalizeH="0" baseline="0" noProof="0" dirty="0">
              <a:ln>
                <a:noFill/>
              </a:ln>
              <a:solidFill>
                <a:prstClr val="black"/>
              </a:solidFill>
              <a:effectLst/>
              <a:uLnTx/>
              <a:uFillTx/>
            </a:endParaRPr>
          </a:p>
        </p:txBody>
      </p:sp>
      <p:sp>
        <p:nvSpPr>
          <p:cNvPr id="149" name="TextBox 148"/>
          <p:cNvSpPr txBox="1"/>
          <p:nvPr/>
        </p:nvSpPr>
        <p:spPr>
          <a:xfrm>
            <a:off x="58848" y="2802505"/>
            <a:ext cx="342399" cy="215444"/>
          </a:xfrm>
          <a:prstGeom prst="rect">
            <a:avLst/>
          </a:prstGeom>
          <a:solidFill>
            <a:srgbClr val="4C752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algn="ctr">
              <a:defRPr sz="800" b="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mn-ea"/>
                <a:cs typeface="+mn-cs"/>
              </a:rPr>
              <a:t>PT</a:t>
            </a:r>
          </a:p>
        </p:txBody>
      </p:sp>
      <p:sp>
        <p:nvSpPr>
          <p:cNvPr id="110" name="TextBox 109"/>
          <p:cNvSpPr txBox="1"/>
          <p:nvPr/>
        </p:nvSpPr>
        <p:spPr>
          <a:xfrm>
            <a:off x="13063" y="2441336"/>
            <a:ext cx="455304" cy="33855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algn="ctr">
              <a:defRPr sz="800" b="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kern="0" dirty="0">
                <a:solidFill>
                  <a:prstClr val="black"/>
                </a:solidFill>
              </a:rPr>
              <a:t>NVA/WT</a:t>
            </a:r>
            <a:endParaRPr kumimoji="0" lang="en-US" sz="800" b="0" i="0" u="none" strike="noStrike" kern="0" cap="none" spc="0" normalizeH="0" baseline="0" noProof="0" dirty="0">
              <a:ln>
                <a:noFill/>
              </a:ln>
              <a:solidFill>
                <a:prstClr val="black"/>
              </a:solidFill>
              <a:effectLst/>
              <a:uLnTx/>
              <a:uFillTx/>
            </a:endParaRPr>
          </a:p>
        </p:txBody>
      </p:sp>
      <p:sp>
        <p:nvSpPr>
          <p:cNvPr id="111" name="TextBox 110"/>
          <p:cNvSpPr txBox="1"/>
          <p:nvPr/>
        </p:nvSpPr>
        <p:spPr>
          <a:xfrm>
            <a:off x="-4176" y="4374303"/>
            <a:ext cx="455304" cy="33855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algn="ctr">
              <a:defRPr sz="800" b="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kern="0" dirty="0">
                <a:solidFill>
                  <a:prstClr val="black"/>
                </a:solidFill>
              </a:rPr>
              <a:t>NVA/WT</a:t>
            </a:r>
            <a:endParaRPr kumimoji="0" lang="en-US" sz="800" b="0" i="0" u="none" strike="noStrike" kern="0" cap="none" spc="0" normalizeH="0" baseline="0" noProof="0" dirty="0">
              <a:ln>
                <a:noFill/>
              </a:ln>
              <a:solidFill>
                <a:prstClr val="black"/>
              </a:solidFill>
              <a:effectLst/>
              <a:uLnTx/>
              <a:uFillTx/>
            </a:endParaRPr>
          </a:p>
        </p:txBody>
      </p:sp>
      <p:sp>
        <p:nvSpPr>
          <p:cNvPr id="153" name="TextBox 152"/>
          <p:cNvSpPr txBox="1"/>
          <p:nvPr/>
        </p:nvSpPr>
        <p:spPr>
          <a:xfrm>
            <a:off x="8333550" y="4433358"/>
            <a:ext cx="700896"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1 </a:t>
            </a:r>
            <a:r>
              <a:rPr lang="en-US" dirty="0" err="1">
                <a:latin typeface="+mn-lt"/>
              </a:rPr>
              <a:t>Hr</a:t>
            </a:r>
            <a:endParaRPr lang="en-US" dirty="0">
              <a:latin typeface="+mn-lt"/>
            </a:endParaRPr>
          </a:p>
        </p:txBody>
      </p:sp>
      <p:sp>
        <p:nvSpPr>
          <p:cNvPr id="158" name="TextBox 157"/>
          <p:cNvSpPr txBox="1"/>
          <p:nvPr/>
        </p:nvSpPr>
        <p:spPr>
          <a:xfrm>
            <a:off x="5280336" y="4428156"/>
            <a:ext cx="700896"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2.94 Hrs</a:t>
            </a:r>
          </a:p>
        </p:txBody>
      </p:sp>
      <p:sp>
        <p:nvSpPr>
          <p:cNvPr id="108" name="TextBox 107"/>
          <p:cNvSpPr txBox="1"/>
          <p:nvPr/>
        </p:nvSpPr>
        <p:spPr>
          <a:xfrm>
            <a:off x="1829109" y="4407919"/>
            <a:ext cx="700896"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13.97 Hrs</a:t>
            </a:r>
          </a:p>
        </p:txBody>
      </p:sp>
      <p:sp>
        <p:nvSpPr>
          <p:cNvPr id="120" name="TextBox 119"/>
          <p:cNvSpPr txBox="1"/>
          <p:nvPr/>
        </p:nvSpPr>
        <p:spPr>
          <a:xfrm>
            <a:off x="2674729" y="4403040"/>
            <a:ext cx="700896"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5.88 Hrs</a:t>
            </a:r>
          </a:p>
        </p:txBody>
      </p:sp>
      <p:sp>
        <p:nvSpPr>
          <p:cNvPr id="121" name="TextBox 120"/>
          <p:cNvSpPr txBox="1"/>
          <p:nvPr/>
        </p:nvSpPr>
        <p:spPr>
          <a:xfrm>
            <a:off x="3520349" y="4411389"/>
            <a:ext cx="700896"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5.51 Hrs</a:t>
            </a:r>
          </a:p>
        </p:txBody>
      </p:sp>
      <p:sp>
        <p:nvSpPr>
          <p:cNvPr id="130" name="TextBox 129"/>
          <p:cNvSpPr txBox="1"/>
          <p:nvPr/>
        </p:nvSpPr>
        <p:spPr>
          <a:xfrm>
            <a:off x="8300121" y="2510496"/>
            <a:ext cx="700896"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1 Hr.</a:t>
            </a:r>
          </a:p>
        </p:txBody>
      </p:sp>
      <p:sp>
        <p:nvSpPr>
          <p:cNvPr id="131" name="TextBox 130"/>
          <p:cNvSpPr txBox="1"/>
          <p:nvPr/>
        </p:nvSpPr>
        <p:spPr>
          <a:xfrm>
            <a:off x="4508109" y="2492805"/>
            <a:ext cx="700896" cy="215444"/>
          </a:xfrm>
          <a:prstGeom prst="rect">
            <a:avLst/>
          </a:prstGeom>
          <a:solidFill>
            <a:srgbClr val="905500">
              <a:lumMod val="40000"/>
              <a:lumOff val="60000"/>
            </a:srgbClr>
          </a:solidFill>
          <a:ln w="3175" cap="flat" cmpd="sng" algn="ctr">
            <a:solidFill>
              <a:sysClr val="windowText" lastClr="000000"/>
            </a:solidFill>
            <a:prstDash val="solid"/>
            <a:miter lim="800000"/>
          </a:ln>
          <a:effectLst/>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prstClr val="black"/>
                </a:solidFill>
                <a:effectLst/>
                <a:uLnTx/>
                <a:uFillTx/>
                <a:latin typeface="Arial"/>
              </a:defRPr>
            </a:lvl1pPr>
          </a:lstStyle>
          <a:p>
            <a:r>
              <a:rPr lang="en-US" dirty="0">
                <a:latin typeface="+mn-lt"/>
              </a:rPr>
              <a:t>0.74 Hr.</a:t>
            </a:r>
          </a:p>
        </p:txBody>
      </p:sp>
      <p:sp>
        <p:nvSpPr>
          <p:cNvPr id="163" name="AutoShape 138"/>
          <p:cNvSpPr>
            <a:spLocks noChangeArrowheads="1"/>
          </p:cNvSpPr>
          <p:nvPr/>
        </p:nvSpPr>
        <p:spPr bwMode="auto">
          <a:xfrm>
            <a:off x="1949579" y="400069"/>
            <a:ext cx="1612192" cy="736777"/>
          </a:xfrm>
          <a:prstGeom prst="star16">
            <a:avLst>
              <a:gd name="adj" fmla="val 37500"/>
            </a:avLst>
          </a:prstGeom>
          <a:solidFill>
            <a:schemeClr val="accent5">
              <a:lumMod val="40000"/>
              <a:lumOff val="60000"/>
            </a:schemeClr>
          </a:solidFill>
          <a:ln w="22225" algn="ctr">
            <a:solidFill>
              <a:srgbClr val="FF0000"/>
            </a:solidFill>
            <a:miter lim="800000"/>
            <a:headEnd/>
            <a:tailEnd/>
          </a:ln>
        </p:spPr>
        <p:txBody>
          <a:bodyPr wrap="square" tIns="18288" bIns="18288" anchor="ctr">
            <a:noAutofit/>
          </a:bodyPr>
          <a:lstStyle/>
          <a:p>
            <a:r>
              <a:rPr lang="en-US" sz="800" b="1" dirty="0"/>
              <a:t> Auto Booking Failed</a:t>
            </a:r>
          </a:p>
        </p:txBody>
      </p:sp>
      <p:sp>
        <p:nvSpPr>
          <p:cNvPr id="166" name="AutoShape 138"/>
          <p:cNvSpPr>
            <a:spLocks noChangeArrowheads="1"/>
          </p:cNvSpPr>
          <p:nvPr/>
        </p:nvSpPr>
        <p:spPr bwMode="auto">
          <a:xfrm>
            <a:off x="2043408" y="1308667"/>
            <a:ext cx="1645729" cy="736777"/>
          </a:xfrm>
          <a:prstGeom prst="star16">
            <a:avLst>
              <a:gd name="adj" fmla="val 37500"/>
            </a:avLst>
          </a:prstGeom>
          <a:noFill/>
          <a:ln w="22225" algn="ctr">
            <a:solidFill>
              <a:srgbClr val="FF0000"/>
            </a:solidFill>
            <a:miter lim="800000"/>
            <a:headEnd/>
            <a:tailEnd/>
          </a:ln>
        </p:spPr>
        <p:txBody>
          <a:bodyPr wrap="square" tIns="18288" bIns="18288" anchor="ctr">
            <a:noAutofit/>
          </a:bodyPr>
          <a:lstStyle/>
          <a:p>
            <a:r>
              <a:rPr lang="en-US" sz="900" b="1" dirty="0"/>
              <a:t>Duplicate/Double Bookings</a:t>
            </a:r>
          </a:p>
        </p:txBody>
      </p:sp>
      <p:sp>
        <p:nvSpPr>
          <p:cNvPr id="171" name="AutoShape 138"/>
          <p:cNvSpPr>
            <a:spLocks noChangeArrowheads="1"/>
          </p:cNvSpPr>
          <p:nvPr/>
        </p:nvSpPr>
        <p:spPr bwMode="auto">
          <a:xfrm>
            <a:off x="3663715" y="496204"/>
            <a:ext cx="1956389" cy="736777"/>
          </a:xfrm>
          <a:prstGeom prst="star16">
            <a:avLst>
              <a:gd name="adj" fmla="val 37500"/>
            </a:avLst>
          </a:prstGeom>
          <a:noFill/>
          <a:ln w="22225" algn="ctr">
            <a:solidFill>
              <a:srgbClr val="FF0000"/>
            </a:solidFill>
            <a:miter lim="800000"/>
            <a:headEnd/>
            <a:tailEnd/>
          </a:ln>
        </p:spPr>
        <p:txBody>
          <a:bodyPr wrap="square" tIns="18288" bIns="18288" anchor="ctr">
            <a:noAutofit/>
          </a:bodyPr>
          <a:lstStyle/>
          <a:p>
            <a:pPr lvl="0">
              <a:defRPr/>
            </a:pPr>
            <a:r>
              <a:rPr lang="en-US" sz="800" b="1" dirty="0">
                <a:solidFill>
                  <a:srgbClr val="000000"/>
                </a:solidFill>
                <a:cs typeface="Arial" panose="020B0604020202020204" pitchFamily="34" charset="0"/>
              </a:rPr>
              <a:t> </a:t>
            </a:r>
            <a:r>
              <a:rPr lang="en-US" sz="900" b="1" dirty="0"/>
              <a:t>Incomplete Bookings</a:t>
            </a:r>
          </a:p>
        </p:txBody>
      </p:sp>
      <p:sp>
        <p:nvSpPr>
          <p:cNvPr id="174" name="AutoShape 138"/>
          <p:cNvSpPr>
            <a:spLocks noChangeArrowheads="1"/>
          </p:cNvSpPr>
          <p:nvPr/>
        </p:nvSpPr>
        <p:spPr bwMode="auto">
          <a:xfrm>
            <a:off x="3818764" y="1418978"/>
            <a:ext cx="1956390" cy="736777"/>
          </a:xfrm>
          <a:prstGeom prst="star16">
            <a:avLst>
              <a:gd name="adj" fmla="val 37500"/>
            </a:avLst>
          </a:prstGeom>
          <a:solidFill>
            <a:schemeClr val="accent5">
              <a:lumMod val="40000"/>
              <a:lumOff val="60000"/>
            </a:schemeClr>
          </a:solidFill>
          <a:ln w="22225" algn="ctr">
            <a:solidFill>
              <a:srgbClr val="FF0000"/>
            </a:solidFill>
            <a:miter lim="800000"/>
            <a:headEnd/>
            <a:tailEnd/>
          </a:ln>
        </p:spPr>
        <p:txBody>
          <a:bodyPr wrap="square" tIns="18288" bIns="18288" anchor="ctr">
            <a:noAutofit/>
          </a:bodyPr>
          <a:lstStyle/>
          <a:p>
            <a:r>
              <a:rPr lang="en-US" sz="800" b="1" dirty="0"/>
              <a:t>Checking/clearing xx5 Clearing GL- Cash Team</a:t>
            </a:r>
          </a:p>
        </p:txBody>
      </p:sp>
      <p:sp>
        <p:nvSpPr>
          <p:cNvPr id="180" name="AutoShape 138"/>
          <p:cNvSpPr>
            <a:spLocks noChangeArrowheads="1"/>
          </p:cNvSpPr>
          <p:nvPr/>
        </p:nvSpPr>
        <p:spPr bwMode="auto">
          <a:xfrm>
            <a:off x="5844551" y="1354515"/>
            <a:ext cx="1956389" cy="736777"/>
          </a:xfrm>
          <a:prstGeom prst="star16">
            <a:avLst>
              <a:gd name="adj" fmla="val 37500"/>
            </a:avLst>
          </a:prstGeom>
          <a:solidFill>
            <a:schemeClr val="accent5">
              <a:lumMod val="40000"/>
              <a:lumOff val="60000"/>
            </a:schemeClr>
          </a:solidFill>
          <a:ln w="22225" algn="ctr">
            <a:solidFill>
              <a:srgbClr val="FF0000"/>
            </a:solidFill>
            <a:miter lim="800000"/>
            <a:headEnd/>
            <a:tailEnd/>
          </a:ln>
        </p:spPr>
        <p:txBody>
          <a:bodyPr wrap="square" tIns="18288" bIns="18288" anchor="ctr">
            <a:noAutofit/>
          </a:bodyPr>
          <a:lstStyle/>
          <a:p>
            <a:pPr>
              <a:defRPr/>
            </a:pPr>
            <a:r>
              <a:rPr lang="en-US" sz="800" b="1" dirty="0"/>
              <a:t>Open item Follow up</a:t>
            </a:r>
          </a:p>
        </p:txBody>
      </p:sp>
      <p:sp>
        <p:nvSpPr>
          <p:cNvPr id="183" name="AutoShape 138"/>
          <p:cNvSpPr>
            <a:spLocks noChangeArrowheads="1"/>
          </p:cNvSpPr>
          <p:nvPr/>
        </p:nvSpPr>
        <p:spPr bwMode="auto">
          <a:xfrm>
            <a:off x="7947552" y="486459"/>
            <a:ext cx="1956389" cy="736777"/>
          </a:xfrm>
          <a:prstGeom prst="star16">
            <a:avLst>
              <a:gd name="adj" fmla="val 37500"/>
            </a:avLst>
          </a:prstGeom>
          <a:noFill/>
          <a:ln w="22225" algn="ctr">
            <a:solidFill>
              <a:srgbClr val="FF0000"/>
            </a:solidFill>
            <a:miter lim="800000"/>
            <a:headEnd/>
            <a:tailEnd/>
          </a:ln>
        </p:spPr>
        <p:txBody>
          <a:bodyPr wrap="square" tIns="18288" bIns="18288" anchor="ctr">
            <a:noAutofit/>
          </a:bodyPr>
          <a:lstStyle/>
          <a:p>
            <a:pPr lvl="0">
              <a:defRPr/>
            </a:pPr>
            <a:r>
              <a:rPr lang="en-US" sz="800" b="1" dirty="0">
                <a:solidFill>
                  <a:srgbClr val="000000"/>
                </a:solidFill>
                <a:cs typeface="Arial" panose="020B0604020202020204" pitchFamily="34" charset="0"/>
              </a:rPr>
              <a:t> </a:t>
            </a:r>
            <a:r>
              <a:rPr lang="en-US" sz="900" b="1" dirty="0"/>
              <a:t>Single PC for Cashpool Postings</a:t>
            </a:r>
          </a:p>
        </p:txBody>
      </p:sp>
      <p:sp>
        <p:nvSpPr>
          <p:cNvPr id="186" name="AutoShape 138"/>
          <p:cNvSpPr>
            <a:spLocks noChangeArrowheads="1"/>
          </p:cNvSpPr>
          <p:nvPr/>
        </p:nvSpPr>
        <p:spPr bwMode="auto">
          <a:xfrm>
            <a:off x="7997575" y="1344109"/>
            <a:ext cx="1956389" cy="736777"/>
          </a:xfrm>
          <a:prstGeom prst="star16">
            <a:avLst>
              <a:gd name="adj" fmla="val 37500"/>
            </a:avLst>
          </a:prstGeom>
          <a:solidFill>
            <a:schemeClr val="accent5">
              <a:lumMod val="40000"/>
              <a:lumOff val="60000"/>
            </a:schemeClr>
          </a:solidFill>
          <a:ln w="22225" algn="ctr">
            <a:solidFill>
              <a:srgbClr val="FF0000"/>
            </a:solidFill>
            <a:miter lim="800000"/>
            <a:headEnd/>
            <a:tailEnd/>
          </a:ln>
        </p:spPr>
        <p:txBody>
          <a:bodyPr wrap="square" tIns="18288" bIns="18288" anchor="ctr">
            <a:noAutofit/>
          </a:bodyPr>
          <a:lstStyle/>
          <a:p>
            <a:pPr lvl="0">
              <a:defRPr/>
            </a:pPr>
            <a:r>
              <a:rPr lang="en-US" sz="800" b="1" dirty="0"/>
              <a:t>Manual Cash pool Interest booking</a:t>
            </a:r>
          </a:p>
        </p:txBody>
      </p:sp>
      <p:sp>
        <p:nvSpPr>
          <p:cNvPr id="189" name="AutoShape 138"/>
          <p:cNvSpPr>
            <a:spLocks noChangeArrowheads="1"/>
          </p:cNvSpPr>
          <p:nvPr/>
        </p:nvSpPr>
        <p:spPr bwMode="auto">
          <a:xfrm>
            <a:off x="10011425" y="456545"/>
            <a:ext cx="1956389" cy="736777"/>
          </a:xfrm>
          <a:prstGeom prst="star16">
            <a:avLst>
              <a:gd name="adj" fmla="val 37500"/>
            </a:avLst>
          </a:prstGeom>
          <a:noFill/>
          <a:ln w="22225" algn="ctr">
            <a:solidFill>
              <a:srgbClr val="FF0000"/>
            </a:solidFill>
            <a:miter lim="800000"/>
            <a:headEnd/>
            <a:tailEnd/>
          </a:ln>
        </p:spPr>
        <p:txBody>
          <a:bodyPr wrap="square" tIns="18288" bIns="18288" anchor="ctr">
            <a:noAutofit/>
          </a:bodyPr>
          <a:lstStyle/>
          <a:p>
            <a:pPr lvl="0" algn="ctr" fontAlgn="b">
              <a:defRPr/>
            </a:pPr>
            <a:r>
              <a:rPr lang="en-US" sz="800" b="1" dirty="0">
                <a:solidFill>
                  <a:srgbClr val="000000"/>
                </a:solidFill>
                <a:cs typeface="Arial" panose="020B0604020202020204" pitchFamily="34" charset="0"/>
              </a:rPr>
              <a:t> </a:t>
            </a:r>
            <a:r>
              <a:rPr lang="en-US" sz="800" b="1" dirty="0"/>
              <a:t>Open item categorization</a:t>
            </a:r>
            <a:endParaRPr lang="en-US" sz="800" b="1" dirty="0">
              <a:solidFill>
                <a:srgbClr val="000000"/>
              </a:solidFill>
              <a:cs typeface="Arial" panose="020B0604020202020204" pitchFamily="34" charset="0"/>
            </a:endParaRPr>
          </a:p>
        </p:txBody>
      </p:sp>
      <p:sp>
        <p:nvSpPr>
          <p:cNvPr id="116" name="AutoShape 138"/>
          <p:cNvSpPr>
            <a:spLocks noChangeArrowheads="1"/>
          </p:cNvSpPr>
          <p:nvPr/>
        </p:nvSpPr>
        <p:spPr bwMode="auto">
          <a:xfrm>
            <a:off x="502669" y="729064"/>
            <a:ext cx="1513474" cy="1084037"/>
          </a:xfrm>
          <a:prstGeom prst="star16">
            <a:avLst>
              <a:gd name="adj" fmla="val 37500"/>
            </a:avLst>
          </a:prstGeom>
          <a:solidFill>
            <a:schemeClr val="accent5">
              <a:lumMod val="40000"/>
              <a:lumOff val="60000"/>
            </a:schemeClr>
          </a:solidFill>
          <a:ln w="22225" algn="ctr">
            <a:solidFill>
              <a:srgbClr val="FF0000"/>
            </a:solidFill>
            <a:miter lim="800000"/>
            <a:headEnd/>
            <a:tailEnd/>
          </a:ln>
        </p:spPr>
        <p:txBody>
          <a:bodyPr wrap="square" tIns="18288" bIns="18288" anchor="ctr">
            <a:noAutofit/>
          </a:bodyPr>
          <a:lstStyle/>
          <a:p>
            <a:r>
              <a:rPr lang="en-US" sz="800" b="1" dirty="0"/>
              <a:t> Limited Auto Target GL booking</a:t>
            </a:r>
          </a:p>
        </p:txBody>
      </p:sp>
      <p:sp>
        <p:nvSpPr>
          <p:cNvPr id="114" name="Title 2"/>
          <p:cNvSpPr txBox="1">
            <a:spLocks/>
          </p:cNvSpPr>
          <p:nvPr/>
        </p:nvSpPr>
        <p:spPr>
          <a:xfrm>
            <a:off x="14877" y="-3050"/>
            <a:ext cx="3579981" cy="279209"/>
          </a:xfrm>
          <a:prstGeom prst="rect">
            <a:avLst/>
          </a:prstGeom>
          <a:solidFill>
            <a:schemeClr val="accent1"/>
          </a:solidFill>
          <a:ln w="9525" cap="flat" cmpd="sng" algn="ctr">
            <a:noFill/>
            <a:prstDash val="solid"/>
          </a:ln>
          <a:effectLst>
            <a:outerShdw blurRad="40000" dist="23000" dir="5400000" rotWithShape="0">
              <a:srgbClr val="000000">
                <a:alpha val="35000"/>
              </a:srgbClr>
            </a:outerShdw>
          </a:effectLst>
        </p:spPr>
        <p:txBody>
          <a:bodyPr anchor="ctr"/>
          <a:lstStyle>
            <a:defPPr>
              <a:defRPr lang="en-US"/>
            </a:defPPr>
            <a:lvl1pPr lvl="0">
              <a:lnSpc>
                <a:spcPct val="90000"/>
              </a:lnSpc>
              <a:spcBef>
                <a:spcPct val="0"/>
              </a:spcBef>
              <a:defRPr sz="2400">
                <a:solidFill>
                  <a:prstClr val="white"/>
                </a:solidFill>
                <a:latin typeface="Trebuchet MS" pitchFamily="34" charset="0"/>
                <a:ea typeface="+mj-ea"/>
                <a:cs typeface="+mj-cs"/>
              </a:defRPr>
            </a:lvl1pPr>
          </a:lstStyle>
          <a:p>
            <a:r>
              <a:rPr lang="en-US" dirty="0">
                <a:latin typeface="+mn-lt"/>
              </a:rPr>
              <a:t>Auto Booking</a:t>
            </a:r>
          </a:p>
        </p:txBody>
      </p:sp>
      <p:sp>
        <p:nvSpPr>
          <p:cNvPr id="115" name="Title 2"/>
          <p:cNvSpPr txBox="1">
            <a:spLocks/>
          </p:cNvSpPr>
          <p:nvPr/>
        </p:nvSpPr>
        <p:spPr>
          <a:xfrm>
            <a:off x="27939" y="4970156"/>
            <a:ext cx="3579981" cy="279209"/>
          </a:xfrm>
          <a:prstGeom prst="rect">
            <a:avLst/>
          </a:prstGeom>
          <a:solidFill>
            <a:schemeClr val="accent1"/>
          </a:solidFill>
          <a:ln w="9525" cap="flat" cmpd="sng" algn="ctr">
            <a:noFill/>
            <a:prstDash val="solid"/>
          </a:ln>
          <a:effectLst>
            <a:outerShdw blurRad="40000" dist="23000" dir="5400000" rotWithShape="0">
              <a:srgbClr val="000000">
                <a:alpha val="35000"/>
              </a:srgbClr>
            </a:outerShdw>
          </a:effectLst>
        </p:spPr>
        <p:txBody>
          <a:bodyPr anchor="ctr"/>
          <a:lstStyle>
            <a:defPPr>
              <a:defRPr lang="en-US"/>
            </a:defPPr>
            <a:lvl1pPr lvl="0">
              <a:lnSpc>
                <a:spcPct val="90000"/>
              </a:lnSpc>
              <a:spcBef>
                <a:spcPct val="0"/>
              </a:spcBef>
              <a:defRPr sz="2400">
                <a:solidFill>
                  <a:prstClr val="white"/>
                </a:solidFill>
                <a:latin typeface="Trebuchet MS" pitchFamily="34" charset="0"/>
                <a:ea typeface="+mj-ea"/>
                <a:cs typeface="+mj-cs"/>
              </a:defRPr>
            </a:lvl1pPr>
          </a:lstStyle>
          <a:p>
            <a:r>
              <a:rPr lang="en-US" dirty="0">
                <a:latin typeface="+mn-lt"/>
              </a:rPr>
              <a:t>Manual Booking</a:t>
            </a:r>
          </a:p>
        </p:txBody>
      </p:sp>
      <p:sp>
        <p:nvSpPr>
          <p:cNvPr id="8" name="TextBox 7"/>
          <p:cNvSpPr txBox="1"/>
          <p:nvPr/>
        </p:nvSpPr>
        <p:spPr>
          <a:xfrm>
            <a:off x="10752175" y="5282393"/>
            <a:ext cx="1215639" cy="246221"/>
          </a:xfrm>
          <a:prstGeom prst="rect">
            <a:avLst/>
          </a:prstGeom>
          <a:noFill/>
        </p:spPr>
        <p:txBody>
          <a:bodyPr wrap="square" rtlCol="0">
            <a:spAutoFit/>
          </a:bodyPr>
          <a:lstStyle/>
          <a:p>
            <a:r>
              <a:rPr lang="en-IN" sz="1000" b="1" dirty="0"/>
              <a:t>High Impact Kaizen</a:t>
            </a:r>
          </a:p>
        </p:txBody>
      </p:sp>
      <p:sp>
        <p:nvSpPr>
          <p:cNvPr id="122" name="TextBox 121"/>
          <p:cNvSpPr txBox="1"/>
          <p:nvPr/>
        </p:nvSpPr>
        <p:spPr>
          <a:xfrm>
            <a:off x="10760882" y="5617675"/>
            <a:ext cx="1215639" cy="246221"/>
          </a:xfrm>
          <a:prstGeom prst="rect">
            <a:avLst/>
          </a:prstGeom>
          <a:noFill/>
        </p:spPr>
        <p:txBody>
          <a:bodyPr wrap="square" rtlCol="0">
            <a:spAutoFit/>
          </a:bodyPr>
          <a:lstStyle/>
          <a:p>
            <a:r>
              <a:rPr lang="en-IN" sz="1000" b="1" dirty="0"/>
              <a:t>Low Impact Kaizen</a:t>
            </a:r>
          </a:p>
        </p:txBody>
      </p:sp>
      <p:sp>
        <p:nvSpPr>
          <p:cNvPr id="10" name="12-Point Star 9"/>
          <p:cNvSpPr/>
          <p:nvPr/>
        </p:nvSpPr>
        <p:spPr>
          <a:xfrm>
            <a:off x="10443321" y="5637687"/>
            <a:ext cx="339801" cy="279787"/>
          </a:xfrm>
          <a:prstGeom prst="star12">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a:p>
        </p:txBody>
      </p:sp>
      <p:sp>
        <p:nvSpPr>
          <p:cNvPr id="124" name="12-Point Star 123"/>
          <p:cNvSpPr/>
          <p:nvPr/>
        </p:nvSpPr>
        <p:spPr>
          <a:xfrm>
            <a:off x="10425902" y="5254506"/>
            <a:ext cx="339801" cy="279787"/>
          </a:xfrm>
          <a:prstGeom prst="star12">
            <a:avLst/>
          </a:prstGeom>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a:p>
        </p:txBody>
      </p:sp>
      <p:pic>
        <p:nvPicPr>
          <p:cNvPr id="7" name="Picture 6"/>
          <p:cNvPicPr>
            <a:picLocks noChangeAspect="1"/>
          </p:cNvPicPr>
          <p:nvPr/>
        </p:nvPicPr>
        <p:blipFill>
          <a:blip r:embed="rId3"/>
          <a:stretch>
            <a:fillRect/>
          </a:stretch>
        </p:blipFill>
        <p:spPr>
          <a:xfrm>
            <a:off x="8037614" y="6041496"/>
            <a:ext cx="3866667" cy="415244"/>
          </a:xfrm>
          <a:prstGeom prst="rect">
            <a:avLst/>
          </a:prstGeom>
        </p:spPr>
      </p:pic>
    </p:spTree>
    <p:extLst>
      <p:ext uri="{BB962C8B-B14F-4D97-AF65-F5344CB8AC3E}">
        <p14:creationId xmlns:p14="http://schemas.microsoft.com/office/powerpoint/2010/main" val="15163698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ine 24">
            <a:extLst>
              <a:ext uri="{FF2B5EF4-FFF2-40B4-BE49-F238E27FC236}">
                <a16:creationId xmlns:a16="http://schemas.microsoft.com/office/drawing/2014/main" id="{FACE8067-3CB8-40B9-B83C-0E8A61DD9474}"/>
              </a:ext>
            </a:extLst>
          </p:cNvPr>
          <p:cNvSpPr>
            <a:spLocks noChangeShapeType="1"/>
          </p:cNvSpPr>
          <p:nvPr/>
        </p:nvSpPr>
        <p:spPr bwMode="auto">
          <a:xfrm flipV="1">
            <a:off x="1586629" y="6263694"/>
            <a:ext cx="8929105" cy="0"/>
          </a:xfrm>
          <a:prstGeom prst="line">
            <a:avLst/>
          </a:prstGeom>
          <a:noFill/>
          <a:ln w="38100">
            <a:solidFill>
              <a:srgbClr val="073262">
                <a:lumMod val="60000"/>
                <a:lumOff val="40000"/>
              </a:srgb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14" name="Text Box 25">
            <a:extLst>
              <a:ext uri="{FF2B5EF4-FFF2-40B4-BE49-F238E27FC236}">
                <a16:creationId xmlns:a16="http://schemas.microsoft.com/office/drawing/2014/main" id="{B3670772-B751-4DF9-81BF-93B5C7EFD17E}"/>
              </a:ext>
            </a:extLst>
          </p:cNvPr>
          <p:cNvSpPr txBox="1">
            <a:spLocks noChangeArrowheads="1"/>
          </p:cNvSpPr>
          <p:nvPr/>
        </p:nvSpPr>
        <p:spPr bwMode="auto">
          <a:xfrm>
            <a:off x="5138096" y="6130051"/>
            <a:ext cx="844060" cy="246221"/>
          </a:xfrm>
          <a:prstGeom prst="rect">
            <a:avLst/>
          </a:prstGeom>
          <a:solidFill>
            <a:sysClr val="window" lastClr="FFFFFF"/>
          </a:solidFill>
          <a:ln>
            <a:noFill/>
          </a:ln>
          <a:effectLst/>
        </p:spPr>
        <p:txBody>
          <a:bodyPr wrap="square" lIns="0" tIns="0" rIns="0" bIns="0">
            <a:spAutoFit/>
          </a:bodyPr>
          <a:lstStyle>
            <a:lvl1pPr defTabSz="973138" eaLnBrk="0" hangingPunct="0">
              <a:tabLst>
                <a:tab pos="1374775" algn="l"/>
              </a:tabLst>
              <a:defRPr sz="1400">
                <a:solidFill>
                  <a:schemeClr val="tx1"/>
                </a:solidFill>
                <a:latin typeface="Arial" charset="0"/>
                <a:ea typeface="ＭＳ Ｐゴシック" pitchFamily="34" charset="-128"/>
              </a:defRPr>
            </a:lvl1pPr>
            <a:lvl2pPr marL="742950" indent="-285750" defTabSz="973138" eaLnBrk="0" hangingPunct="0">
              <a:tabLst>
                <a:tab pos="1374775" algn="l"/>
              </a:tabLst>
              <a:defRPr sz="1400">
                <a:solidFill>
                  <a:schemeClr val="tx1"/>
                </a:solidFill>
                <a:latin typeface="Arial" charset="0"/>
                <a:ea typeface="ＭＳ Ｐゴシック" pitchFamily="34" charset="-128"/>
              </a:defRPr>
            </a:lvl2pPr>
            <a:lvl3pPr marL="1143000" indent="-228600" defTabSz="973138" eaLnBrk="0" hangingPunct="0">
              <a:tabLst>
                <a:tab pos="1374775" algn="l"/>
              </a:tabLst>
              <a:defRPr sz="1400">
                <a:solidFill>
                  <a:schemeClr val="tx1"/>
                </a:solidFill>
                <a:latin typeface="Arial" charset="0"/>
                <a:ea typeface="ＭＳ Ｐゴシック" pitchFamily="34" charset="-128"/>
              </a:defRPr>
            </a:lvl3pPr>
            <a:lvl4pPr marL="1600200" indent="-228600" defTabSz="973138" eaLnBrk="0" hangingPunct="0">
              <a:tabLst>
                <a:tab pos="1374775" algn="l"/>
              </a:tabLst>
              <a:defRPr sz="1400">
                <a:solidFill>
                  <a:schemeClr val="tx1"/>
                </a:solidFill>
                <a:latin typeface="Arial" charset="0"/>
                <a:ea typeface="ＭＳ Ｐゴシック" pitchFamily="34" charset="-128"/>
              </a:defRPr>
            </a:lvl4pPr>
            <a:lvl5pPr marL="2057400" indent="-228600" defTabSz="973138" eaLnBrk="0" hangingPunct="0">
              <a:tabLst>
                <a:tab pos="1374775" algn="l"/>
              </a:tabLst>
              <a:defRPr sz="14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9pPr>
          </a:lstStyle>
          <a:p>
            <a:pPr marL="0" marR="0" lvl="0" indent="0" algn="ctr" defTabSz="973138" eaLnBrk="1" fontAlgn="auto" latinLnBrk="0" hangingPunct="1">
              <a:lnSpc>
                <a:spcPct val="100000"/>
              </a:lnSpc>
              <a:spcBef>
                <a:spcPct val="50000"/>
              </a:spcBef>
              <a:spcAft>
                <a:spcPts val="0"/>
              </a:spcAft>
              <a:buClrTx/>
              <a:buSzTx/>
              <a:buFontTx/>
              <a:buNone/>
              <a:tabLst>
                <a:tab pos="1374775" algn="l"/>
              </a:tabLst>
              <a:defRPr/>
            </a:pPr>
            <a:r>
              <a:rPr kumimoji="0" lang="en-US" sz="1600" b="0" i="0" u="none" strike="noStrike" kern="0" cap="none" spc="0" normalizeH="0" baseline="0" noProof="0" dirty="0">
                <a:ln>
                  <a:noFill/>
                </a:ln>
                <a:solidFill>
                  <a:srgbClr val="073262"/>
                </a:solidFill>
                <a:effectLst/>
                <a:uLnTx/>
                <a:uFillTx/>
                <a:latin typeface="Georgia" panose="02040502050405020303" pitchFamily="18" charset="0"/>
                <a:ea typeface="ＭＳ Ｐゴシック" pitchFamily="34" charset="-128"/>
              </a:rPr>
              <a:t>Effort</a:t>
            </a:r>
          </a:p>
        </p:txBody>
      </p:sp>
      <p:sp>
        <p:nvSpPr>
          <p:cNvPr id="15" name="Line 23">
            <a:extLst>
              <a:ext uri="{FF2B5EF4-FFF2-40B4-BE49-F238E27FC236}">
                <a16:creationId xmlns:a16="http://schemas.microsoft.com/office/drawing/2014/main" id="{47F3FDBE-0972-46EC-A739-1B1CB2ED1CC6}"/>
              </a:ext>
            </a:extLst>
          </p:cNvPr>
          <p:cNvSpPr>
            <a:spLocks noChangeShapeType="1"/>
          </p:cNvSpPr>
          <p:nvPr/>
        </p:nvSpPr>
        <p:spPr bwMode="auto">
          <a:xfrm flipV="1">
            <a:off x="1161608" y="1280159"/>
            <a:ext cx="0" cy="4733779"/>
          </a:xfrm>
          <a:prstGeom prst="line">
            <a:avLst/>
          </a:prstGeom>
          <a:noFill/>
          <a:ln w="38100">
            <a:solidFill>
              <a:srgbClr val="073262">
                <a:lumMod val="60000"/>
                <a:lumOff val="40000"/>
              </a:srgb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16" name="Text Box 26">
            <a:extLst>
              <a:ext uri="{FF2B5EF4-FFF2-40B4-BE49-F238E27FC236}">
                <a16:creationId xmlns:a16="http://schemas.microsoft.com/office/drawing/2014/main" id="{E82BF53D-C5F9-4614-B5E7-E0579AC352CF}"/>
              </a:ext>
            </a:extLst>
          </p:cNvPr>
          <p:cNvSpPr txBox="1">
            <a:spLocks noChangeArrowheads="1"/>
          </p:cNvSpPr>
          <p:nvPr/>
        </p:nvSpPr>
        <p:spPr bwMode="auto">
          <a:xfrm rot="16200000">
            <a:off x="699534" y="3536637"/>
            <a:ext cx="852714" cy="246222"/>
          </a:xfrm>
          <a:prstGeom prst="rect">
            <a:avLst/>
          </a:prstGeom>
          <a:solidFill>
            <a:sysClr val="window" lastClr="FFFFFF"/>
          </a:solidFill>
          <a:ln>
            <a:noFill/>
          </a:ln>
          <a:effectLst/>
        </p:spPr>
        <p:txBody>
          <a:bodyPr wrap="square" lIns="0" tIns="0" rIns="0" bIns="0">
            <a:spAutoFit/>
          </a:bodyPr>
          <a:lstStyle>
            <a:defPPr>
              <a:defRPr lang="en-US"/>
            </a:defPPr>
            <a:lvl1pPr algn="ctr" defTabSz="973138">
              <a:spcBef>
                <a:spcPct val="50000"/>
              </a:spcBef>
              <a:tabLst>
                <a:tab pos="1374775" algn="l"/>
              </a:tabLst>
              <a:defRPr sz="1600">
                <a:solidFill>
                  <a:srgbClr val="073262"/>
                </a:solidFill>
                <a:latin typeface="Georgia" panose="02040502050405020303" pitchFamily="18" charset="0"/>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pPr marL="0" marR="0" lvl="0" indent="0" algn="ctr" defTabSz="973138" eaLnBrk="1" fontAlgn="auto" latinLnBrk="0" hangingPunct="1">
              <a:lnSpc>
                <a:spcPct val="100000"/>
              </a:lnSpc>
              <a:spcBef>
                <a:spcPct val="50000"/>
              </a:spcBef>
              <a:spcAft>
                <a:spcPts val="0"/>
              </a:spcAft>
              <a:buClrTx/>
              <a:buSzTx/>
              <a:buFontTx/>
              <a:buNone/>
              <a:tabLst>
                <a:tab pos="1374775" algn="l"/>
              </a:tabLst>
              <a:defRPr/>
            </a:pPr>
            <a:r>
              <a:rPr kumimoji="0" lang="en-US" sz="1600" b="0" i="0" u="none" strike="noStrike" kern="0" cap="none" spc="0" normalizeH="0" baseline="0" noProof="0" dirty="0">
                <a:ln>
                  <a:noFill/>
                </a:ln>
                <a:solidFill>
                  <a:srgbClr val="073262"/>
                </a:solidFill>
                <a:effectLst/>
                <a:uLnTx/>
                <a:uFillTx/>
                <a:latin typeface="Georgia" panose="02040502050405020303" pitchFamily="18" charset="0"/>
              </a:rPr>
              <a:t>Impact</a:t>
            </a:r>
          </a:p>
        </p:txBody>
      </p:sp>
      <p:sp>
        <p:nvSpPr>
          <p:cNvPr id="17" name="Rectangle 16">
            <a:extLst>
              <a:ext uri="{FF2B5EF4-FFF2-40B4-BE49-F238E27FC236}">
                <a16:creationId xmlns:a16="http://schemas.microsoft.com/office/drawing/2014/main" id="{5DA1E58A-30E6-4C46-8566-5161BEEC9559}"/>
              </a:ext>
            </a:extLst>
          </p:cNvPr>
          <p:cNvSpPr/>
          <p:nvPr/>
        </p:nvSpPr>
        <p:spPr>
          <a:xfrm>
            <a:off x="1745457" y="3587261"/>
            <a:ext cx="4236695" cy="1988011"/>
          </a:xfrm>
          <a:prstGeom prst="rect">
            <a:avLst/>
          </a:prstGeom>
          <a:solidFill>
            <a:srgbClr val="FFC000">
              <a:alpha val="23922"/>
            </a:srgbClr>
          </a:solidFill>
          <a:ln w="28575">
            <a:solidFill>
              <a:schemeClr val="accent1">
                <a:lumMod val="75000"/>
              </a:schemeClr>
            </a:solidFill>
            <a:miter lim="800000"/>
            <a:headEnd/>
            <a:tailEnd/>
          </a:ln>
        </p:spPr>
        <p:txBody>
          <a:bodyPr wrap="none" anchor="ctr"/>
          <a:lstStyle/>
          <a:p>
            <a:pPr algn="ctr">
              <a:buClr>
                <a:srgbClr val="0093D1"/>
              </a:buClr>
            </a:pPr>
            <a:endParaRPr lang="en-US" sz="2000" b="1" i="1" kern="0" dirty="0">
              <a:latin typeface="+mj-lt"/>
            </a:endParaRPr>
          </a:p>
        </p:txBody>
      </p:sp>
      <p:sp>
        <p:nvSpPr>
          <p:cNvPr id="18" name="Rectangle 17">
            <a:extLst>
              <a:ext uri="{FF2B5EF4-FFF2-40B4-BE49-F238E27FC236}">
                <a16:creationId xmlns:a16="http://schemas.microsoft.com/office/drawing/2014/main" id="{2F324F1E-D6AC-4351-8C8C-203B33A3077B}"/>
              </a:ext>
            </a:extLst>
          </p:cNvPr>
          <p:cNvSpPr/>
          <p:nvPr/>
        </p:nvSpPr>
        <p:spPr>
          <a:xfrm>
            <a:off x="6209848" y="3587261"/>
            <a:ext cx="4236695" cy="1988011"/>
          </a:xfrm>
          <a:prstGeom prst="rect">
            <a:avLst/>
          </a:prstGeom>
          <a:noFill/>
          <a:ln w="28575">
            <a:solidFill>
              <a:schemeClr val="accent1">
                <a:lumMod val="75000"/>
              </a:schemeClr>
            </a:solidFill>
            <a:miter lim="800000"/>
            <a:headEnd/>
            <a:tailEnd/>
          </a:ln>
        </p:spPr>
        <p:txBody>
          <a:bodyPr wrap="none" anchor="ctr"/>
          <a:lstStyle/>
          <a:p>
            <a:pPr algn="ctr">
              <a:buClr>
                <a:srgbClr val="0093D1"/>
              </a:buClr>
            </a:pPr>
            <a:endParaRPr lang="en-US" sz="2000" b="1" i="1" kern="0" dirty="0">
              <a:latin typeface="+mj-lt"/>
            </a:endParaRPr>
          </a:p>
        </p:txBody>
      </p:sp>
      <p:sp>
        <p:nvSpPr>
          <p:cNvPr id="19" name="Rectangle 18">
            <a:extLst>
              <a:ext uri="{FF2B5EF4-FFF2-40B4-BE49-F238E27FC236}">
                <a16:creationId xmlns:a16="http://schemas.microsoft.com/office/drawing/2014/main" id="{1A1E6D53-BF5A-4C04-8907-A623A4FE2E3A}"/>
              </a:ext>
            </a:extLst>
          </p:cNvPr>
          <p:cNvSpPr/>
          <p:nvPr/>
        </p:nvSpPr>
        <p:spPr>
          <a:xfrm>
            <a:off x="1745457" y="1440989"/>
            <a:ext cx="4236695" cy="1988011"/>
          </a:xfrm>
          <a:prstGeom prst="rect">
            <a:avLst/>
          </a:prstGeom>
          <a:solidFill>
            <a:srgbClr val="FFC000">
              <a:alpha val="63922"/>
            </a:srgbClr>
          </a:solidFill>
          <a:ln w="28575">
            <a:solidFill>
              <a:schemeClr val="accent1">
                <a:lumMod val="75000"/>
              </a:schemeClr>
            </a:solidFill>
            <a:miter lim="800000"/>
            <a:headEnd/>
            <a:tailEnd/>
          </a:ln>
        </p:spPr>
        <p:txBody>
          <a:bodyPr wrap="none" anchor="ctr"/>
          <a:lstStyle/>
          <a:p>
            <a:pPr algn="ctr">
              <a:buClr>
                <a:srgbClr val="0093D1"/>
              </a:buClr>
            </a:pPr>
            <a:endParaRPr lang="en-US" sz="2000" b="1" i="1" kern="0" dirty="0">
              <a:latin typeface="+mj-lt"/>
            </a:endParaRPr>
          </a:p>
        </p:txBody>
      </p:sp>
      <p:sp>
        <p:nvSpPr>
          <p:cNvPr id="20" name="Rectangle 19">
            <a:extLst>
              <a:ext uri="{FF2B5EF4-FFF2-40B4-BE49-F238E27FC236}">
                <a16:creationId xmlns:a16="http://schemas.microsoft.com/office/drawing/2014/main" id="{58859465-F8E9-473B-B074-7D3A76460E83}"/>
              </a:ext>
            </a:extLst>
          </p:cNvPr>
          <p:cNvSpPr/>
          <p:nvPr/>
        </p:nvSpPr>
        <p:spPr>
          <a:xfrm>
            <a:off x="6209848" y="1440989"/>
            <a:ext cx="4236695" cy="1988011"/>
          </a:xfrm>
          <a:prstGeom prst="rect">
            <a:avLst/>
          </a:prstGeom>
          <a:solidFill>
            <a:srgbClr val="FFC000">
              <a:alpha val="43922"/>
            </a:srgbClr>
          </a:solidFill>
          <a:ln w="28575">
            <a:solidFill>
              <a:schemeClr val="accent1">
                <a:lumMod val="75000"/>
              </a:schemeClr>
            </a:solidFill>
            <a:miter lim="800000"/>
            <a:headEnd/>
            <a:tailEnd/>
          </a:ln>
        </p:spPr>
        <p:txBody>
          <a:bodyPr wrap="none" anchor="ctr"/>
          <a:lstStyle/>
          <a:p>
            <a:pPr algn="ctr">
              <a:buClr>
                <a:srgbClr val="0093D1"/>
              </a:buClr>
            </a:pPr>
            <a:endParaRPr lang="en-US" sz="2000" b="1" i="1" kern="0" dirty="0">
              <a:latin typeface="+mj-lt"/>
            </a:endParaRPr>
          </a:p>
        </p:txBody>
      </p:sp>
      <p:sp>
        <p:nvSpPr>
          <p:cNvPr id="21" name="TextBox 60">
            <a:extLst>
              <a:ext uri="{FF2B5EF4-FFF2-40B4-BE49-F238E27FC236}">
                <a16:creationId xmlns:a16="http://schemas.microsoft.com/office/drawing/2014/main" id="{3830E59E-517D-4388-9577-ED58C6612A73}"/>
              </a:ext>
            </a:extLst>
          </p:cNvPr>
          <p:cNvSpPr txBox="1">
            <a:spLocks noChangeArrowheads="1"/>
          </p:cNvSpPr>
          <p:nvPr/>
        </p:nvSpPr>
        <p:spPr bwMode="auto">
          <a:xfrm>
            <a:off x="7053941" y="1084859"/>
            <a:ext cx="2325065" cy="276999"/>
          </a:xfrm>
          <a:prstGeom prst="rect">
            <a:avLst/>
          </a:prstGeom>
          <a:noFill/>
          <a:ln w="9525">
            <a:noFill/>
            <a:miter lim="800000"/>
            <a:headEnd/>
            <a:tailEnd/>
          </a:ln>
        </p:spPr>
        <p:txBody>
          <a:bodyPr wrap="square">
            <a:spAutoFit/>
          </a:bodyPr>
          <a:lstStyle/>
          <a:p>
            <a:pPr algn="ctr" defTabSz="973138">
              <a:spcBef>
                <a:spcPct val="50000"/>
              </a:spcBef>
              <a:tabLst>
                <a:tab pos="1374775" algn="l"/>
              </a:tabLst>
            </a:pPr>
            <a:r>
              <a:rPr lang="en-US" sz="1200" dirty="0">
                <a:solidFill>
                  <a:srgbClr val="073262"/>
                </a:solidFill>
                <a:latin typeface="Georgia" panose="02040502050405020303" pitchFamily="18" charset="0"/>
              </a:rPr>
              <a:t>Strategic/Long Term </a:t>
            </a:r>
          </a:p>
        </p:txBody>
      </p:sp>
      <p:sp>
        <p:nvSpPr>
          <p:cNvPr id="22" name="TextBox 62">
            <a:extLst>
              <a:ext uri="{FF2B5EF4-FFF2-40B4-BE49-F238E27FC236}">
                <a16:creationId xmlns:a16="http://schemas.microsoft.com/office/drawing/2014/main" id="{0F71B16E-C77A-4CD3-BC25-D4B2D1BCC4FA}"/>
              </a:ext>
            </a:extLst>
          </p:cNvPr>
          <p:cNvSpPr txBox="1">
            <a:spLocks noChangeArrowheads="1"/>
          </p:cNvSpPr>
          <p:nvPr/>
        </p:nvSpPr>
        <p:spPr bwMode="auto">
          <a:xfrm>
            <a:off x="2510982" y="1086354"/>
            <a:ext cx="2184980" cy="276999"/>
          </a:xfrm>
          <a:prstGeom prst="rect">
            <a:avLst/>
          </a:prstGeom>
          <a:noFill/>
          <a:ln w="9525">
            <a:noFill/>
            <a:miter lim="800000"/>
            <a:headEnd/>
            <a:tailEnd/>
          </a:ln>
        </p:spPr>
        <p:txBody>
          <a:bodyPr wrap="square">
            <a:spAutoFit/>
          </a:bodyPr>
          <a:lstStyle/>
          <a:p>
            <a:pPr algn="ctr" defTabSz="973138">
              <a:spcBef>
                <a:spcPct val="50000"/>
              </a:spcBef>
              <a:tabLst>
                <a:tab pos="1374775" algn="l"/>
              </a:tabLst>
            </a:pPr>
            <a:r>
              <a:rPr lang="en-US" sz="1200" dirty="0">
                <a:solidFill>
                  <a:srgbClr val="073262"/>
                </a:solidFill>
                <a:latin typeface="Georgia" panose="02040502050405020303" pitchFamily="18" charset="0"/>
              </a:rPr>
              <a:t>Quick Hits / Short Term</a:t>
            </a:r>
          </a:p>
        </p:txBody>
      </p:sp>
      <p:sp>
        <p:nvSpPr>
          <p:cNvPr id="23" name="TextBox 22">
            <a:extLst>
              <a:ext uri="{FF2B5EF4-FFF2-40B4-BE49-F238E27FC236}">
                <a16:creationId xmlns:a16="http://schemas.microsoft.com/office/drawing/2014/main" id="{10423D34-184F-409D-83B0-0C8603D722E6}"/>
              </a:ext>
            </a:extLst>
          </p:cNvPr>
          <p:cNvSpPr txBox="1"/>
          <p:nvPr/>
        </p:nvSpPr>
        <p:spPr>
          <a:xfrm>
            <a:off x="3469459" y="5854055"/>
            <a:ext cx="6858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Low</a:t>
            </a:r>
          </a:p>
        </p:txBody>
      </p:sp>
      <p:sp>
        <p:nvSpPr>
          <p:cNvPr id="24" name="TextBox 23">
            <a:extLst>
              <a:ext uri="{FF2B5EF4-FFF2-40B4-BE49-F238E27FC236}">
                <a16:creationId xmlns:a16="http://schemas.microsoft.com/office/drawing/2014/main" id="{8AD949AF-A133-4797-9A72-FEC30C7A016A}"/>
              </a:ext>
            </a:extLst>
          </p:cNvPr>
          <p:cNvSpPr txBox="1"/>
          <p:nvPr/>
        </p:nvSpPr>
        <p:spPr>
          <a:xfrm>
            <a:off x="8036743" y="5854055"/>
            <a:ext cx="6858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High</a:t>
            </a:r>
          </a:p>
        </p:txBody>
      </p:sp>
      <p:sp>
        <p:nvSpPr>
          <p:cNvPr id="25" name="TextBox 24">
            <a:extLst>
              <a:ext uri="{FF2B5EF4-FFF2-40B4-BE49-F238E27FC236}">
                <a16:creationId xmlns:a16="http://schemas.microsoft.com/office/drawing/2014/main" id="{6B3E56D7-83FF-4371-A430-419428A0E18B}"/>
              </a:ext>
            </a:extLst>
          </p:cNvPr>
          <p:cNvSpPr txBox="1"/>
          <p:nvPr/>
        </p:nvSpPr>
        <p:spPr>
          <a:xfrm rot="16200000">
            <a:off x="541877" y="4488932"/>
            <a:ext cx="198800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Low</a:t>
            </a:r>
          </a:p>
        </p:txBody>
      </p:sp>
      <p:sp>
        <p:nvSpPr>
          <p:cNvPr id="27" name="TextBox 26">
            <a:extLst>
              <a:ext uri="{FF2B5EF4-FFF2-40B4-BE49-F238E27FC236}">
                <a16:creationId xmlns:a16="http://schemas.microsoft.com/office/drawing/2014/main" id="{11477C30-3189-41C5-BEBC-912B73F7E705}"/>
              </a:ext>
            </a:extLst>
          </p:cNvPr>
          <p:cNvSpPr txBox="1"/>
          <p:nvPr/>
        </p:nvSpPr>
        <p:spPr>
          <a:xfrm rot="16200000">
            <a:off x="541877" y="2324715"/>
            <a:ext cx="198800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High</a:t>
            </a:r>
          </a:p>
        </p:txBody>
      </p:sp>
      <p:sp>
        <p:nvSpPr>
          <p:cNvPr id="28" name="Text Placeholder 1">
            <a:extLst>
              <a:ext uri="{FF2B5EF4-FFF2-40B4-BE49-F238E27FC236}">
                <a16:creationId xmlns:a16="http://schemas.microsoft.com/office/drawing/2014/main" id="{D0C66E63-4B57-47A9-B62C-18A60115FDF0}"/>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73262"/>
                </a:solidFill>
                <a:effectLst/>
                <a:uLnTx/>
                <a:uFillTx/>
                <a:latin typeface="Georgia" panose="02040502050405020303" pitchFamily="18" charset="0"/>
                <a:ea typeface="+mn-ea"/>
                <a:cs typeface="+mn-cs"/>
              </a:rPr>
              <a:t>Effort – Impact matrix</a:t>
            </a:r>
            <a:endParaRPr kumimoji="0" lang="en-US" sz="3000" b="0" i="0" u="none" strike="noStrike" kern="0" cap="none" spc="0" normalizeH="0" baseline="0" noProof="0" dirty="0">
              <a:ln>
                <a:noFill/>
              </a:ln>
              <a:solidFill>
                <a:schemeClr val="accent2"/>
              </a:solidFill>
              <a:effectLst/>
              <a:uLnTx/>
              <a:uFillTx/>
              <a:latin typeface="Georgia" panose="02040502050405020303" pitchFamily="18" charset="0"/>
              <a:ea typeface="+mn-ea"/>
              <a:cs typeface="+mn-cs"/>
            </a:endParaRPr>
          </a:p>
        </p:txBody>
      </p:sp>
      <p:sp>
        <p:nvSpPr>
          <p:cNvPr id="35" name="Oval 13">
            <a:extLst>
              <a:ext uri="{FF2B5EF4-FFF2-40B4-BE49-F238E27FC236}">
                <a16:creationId xmlns:a16="http://schemas.microsoft.com/office/drawing/2014/main" id="{14D371D3-2CF4-4E4F-B9A2-EBF1B94B14DB}"/>
              </a:ext>
            </a:extLst>
          </p:cNvPr>
          <p:cNvSpPr>
            <a:spLocks noChangeArrowheads="1"/>
          </p:cNvSpPr>
          <p:nvPr>
            <p:custDataLst>
              <p:tags r:id="rId1"/>
            </p:custDataLst>
          </p:nvPr>
        </p:nvSpPr>
        <p:spPr bwMode="auto">
          <a:xfrm>
            <a:off x="6976115" y="1862566"/>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a:t>
            </a:r>
          </a:p>
        </p:txBody>
      </p:sp>
      <p:sp>
        <p:nvSpPr>
          <p:cNvPr id="36" name="Oval 13">
            <a:extLst>
              <a:ext uri="{FF2B5EF4-FFF2-40B4-BE49-F238E27FC236}">
                <a16:creationId xmlns:a16="http://schemas.microsoft.com/office/drawing/2014/main" id="{86D2FDA5-DA00-4154-B9A1-254B001FDA20}"/>
              </a:ext>
            </a:extLst>
          </p:cNvPr>
          <p:cNvSpPr>
            <a:spLocks noChangeArrowheads="1"/>
          </p:cNvSpPr>
          <p:nvPr>
            <p:custDataLst>
              <p:tags r:id="rId2"/>
            </p:custDataLst>
          </p:nvPr>
        </p:nvSpPr>
        <p:spPr bwMode="auto">
          <a:xfrm>
            <a:off x="7885867" y="2475742"/>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11</a:t>
            </a:r>
          </a:p>
        </p:txBody>
      </p:sp>
      <p:sp>
        <p:nvSpPr>
          <p:cNvPr id="37" name="Oval 13">
            <a:extLst>
              <a:ext uri="{FF2B5EF4-FFF2-40B4-BE49-F238E27FC236}">
                <a16:creationId xmlns:a16="http://schemas.microsoft.com/office/drawing/2014/main" id="{3AC0EA23-CCB1-456C-BA2E-43864348972F}"/>
              </a:ext>
            </a:extLst>
          </p:cNvPr>
          <p:cNvSpPr>
            <a:spLocks noChangeArrowheads="1"/>
          </p:cNvSpPr>
          <p:nvPr>
            <p:custDataLst>
              <p:tags r:id="rId3"/>
            </p:custDataLst>
          </p:nvPr>
        </p:nvSpPr>
        <p:spPr bwMode="auto">
          <a:xfrm>
            <a:off x="9132118" y="1702021"/>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4</a:t>
            </a:r>
          </a:p>
        </p:txBody>
      </p:sp>
      <p:sp>
        <p:nvSpPr>
          <p:cNvPr id="38" name="Oval 13">
            <a:extLst>
              <a:ext uri="{FF2B5EF4-FFF2-40B4-BE49-F238E27FC236}">
                <a16:creationId xmlns:a16="http://schemas.microsoft.com/office/drawing/2014/main" id="{13B1EA79-6C66-4F79-BF9D-BA9B1C2BE037}"/>
              </a:ext>
            </a:extLst>
          </p:cNvPr>
          <p:cNvSpPr>
            <a:spLocks noChangeArrowheads="1"/>
          </p:cNvSpPr>
          <p:nvPr>
            <p:custDataLst>
              <p:tags r:id="rId4"/>
            </p:custDataLst>
          </p:nvPr>
        </p:nvSpPr>
        <p:spPr bwMode="auto">
          <a:xfrm>
            <a:off x="2958649" y="2111382"/>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7</a:t>
            </a:r>
          </a:p>
        </p:txBody>
      </p:sp>
      <p:sp>
        <p:nvSpPr>
          <p:cNvPr id="40" name="Oval 13">
            <a:extLst>
              <a:ext uri="{FF2B5EF4-FFF2-40B4-BE49-F238E27FC236}">
                <a16:creationId xmlns:a16="http://schemas.microsoft.com/office/drawing/2014/main" id="{C6FA5A1C-7224-4FCD-BB91-B49A14A482DA}"/>
              </a:ext>
            </a:extLst>
          </p:cNvPr>
          <p:cNvSpPr>
            <a:spLocks noChangeArrowheads="1"/>
          </p:cNvSpPr>
          <p:nvPr>
            <p:custDataLst>
              <p:tags r:id="rId5"/>
            </p:custDataLst>
          </p:nvPr>
        </p:nvSpPr>
        <p:spPr bwMode="auto">
          <a:xfrm>
            <a:off x="4359913" y="3855717"/>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a:t>
            </a:r>
          </a:p>
        </p:txBody>
      </p:sp>
      <p:sp>
        <p:nvSpPr>
          <p:cNvPr id="41" name="Oval 13">
            <a:extLst>
              <a:ext uri="{FF2B5EF4-FFF2-40B4-BE49-F238E27FC236}">
                <a16:creationId xmlns:a16="http://schemas.microsoft.com/office/drawing/2014/main" id="{65CDA1D9-550D-4D51-8FA9-068143DE29C4}"/>
              </a:ext>
            </a:extLst>
          </p:cNvPr>
          <p:cNvSpPr>
            <a:spLocks noChangeArrowheads="1"/>
          </p:cNvSpPr>
          <p:nvPr>
            <p:custDataLst>
              <p:tags r:id="rId6"/>
            </p:custDataLst>
          </p:nvPr>
        </p:nvSpPr>
        <p:spPr bwMode="auto">
          <a:xfrm>
            <a:off x="2371558" y="4215995"/>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a:t>
            </a:r>
          </a:p>
        </p:txBody>
      </p:sp>
      <p:sp>
        <p:nvSpPr>
          <p:cNvPr id="42" name="Oval 13">
            <a:extLst>
              <a:ext uri="{FF2B5EF4-FFF2-40B4-BE49-F238E27FC236}">
                <a16:creationId xmlns:a16="http://schemas.microsoft.com/office/drawing/2014/main" id="{0FDAA96F-787F-4E6F-A0E7-1DED87CFDA87}"/>
              </a:ext>
            </a:extLst>
          </p:cNvPr>
          <p:cNvSpPr>
            <a:spLocks noChangeArrowheads="1"/>
          </p:cNvSpPr>
          <p:nvPr>
            <p:custDataLst>
              <p:tags r:id="rId7"/>
            </p:custDataLst>
          </p:nvPr>
        </p:nvSpPr>
        <p:spPr bwMode="auto">
          <a:xfrm>
            <a:off x="9376001" y="2514400"/>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15</a:t>
            </a:r>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
        <p:nvSpPr>
          <p:cNvPr id="49" name="Oval 13">
            <a:extLst>
              <a:ext uri="{FF2B5EF4-FFF2-40B4-BE49-F238E27FC236}">
                <a16:creationId xmlns:a16="http://schemas.microsoft.com/office/drawing/2014/main" id="{8D47E174-8F62-46BF-AB1B-E591D24AFBBB}"/>
              </a:ext>
            </a:extLst>
          </p:cNvPr>
          <p:cNvSpPr>
            <a:spLocks noChangeArrowheads="1"/>
          </p:cNvSpPr>
          <p:nvPr>
            <p:custDataLst>
              <p:tags r:id="rId8"/>
            </p:custDataLst>
          </p:nvPr>
        </p:nvSpPr>
        <p:spPr bwMode="auto">
          <a:xfrm>
            <a:off x="6721594" y="3920273"/>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5</a:t>
            </a:r>
          </a:p>
        </p:txBody>
      </p:sp>
      <p:sp>
        <p:nvSpPr>
          <p:cNvPr id="50" name="Oval 13">
            <a:extLst>
              <a:ext uri="{FF2B5EF4-FFF2-40B4-BE49-F238E27FC236}">
                <a16:creationId xmlns:a16="http://schemas.microsoft.com/office/drawing/2014/main" id="{1DBADF3E-B0C9-48E5-9E4B-4EA48C62DF27}"/>
              </a:ext>
            </a:extLst>
          </p:cNvPr>
          <p:cNvSpPr>
            <a:spLocks noChangeArrowheads="1"/>
          </p:cNvSpPr>
          <p:nvPr>
            <p:custDataLst>
              <p:tags r:id="rId9"/>
            </p:custDataLst>
          </p:nvPr>
        </p:nvSpPr>
        <p:spPr bwMode="auto">
          <a:xfrm>
            <a:off x="7711825" y="3920273"/>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9</a:t>
            </a:r>
          </a:p>
        </p:txBody>
      </p:sp>
      <p:sp>
        <p:nvSpPr>
          <p:cNvPr id="51" name="Oval 13">
            <a:extLst>
              <a:ext uri="{FF2B5EF4-FFF2-40B4-BE49-F238E27FC236}">
                <a16:creationId xmlns:a16="http://schemas.microsoft.com/office/drawing/2014/main" id="{DE657D9B-A00E-4526-89D1-1A5DE2E5F143}"/>
              </a:ext>
            </a:extLst>
          </p:cNvPr>
          <p:cNvSpPr>
            <a:spLocks noChangeArrowheads="1"/>
          </p:cNvSpPr>
          <p:nvPr>
            <p:custDataLst>
              <p:tags r:id="rId10"/>
            </p:custDataLst>
          </p:nvPr>
        </p:nvSpPr>
        <p:spPr bwMode="auto">
          <a:xfrm>
            <a:off x="7288645" y="4621947"/>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0</a:t>
            </a:r>
          </a:p>
        </p:txBody>
      </p:sp>
      <p:sp>
        <p:nvSpPr>
          <p:cNvPr id="52" name="Oval 13">
            <a:extLst>
              <a:ext uri="{FF2B5EF4-FFF2-40B4-BE49-F238E27FC236}">
                <a16:creationId xmlns:a16="http://schemas.microsoft.com/office/drawing/2014/main" id="{73C3D015-66E9-4A73-81CC-581E26CCDC69}"/>
              </a:ext>
            </a:extLst>
          </p:cNvPr>
          <p:cNvSpPr>
            <a:spLocks noChangeArrowheads="1"/>
          </p:cNvSpPr>
          <p:nvPr>
            <p:custDataLst>
              <p:tags r:id="rId11"/>
            </p:custDataLst>
          </p:nvPr>
        </p:nvSpPr>
        <p:spPr bwMode="auto">
          <a:xfrm>
            <a:off x="8667357" y="4387301"/>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0</a:t>
            </a:r>
          </a:p>
        </p:txBody>
      </p:sp>
      <p:sp>
        <p:nvSpPr>
          <p:cNvPr id="53" name="Oval 13">
            <a:extLst>
              <a:ext uri="{FF2B5EF4-FFF2-40B4-BE49-F238E27FC236}">
                <a16:creationId xmlns:a16="http://schemas.microsoft.com/office/drawing/2014/main" id="{73C3D015-66E9-4A73-81CC-581E26CCDC69}"/>
              </a:ext>
            </a:extLst>
          </p:cNvPr>
          <p:cNvSpPr>
            <a:spLocks noChangeArrowheads="1"/>
          </p:cNvSpPr>
          <p:nvPr>
            <p:custDataLst>
              <p:tags r:id="rId12"/>
            </p:custDataLst>
          </p:nvPr>
        </p:nvSpPr>
        <p:spPr bwMode="auto">
          <a:xfrm>
            <a:off x="9376001" y="4449599"/>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1</a:t>
            </a:r>
          </a:p>
        </p:txBody>
      </p:sp>
      <p:sp>
        <p:nvSpPr>
          <p:cNvPr id="54" name="Oval 13">
            <a:extLst>
              <a:ext uri="{FF2B5EF4-FFF2-40B4-BE49-F238E27FC236}">
                <a16:creationId xmlns:a16="http://schemas.microsoft.com/office/drawing/2014/main" id="{73C3D015-66E9-4A73-81CC-581E26CCDC69}"/>
              </a:ext>
            </a:extLst>
          </p:cNvPr>
          <p:cNvSpPr>
            <a:spLocks noChangeArrowheads="1"/>
          </p:cNvSpPr>
          <p:nvPr>
            <p:custDataLst>
              <p:tags r:id="rId13"/>
            </p:custDataLst>
          </p:nvPr>
        </p:nvSpPr>
        <p:spPr bwMode="auto">
          <a:xfrm>
            <a:off x="9120282" y="3823738"/>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2</a:t>
            </a:r>
          </a:p>
        </p:txBody>
      </p:sp>
      <p:sp>
        <p:nvSpPr>
          <p:cNvPr id="55" name="Oval 13">
            <a:extLst>
              <a:ext uri="{FF2B5EF4-FFF2-40B4-BE49-F238E27FC236}">
                <a16:creationId xmlns:a16="http://schemas.microsoft.com/office/drawing/2014/main" id="{73C3D015-66E9-4A73-81CC-581E26CCDC69}"/>
              </a:ext>
            </a:extLst>
          </p:cNvPr>
          <p:cNvSpPr>
            <a:spLocks noChangeArrowheads="1"/>
          </p:cNvSpPr>
          <p:nvPr>
            <p:custDataLst>
              <p:tags r:id="rId14"/>
            </p:custDataLst>
          </p:nvPr>
        </p:nvSpPr>
        <p:spPr bwMode="auto">
          <a:xfrm>
            <a:off x="7985042" y="4632393"/>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4</a:t>
            </a:r>
          </a:p>
        </p:txBody>
      </p:sp>
      <p:sp>
        <p:nvSpPr>
          <p:cNvPr id="56" name="Oval 13">
            <a:extLst>
              <a:ext uri="{FF2B5EF4-FFF2-40B4-BE49-F238E27FC236}">
                <a16:creationId xmlns:a16="http://schemas.microsoft.com/office/drawing/2014/main" id="{73C3D015-66E9-4A73-81CC-581E26CCDC69}"/>
              </a:ext>
            </a:extLst>
          </p:cNvPr>
          <p:cNvSpPr>
            <a:spLocks noChangeArrowheads="1"/>
          </p:cNvSpPr>
          <p:nvPr>
            <p:custDataLst>
              <p:tags r:id="rId15"/>
            </p:custDataLst>
          </p:nvPr>
        </p:nvSpPr>
        <p:spPr bwMode="auto">
          <a:xfrm>
            <a:off x="8823604" y="4895709"/>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9</a:t>
            </a:r>
          </a:p>
        </p:txBody>
      </p:sp>
      <p:sp>
        <p:nvSpPr>
          <p:cNvPr id="57" name="Oval 13">
            <a:extLst>
              <a:ext uri="{FF2B5EF4-FFF2-40B4-BE49-F238E27FC236}">
                <a16:creationId xmlns:a16="http://schemas.microsoft.com/office/drawing/2014/main" id="{73C3D015-66E9-4A73-81CC-581E26CCDC69}"/>
              </a:ext>
            </a:extLst>
          </p:cNvPr>
          <p:cNvSpPr>
            <a:spLocks noChangeArrowheads="1"/>
          </p:cNvSpPr>
          <p:nvPr>
            <p:custDataLst>
              <p:tags r:id="rId16"/>
            </p:custDataLst>
          </p:nvPr>
        </p:nvSpPr>
        <p:spPr bwMode="auto">
          <a:xfrm>
            <a:off x="8442354" y="3804665"/>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1</a:t>
            </a:r>
          </a:p>
        </p:txBody>
      </p:sp>
      <p:sp>
        <p:nvSpPr>
          <p:cNvPr id="58" name="Oval 13">
            <a:extLst>
              <a:ext uri="{FF2B5EF4-FFF2-40B4-BE49-F238E27FC236}">
                <a16:creationId xmlns:a16="http://schemas.microsoft.com/office/drawing/2014/main" id="{C6FA5A1C-7224-4FCD-BB91-B49A14A482DA}"/>
              </a:ext>
            </a:extLst>
          </p:cNvPr>
          <p:cNvSpPr>
            <a:spLocks noChangeArrowheads="1"/>
          </p:cNvSpPr>
          <p:nvPr>
            <p:custDataLst>
              <p:tags r:id="rId17"/>
            </p:custDataLst>
          </p:nvPr>
        </p:nvSpPr>
        <p:spPr bwMode="auto">
          <a:xfrm>
            <a:off x="2845138" y="3653973"/>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6</a:t>
            </a:r>
          </a:p>
        </p:txBody>
      </p:sp>
      <p:sp>
        <p:nvSpPr>
          <p:cNvPr id="59" name="Oval 13">
            <a:extLst>
              <a:ext uri="{FF2B5EF4-FFF2-40B4-BE49-F238E27FC236}">
                <a16:creationId xmlns:a16="http://schemas.microsoft.com/office/drawing/2014/main" id="{C6FA5A1C-7224-4FCD-BB91-B49A14A482DA}"/>
              </a:ext>
            </a:extLst>
          </p:cNvPr>
          <p:cNvSpPr>
            <a:spLocks noChangeArrowheads="1"/>
          </p:cNvSpPr>
          <p:nvPr>
            <p:custDataLst>
              <p:tags r:id="rId18"/>
            </p:custDataLst>
          </p:nvPr>
        </p:nvSpPr>
        <p:spPr bwMode="auto">
          <a:xfrm>
            <a:off x="3598542" y="3804665"/>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8</a:t>
            </a:r>
          </a:p>
        </p:txBody>
      </p:sp>
      <p:sp>
        <p:nvSpPr>
          <p:cNvPr id="60" name="Oval 13">
            <a:extLst>
              <a:ext uri="{FF2B5EF4-FFF2-40B4-BE49-F238E27FC236}">
                <a16:creationId xmlns:a16="http://schemas.microsoft.com/office/drawing/2014/main" id="{C6FA5A1C-7224-4FCD-BB91-B49A14A482DA}"/>
              </a:ext>
            </a:extLst>
          </p:cNvPr>
          <p:cNvSpPr>
            <a:spLocks noChangeArrowheads="1"/>
          </p:cNvSpPr>
          <p:nvPr>
            <p:custDataLst>
              <p:tags r:id="rId19"/>
            </p:custDataLst>
          </p:nvPr>
        </p:nvSpPr>
        <p:spPr bwMode="auto">
          <a:xfrm>
            <a:off x="2986390" y="4222365"/>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2</a:t>
            </a:r>
          </a:p>
        </p:txBody>
      </p:sp>
      <p:sp>
        <p:nvSpPr>
          <p:cNvPr id="61" name="Oval 13">
            <a:extLst>
              <a:ext uri="{FF2B5EF4-FFF2-40B4-BE49-F238E27FC236}">
                <a16:creationId xmlns:a16="http://schemas.microsoft.com/office/drawing/2014/main" id="{C6FA5A1C-7224-4FCD-BB91-B49A14A482DA}"/>
              </a:ext>
            </a:extLst>
          </p:cNvPr>
          <p:cNvSpPr>
            <a:spLocks noChangeArrowheads="1"/>
          </p:cNvSpPr>
          <p:nvPr>
            <p:custDataLst>
              <p:tags r:id="rId20"/>
            </p:custDataLst>
          </p:nvPr>
        </p:nvSpPr>
        <p:spPr bwMode="auto">
          <a:xfrm>
            <a:off x="2264094" y="4849974"/>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3</a:t>
            </a:r>
          </a:p>
        </p:txBody>
      </p:sp>
      <p:sp>
        <p:nvSpPr>
          <p:cNvPr id="62" name="Oval 13">
            <a:extLst>
              <a:ext uri="{FF2B5EF4-FFF2-40B4-BE49-F238E27FC236}">
                <a16:creationId xmlns:a16="http://schemas.microsoft.com/office/drawing/2014/main" id="{C6FA5A1C-7224-4FCD-BB91-B49A14A482DA}"/>
              </a:ext>
            </a:extLst>
          </p:cNvPr>
          <p:cNvSpPr>
            <a:spLocks noChangeArrowheads="1"/>
          </p:cNvSpPr>
          <p:nvPr>
            <p:custDataLst>
              <p:tags r:id="rId21"/>
            </p:custDataLst>
          </p:nvPr>
        </p:nvSpPr>
        <p:spPr bwMode="auto">
          <a:xfrm>
            <a:off x="3931856" y="4348715"/>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4</a:t>
            </a:r>
          </a:p>
        </p:txBody>
      </p:sp>
      <p:sp>
        <p:nvSpPr>
          <p:cNvPr id="63" name="Oval 13">
            <a:extLst>
              <a:ext uri="{FF2B5EF4-FFF2-40B4-BE49-F238E27FC236}">
                <a16:creationId xmlns:a16="http://schemas.microsoft.com/office/drawing/2014/main" id="{C6FA5A1C-7224-4FCD-BB91-B49A14A482DA}"/>
              </a:ext>
            </a:extLst>
          </p:cNvPr>
          <p:cNvSpPr>
            <a:spLocks noChangeArrowheads="1"/>
          </p:cNvSpPr>
          <p:nvPr>
            <p:custDataLst>
              <p:tags r:id="rId22"/>
            </p:custDataLst>
          </p:nvPr>
        </p:nvSpPr>
        <p:spPr bwMode="auto">
          <a:xfrm>
            <a:off x="3034673" y="4811605"/>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8</a:t>
            </a:r>
          </a:p>
        </p:txBody>
      </p:sp>
      <p:sp>
        <p:nvSpPr>
          <p:cNvPr id="64" name="Oval 13">
            <a:extLst>
              <a:ext uri="{FF2B5EF4-FFF2-40B4-BE49-F238E27FC236}">
                <a16:creationId xmlns:a16="http://schemas.microsoft.com/office/drawing/2014/main" id="{C6FA5A1C-7224-4FCD-BB91-B49A14A482DA}"/>
              </a:ext>
            </a:extLst>
          </p:cNvPr>
          <p:cNvSpPr>
            <a:spLocks noChangeArrowheads="1"/>
          </p:cNvSpPr>
          <p:nvPr>
            <p:custDataLst>
              <p:tags r:id="rId23"/>
            </p:custDataLst>
          </p:nvPr>
        </p:nvSpPr>
        <p:spPr bwMode="auto">
          <a:xfrm>
            <a:off x="3626347" y="4881209"/>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3</a:t>
            </a:r>
          </a:p>
        </p:txBody>
      </p:sp>
      <p:sp>
        <p:nvSpPr>
          <p:cNvPr id="65" name="Oval 13">
            <a:extLst>
              <a:ext uri="{FF2B5EF4-FFF2-40B4-BE49-F238E27FC236}">
                <a16:creationId xmlns:a16="http://schemas.microsoft.com/office/drawing/2014/main" id="{C6FA5A1C-7224-4FCD-BB91-B49A14A482DA}"/>
              </a:ext>
            </a:extLst>
          </p:cNvPr>
          <p:cNvSpPr>
            <a:spLocks noChangeArrowheads="1"/>
          </p:cNvSpPr>
          <p:nvPr>
            <p:custDataLst>
              <p:tags r:id="rId24"/>
            </p:custDataLst>
          </p:nvPr>
        </p:nvSpPr>
        <p:spPr bwMode="auto">
          <a:xfrm>
            <a:off x="5048279" y="3801767"/>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0</a:t>
            </a:r>
          </a:p>
        </p:txBody>
      </p:sp>
      <p:sp>
        <p:nvSpPr>
          <p:cNvPr id="66" name="Oval 13">
            <a:extLst>
              <a:ext uri="{FF2B5EF4-FFF2-40B4-BE49-F238E27FC236}">
                <a16:creationId xmlns:a16="http://schemas.microsoft.com/office/drawing/2014/main" id="{C6FA5A1C-7224-4FCD-BB91-B49A14A482DA}"/>
              </a:ext>
            </a:extLst>
          </p:cNvPr>
          <p:cNvSpPr>
            <a:spLocks noChangeArrowheads="1"/>
          </p:cNvSpPr>
          <p:nvPr>
            <p:custDataLst>
              <p:tags r:id="rId25"/>
            </p:custDataLst>
          </p:nvPr>
        </p:nvSpPr>
        <p:spPr bwMode="auto">
          <a:xfrm>
            <a:off x="4724232" y="4356546"/>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3</a:t>
            </a:r>
          </a:p>
        </p:txBody>
      </p:sp>
      <p:sp>
        <p:nvSpPr>
          <p:cNvPr id="67" name="Oval 13">
            <a:extLst>
              <a:ext uri="{FF2B5EF4-FFF2-40B4-BE49-F238E27FC236}">
                <a16:creationId xmlns:a16="http://schemas.microsoft.com/office/drawing/2014/main" id="{C6FA5A1C-7224-4FCD-BB91-B49A14A482DA}"/>
              </a:ext>
            </a:extLst>
          </p:cNvPr>
          <p:cNvSpPr>
            <a:spLocks noChangeArrowheads="1"/>
          </p:cNvSpPr>
          <p:nvPr>
            <p:custDataLst>
              <p:tags r:id="rId26"/>
            </p:custDataLst>
          </p:nvPr>
        </p:nvSpPr>
        <p:spPr bwMode="auto">
          <a:xfrm>
            <a:off x="4344046" y="4822504"/>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4</a:t>
            </a:r>
          </a:p>
        </p:txBody>
      </p:sp>
      <p:sp>
        <p:nvSpPr>
          <p:cNvPr id="68" name="Oval 13">
            <a:extLst>
              <a:ext uri="{FF2B5EF4-FFF2-40B4-BE49-F238E27FC236}">
                <a16:creationId xmlns:a16="http://schemas.microsoft.com/office/drawing/2014/main" id="{0FDAA96F-787F-4E6F-A0E7-1DED87CFDA87}"/>
              </a:ext>
            </a:extLst>
          </p:cNvPr>
          <p:cNvSpPr>
            <a:spLocks noChangeArrowheads="1"/>
          </p:cNvSpPr>
          <p:nvPr>
            <p:custDataLst>
              <p:tags r:id="rId27"/>
            </p:custDataLst>
          </p:nvPr>
        </p:nvSpPr>
        <p:spPr bwMode="auto">
          <a:xfrm>
            <a:off x="7817693" y="1662473"/>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16</a:t>
            </a:r>
          </a:p>
        </p:txBody>
      </p:sp>
      <p:sp>
        <p:nvSpPr>
          <p:cNvPr id="69" name="Oval 13">
            <a:extLst>
              <a:ext uri="{FF2B5EF4-FFF2-40B4-BE49-F238E27FC236}">
                <a16:creationId xmlns:a16="http://schemas.microsoft.com/office/drawing/2014/main" id="{0FDAA96F-787F-4E6F-A0E7-1DED87CFDA87}"/>
              </a:ext>
            </a:extLst>
          </p:cNvPr>
          <p:cNvSpPr>
            <a:spLocks noChangeArrowheads="1"/>
          </p:cNvSpPr>
          <p:nvPr>
            <p:custDataLst>
              <p:tags r:id="rId28"/>
            </p:custDataLst>
          </p:nvPr>
        </p:nvSpPr>
        <p:spPr bwMode="auto">
          <a:xfrm>
            <a:off x="6381425" y="1662473"/>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17</a:t>
            </a:r>
          </a:p>
        </p:txBody>
      </p:sp>
      <p:sp>
        <p:nvSpPr>
          <p:cNvPr id="70" name="Oval 13">
            <a:extLst>
              <a:ext uri="{FF2B5EF4-FFF2-40B4-BE49-F238E27FC236}">
                <a16:creationId xmlns:a16="http://schemas.microsoft.com/office/drawing/2014/main" id="{0FDAA96F-787F-4E6F-A0E7-1DED87CFDA87}"/>
              </a:ext>
            </a:extLst>
          </p:cNvPr>
          <p:cNvSpPr>
            <a:spLocks noChangeArrowheads="1"/>
          </p:cNvSpPr>
          <p:nvPr>
            <p:custDataLst>
              <p:tags r:id="rId29"/>
            </p:custDataLst>
          </p:nvPr>
        </p:nvSpPr>
        <p:spPr bwMode="auto">
          <a:xfrm>
            <a:off x="6465421" y="2199653"/>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19</a:t>
            </a:r>
          </a:p>
        </p:txBody>
      </p:sp>
      <p:sp>
        <p:nvSpPr>
          <p:cNvPr id="71" name="Oval 13">
            <a:extLst>
              <a:ext uri="{FF2B5EF4-FFF2-40B4-BE49-F238E27FC236}">
                <a16:creationId xmlns:a16="http://schemas.microsoft.com/office/drawing/2014/main" id="{0FDAA96F-787F-4E6F-A0E7-1DED87CFDA87}"/>
              </a:ext>
            </a:extLst>
          </p:cNvPr>
          <p:cNvSpPr>
            <a:spLocks noChangeArrowheads="1"/>
          </p:cNvSpPr>
          <p:nvPr>
            <p:custDataLst>
              <p:tags r:id="rId30"/>
            </p:custDataLst>
          </p:nvPr>
        </p:nvSpPr>
        <p:spPr bwMode="auto">
          <a:xfrm>
            <a:off x="7125978" y="2448469"/>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25</a:t>
            </a:r>
          </a:p>
        </p:txBody>
      </p:sp>
      <p:sp>
        <p:nvSpPr>
          <p:cNvPr id="72" name="Oval 13">
            <a:extLst>
              <a:ext uri="{FF2B5EF4-FFF2-40B4-BE49-F238E27FC236}">
                <a16:creationId xmlns:a16="http://schemas.microsoft.com/office/drawing/2014/main" id="{0FDAA96F-787F-4E6F-A0E7-1DED87CFDA87}"/>
              </a:ext>
            </a:extLst>
          </p:cNvPr>
          <p:cNvSpPr>
            <a:spLocks noChangeArrowheads="1"/>
          </p:cNvSpPr>
          <p:nvPr>
            <p:custDataLst>
              <p:tags r:id="rId31"/>
            </p:custDataLst>
          </p:nvPr>
        </p:nvSpPr>
        <p:spPr bwMode="auto">
          <a:xfrm>
            <a:off x="8521489" y="2057746"/>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26</a:t>
            </a:r>
          </a:p>
        </p:txBody>
      </p:sp>
      <p:sp>
        <p:nvSpPr>
          <p:cNvPr id="73" name="Oval 13">
            <a:extLst>
              <a:ext uri="{FF2B5EF4-FFF2-40B4-BE49-F238E27FC236}">
                <a16:creationId xmlns:a16="http://schemas.microsoft.com/office/drawing/2014/main" id="{0FDAA96F-787F-4E6F-A0E7-1DED87CFDA87}"/>
              </a:ext>
            </a:extLst>
          </p:cNvPr>
          <p:cNvSpPr>
            <a:spLocks noChangeArrowheads="1"/>
          </p:cNvSpPr>
          <p:nvPr>
            <p:custDataLst>
              <p:tags r:id="rId32"/>
            </p:custDataLst>
          </p:nvPr>
        </p:nvSpPr>
        <p:spPr bwMode="auto">
          <a:xfrm>
            <a:off x="6560165" y="2821135"/>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27</a:t>
            </a:r>
          </a:p>
        </p:txBody>
      </p:sp>
      <p:sp>
        <p:nvSpPr>
          <p:cNvPr id="74" name="Oval 13">
            <a:extLst>
              <a:ext uri="{FF2B5EF4-FFF2-40B4-BE49-F238E27FC236}">
                <a16:creationId xmlns:a16="http://schemas.microsoft.com/office/drawing/2014/main" id="{0FDAA96F-787F-4E6F-A0E7-1DED87CFDA87}"/>
              </a:ext>
            </a:extLst>
          </p:cNvPr>
          <p:cNvSpPr>
            <a:spLocks noChangeArrowheads="1"/>
          </p:cNvSpPr>
          <p:nvPr>
            <p:custDataLst>
              <p:tags r:id="rId33"/>
            </p:custDataLst>
          </p:nvPr>
        </p:nvSpPr>
        <p:spPr bwMode="auto">
          <a:xfrm>
            <a:off x="8535884" y="2780351"/>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32</a:t>
            </a:r>
          </a:p>
        </p:txBody>
      </p:sp>
      <p:sp>
        <p:nvSpPr>
          <p:cNvPr id="75" name="Oval 13">
            <a:extLst>
              <a:ext uri="{FF2B5EF4-FFF2-40B4-BE49-F238E27FC236}">
                <a16:creationId xmlns:a16="http://schemas.microsoft.com/office/drawing/2014/main" id="{3AC0EA23-CCB1-456C-BA2E-43864348972F}"/>
              </a:ext>
            </a:extLst>
          </p:cNvPr>
          <p:cNvSpPr>
            <a:spLocks noChangeArrowheads="1"/>
          </p:cNvSpPr>
          <p:nvPr>
            <p:custDataLst>
              <p:tags r:id="rId34"/>
            </p:custDataLst>
          </p:nvPr>
        </p:nvSpPr>
        <p:spPr bwMode="auto">
          <a:xfrm>
            <a:off x="8521489" y="1517612"/>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a:t>
            </a:r>
            <a:r>
              <a:rPr lang="en-GB" sz="1000" b="1" kern="0" dirty="0">
                <a:solidFill>
                  <a:prstClr val="white"/>
                </a:solidFill>
                <a:latin typeface="Georgia"/>
                <a:ea typeface="ＭＳ Ｐゴシック"/>
                <a:cs typeface="Calibri" panose="020F0502020204030204" pitchFamily="34" charset="0"/>
              </a:rPr>
              <a:t>1</a:t>
            </a:r>
            <a:endPar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endParaRPr>
          </a:p>
        </p:txBody>
      </p:sp>
    </p:spTree>
    <p:extLst>
      <p:ext uri="{BB962C8B-B14F-4D97-AF65-F5344CB8AC3E}">
        <p14:creationId xmlns:p14="http://schemas.microsoft.com/office/powerpoint/2010/main" val="13394164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D00601A-24E7-468F-A993-94D27B41E287}"/>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lvl="0">
              <a:defRPr/>
            </a:pPr>
            <a:r>
              <a:rPr lang="en-US" kern="0" dirty="0">
                <a:solidFill>
                  <a:srgbClr val="073262"/>
                </a:solidFill>
              </a:rPr>
              <a:t>Categories</a:t>
            </a:r>
          </a:p>
        </p:txBody>
      </p:sp>
      <p:grpSp>
        <p:nvGrpSpPr>
          <p:cNvPr id="19" name="Group 18">
            <a:extLst>
              <a:ext uri="{FF2B5EF4-FFF2-40B4-BE49-F238E27FC236}">
                <a16:creationId xmlns:a16="http://schemas.microsoft.com/office/drawing/2014/main" id="{9FE74E51-FB57-4899-A336-A69EA1B66A04}"/>
              </a:ext>
            </a:extLst>
          </p:cNvPr>
          <p:cNvGrpSpPr/>
          <p:nvPr/>
        </p:nvGrpSpPr>
        <p:grpSpPr>
          <a:xfrm>
            <a:off x="753667" y="1332202"/>
            <a:ext cx="10684666" cy="4745154"/>
            <a:chOff x="981257" y="2126696"/>
            <a:chExt cx="7056943" cy="2981941"/>
          </a:xfrm>
        </p:grpSpPr>
        <p:sp>
          <p:nvSpPr>
            <p:cNvPr id="20" name="Rounded Rectangle 3">
              <a:extLst>
                <a:ext uri="{FF2B5EF4-FFF2-40B4-BE49-F238E27FC236}">
                  <a16:creationId xmlns:a16="http://schemas.microsoft.com/office/drawing/2014/main" id="{C70A2FE2-2BBA-49D5-90E3-65EE19D52754}"/>
                </a:ext>
              </a:extLst>
            </p:cNvPr>
            <p:cNvSpPr/>
            <p:nvPr/>
          </p:nvSpPr>
          <p:spPr>
            <a:xfrm>
              <a:off x="981257" y="2126696"/>
              <a:ext cx="2970000" cy="1381776"/>
            </a:xfrm>
            <a:prstGeom prst="roundRect">
              <a:avLst/>
            </a:prstGeom>
            <a:solidFill>
              <a:srgbClr val="07326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Georgia"/>
                </a:rPr>
                <a:t>PROCESS</a:t>
              </a:r>
              <a:endParaRPr kumimoji="0" lang="id-ID" sz="2000" b="1" i="0" u="none" strike="noStrike" kern="0" cap="none" spc="0" normalizeH="0" baseline="0" noProof="0" dirty="0">
                <a:ln>
                  <a:noFill/>
                </a:ln>
                <a:solidFill>
                  <a:prstClr val="white"/>
                </a:solidFill>
                <a:effectLst/>
                <a:uLnTx/>
                <a:uFillTx/>
                <a:latin typeface="Georgia"/>
              </a:endParaRPr>
            </a:p>
          </p:txBody>
        </p:sp>
        <p:sp>
          <p:nvSpPr>
            <p:cNvPr id="21" name="Oval 20">
              <a:extLst>
                <a:ext uri="{FF2B5EF4-FFF2-40B4-BE49-F238E27FC236}">
                  <a16:creationId xmlns:a16="http://schemas.microsoft.com/office/drawing/2014/main" id="{0FB2B5D2-688B-4C10-AD47-5DA7307CD5E5}"/>
                </a:ext>
              </a:extLst>
            </p:cNvPr>
            <p:cNvSpPr>
              <a:spLocks noChangeAspect="1"/>
            </p:cNvSpPr>
            <p:nvPr/>
          </p:nvSpPr>
          <p:spPr>
            <a:xfrm>
              <a:off x="3478758" y="2345084"/>
              <a:ext cx="945000" cy="945000"/>
            </a:xfrm>
            <a:prstGeom prst="ellipse">
              <a:avLst/>
            </a:prstGeom>
            <a:solidFill>
              <a:srgbClr val="FF555F"/>
            </a:solidFill>
            <a:ln w="508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Georgia"/>
                </a:rPr>
                <a:t>4</a:t>
              </a:r>
              <a:endParaRPr kumimoji="0" lang="id-ID" sz="2800" b="1" i="0" u="none" strike="noStrike" kern="0" cap="none" spc="0" normalizeH="0" baseline="0" noProof="0" dirty="0">
                <a:ln>
                  <a:noFill/>
                </a:ln>
                <a:solidFill>
                  <a:prstClr val="white"/>
                </a:solidFill>
                <a:effectLst/>
                <a:uLnTx/>
                <a:uFillTx/>
                <a:latin typeface="Georgia"/>
              </a:endParaRPr>
            </a:p>
          </p:txBody>
        </p:sp>
        <p:sp>
          <p:nvSpPr>
            <p:cNvPr id="22" name="Rounded Rectangle 5">
              <a:extLst>
                <a:ext uri="{FF2B5EF4-FFF2-40B4-BE49-F238E27FC236}">
                  <a16:creationId xmlns:a16="http://schemas.microsoft.com/office/drawing/2014/main" id="{C48CDE7B-595F-4BB7-81C2-B758F08640D7}"/>
                </a:ext>
              </a:extLst>
            </p:cNvPr>
            <p:cNvSpPr/>
            <p:nvPr/>
          </p:nvSpPr>
          <p:spPr>
            <a:xfrm>
              <a:off x="981257" y="3726860"/>
              <a:ext cx="2970000" cy="1381776"/>
            </a:xfrm>
            <a:prstGeom prst="roundRect">
              <a:avLst/>
            </a:prstGeom>
            <a:solidFill>
              <a:srgbClr val="FF55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Georgia"/>
                </a:rPr>
                <a:t>PROCESS/SYSTEM</a:t>
              </a:r>
              <a:endParaRPr kumimoji="0" lang="id-ID" sz="2000" b="1" i="0" u="none" strike="noStrike" kern="0" cap="none" spc="0" normalizeH="0" baseline="0" noProof="0" dirty="0">
                <a:ln>
                  <a:noFill/>
                </a:ln>
                <a:solidFill>
                  <a:prstClr val="white"/>
                </a:solidFill>
                <a:effectLst/>
                <a:uLnTx/>
                <a:uFillTx/>
                <a:latin typeface="Georgia"/>
              </a:endParaRPr>
            </a:p>
          </p:txBody>
        </p:sp>
        <p:sp>
          <p:nvSpPr>
            <p:cNvPr id="23" name="Oval 22">
              <a:extLst>
                <a:ext uri="{FF2B5EF4-FFF2-40B4-BE49-F238E27FC236}">
                  <a16:creationId xmlns:a16="http://schemas.microsoft.com/office/drawing/2014/main" id="{24AABFDC-BF44-47FB-8CC1-E9E34CB7943D}"/>
                </a:ext>
              </a:extLst>
            </p:cNvPr>
            <p:cNvSpPr>
              <a:spLocks noChangeAspect="1"/>
            </p:cNvSpPr>
            <p:nvPr/>
          </p:nvSpPr>
          <p:spPr>
            <a:xfrm>
              <a:off x="3478758" y="3945248"/>
              <a:ext cx="945000" cy="945000"/>
            </a:xfrm>
            <a:prstGeom prst="ellipse">
              <a:avLst/>
            </a:prstGeom>
            <a:solidFill>
              <a:srgbClr val="073262"/>
            </a:solidFill>
            <a:ln w="508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800" b="1" kern="0" noProof="0" dirty="0">
                  <a:solidFill>
                    <a:prstClr val="white"/>
                  </a:solidFill>
                  <a:latin typeface="Georgia"/>
                </a:rPr>
                <a:t>15</a:t>
              </a:r>
              <a:endParaRPr kumimoji="0" lang="id-ID" sz="2800" b="1" i="0" u="none" strike="noStrike" kern="0" cap="none" spc="0" normalizeH="0" baseline="0" noProof="0" dirty="0">
                <a:ln>
                  <a:noFill/>
                </a:ln>
                <a:solidFill>
                  <a:prstClr val="white"/>
                </a:solidFill>
                <a:effectLst/>
                <a:uLnTx/>
                <a:uFillTx/>
                <a:latin typeface="Georgia"/>
              </a:endParaRPr>
            </a:p>
          </p:txBody>
        </p:sp>
        <p:sp>
          <p:nvSpPr>
            <p:cNvPr id="24" name="Rounded Rectangle 7">
              <a:extLst>
                <a:ext uri="{FF2B5EF4-FFF2-40B4-BE49-F238E27FC236}">
                  <a16:creationId xmlns:a16="http://schemas.microsoft.com/office/drawing/2014/main" id="{7CE335CB-6D99-4363-B1B5-DDC917810384}"/>
                </a:ext>
              </a:extLst>
            </p:cNvPr>
            <p:cNvSpPr/>
            <p:nvPr/>
          </p:nvSpPr>
          <p:spPr>
            <a:xfrm>
              <a:off x="5068200" y="2126696"/>
              <a:ext cx="2970000" cy="1381776"/>
            </a:xfrm>
            <a:prstGeom prst="roundRect">
              <a:avLst/>
            </a:prstGeom>
            <a:solidFill>
              <a:srgbClr val="FF55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Georgia"/>
                </a:rPr>
                <a:t>SYSTEM</a:t>
              </a:r>
              <a:endParaRPr kumimoji="0" lang="id-ID" sz="2000" b="1" i="0" u="none" strike="noStrike" kern="0" cap="none" spc="0" normalizeH="0" baseline="0" noProof="0" dirty="0">
                <a:ln>
                  <a:noFill/>
                </a:ln>
                <a:solidFill>
                  <a:prstClr val="white"/>
                </a:solidFill>
                <a:effectLst/>
                <a:uLnTx/>
                <a:uFillTx/>
                <a:latin typeface="Georgia"/>
              </a:endParaRPr>
            </a:p>
          </p:txBody>
        </p:sp>
        <p:sp>
          <p:nvSpPr>
            <p:cNvPr id="25" name="Oval 24">
              <a:extLst>
                <a:ext uri="{FF2B5EF4-FFF2-40B4-BE49-F238E27FC236}">
                  <a16:creationId xmlns:a16="http://schemas.microsoft.com/office/drawing/2014/main" id="{FC8079F7-5933-4D11-81BE-A21495DA9753}"/>
                </a:ext>
              </a:extLst>
            </p:cNvPr>
            <p:cNvSpPr>
              <a:spLocks noChangeAspect="1"/>
            </p:cNvSpPr>
            <p:nvPr/>
          </p:nvSpPr>
          <p:spPr>
            <a:xfrm>
              <a:off x="4613412" y="2345084"/>
              <a:ext cx="945000" cy="945000"/>
            </a:xfrm>
            <a:prstGeom prst="ellipse">
              <a:avLst/>
            </a:prstGeom>
            <a:solidFill>
              <a:srgbClr val="073262"/>
            </a:solidFill>
            <a:ln w="508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Georgia"/>
                </a:rPr>
                <a:t>7</a:t>
              </a:r>
              <a:endParaRPr kumimoji="0" lang="id-ID" sz="2800" b="1" i="0" u="none" strike="noStrike" kern="0" cap="none" spc="0" normalizeH="0" baseline="0" noProof="0" dirty="0">
                <a:ln>
                  <a:noFill/>
                </a:ln>
                <a:solidFill>
                  <a:prstClr val="white"/>
                </a:solidFill>
                <a:effectLst/>
                <a:uLnTx/>
                <a:uFillTx/>
                <a:latin typeface="Georgia"/>
              </a:endParaRPr>
            </a:p>
          </p:txBody>
        </p:sp>
        <p:sp>
          <p:nvSpPr>
            <p:cNvPr id="26" name="Rounded Rectangle 9">
              <a:extLst>
                <a:ext uri="{FF2B5EF4-FFF2-40B4-BE49-F238E27FC236}">
                  <a16:creationId xmlns:a16="http://schemas.microsoft.com/office/drawing/2014/main" id="{71D0D2D2-4921-4A59-A503-D2CCE0C75F96}"/>
                </a:ext>
              </a:extLst>
            </p:cNvPr>
            <p:cNvSpPr/>
            <p:nvPr/>
          </p:nvSpPr>
          <p:spPr>
            <a:xfrm>
              <a:off x="5068200" y="3726861"/>
              <a:ext cx="2970000" cy="1381776"/>
            </a:xfrm>
            <a:prstGeom prst="roundRect">
              <a:avLst/>
            </a:prstGeom>
            <a:solidFill>
              <a:srgbClr val="07326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Georgia"/>
                </a:rPr>
                <a:t>SYSTEM/DATA</a:t>
              </a:r>
              <a:endParaRPr kumimoji="0" lang="id-ID" sz="2000" b="1" i="0" u="none" strike="noStrike" kern="0" cap="none" spc="0" normalizeH="0" baseline="0" noProof="0" dirty="0">
                <a:ln>
                  <a:noFill/>
                </a:ln>
                <a:solidFill>
                  <a:prstClr val="white"/>
                </a:solidFill>
                <a:effectLst/>
                <a:uLnTx/>
                <a:uFillTx/>
                <a:latin typeface="Georgia"/>
              </a:endParaRPr>
            </a:p>
          </p:txBody>
        </p:sp>
        <p:sp>
          <p:nvSpPr>
            <p:cNvPr id="27" name="Oval 26">
              <a:extLst>
                <a:ext uri="{FF2B5EF4-FFF2-40B4-BE49-F238E27FC236}">
                  <a16:creationId xmlns:a16="http://schemas.microsoft.com/office/drawing/2014/main" id="{ADE387AC-833A-4CC5-A4A0-B35F30DE0DB2}"/>
                </a:ext>
              </a:extLst>
            </p:cNvPr>
            <p:cNvSpPr>
              <a:spLocks noChangeAspect="1"/>
            </p:cNvSpPr>
            <p:nvPr/>
          </p:nvSpPr>
          <p:spPr>
            <a:xfrm>
              <a:off x="4613412" y="3945249"/>
              <a:ext cx="945000" cy="945000"/>
            </a:xfrm>
            <a:prstGeom prst="ellipse">
              <a:avLst/>
            </a:prstGeom>
            <a:solidFill>
              <a:srgbClr val="FF555F"/>
            </a:solidFill>
            <a:ln w="508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800" b="1" kern="0" dirty="0">
                  <a:solidFill>
                    <a:prstClr val="white"/>
                  </a:solidFill>
                  <a:latin typeface="Georgia"/>
                </a:rPr>
                <a:t>8</a:t>
              </a:r>
              <a:endParaRPr kumimoji="0" lang="id-ID" sz="2800" b="1" i="0" u="none" strike="noStrike" kern="0" cap="none" spc="0" normalizeH="0" baseline="0" noProof="0" dirty="0">
                <a:ln>
                  <a:noFill/>
                </a:ln>
                <a:solidFill>
                  <a:prstClr val="white"/>
                </a:solidFill>
                <a:effectLst/>
                <a:uLnTx/>
                <a:uFillTx/>
                <a:latin typeface="Georgia"/>
              </a:endParaRPr>
            </a:p>
          </p:txBody>
        </p:sp>
      </p:gr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3734126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57AFC34F-2CFF-4777-9A05-1CBB6F0856A0}"/>
              </a:ext>
            </a:extLst>
          </p:cNvPr>
          <p:cNvSpPr txBox="1">
            <a:spLocks/>
          </p:cNvSpPr>
          <p:nvPr/>
        </p:nvSpPr>
        <p:spPr>
          <a:xfrm>
            <a:off x="442914" y="0"/>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lvl="0">
              <a:defRPr/>
            </a:pPr>
            <a:r>
              <a:rPr lang="en-US" kern="0" dirty="0">
                <a:solidFill>
                  <a:srgbClr val="073262"/>
                </a:solidFill>
              </a:rPr>
              <a:t>Implementation roadmap / Action plan</a:t>
            </a:r>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graphicFrame>
        <p:nvGraphicFramePr>
          <p:cNvPr id="5" name="Group 8">
            <a:extLst>
              <a:ext uri="{FF2B5EF4-FFF2-40B4-BE49-F238E27FC236}">
                <a16:creationId xmlns:a16="http://schemas.microsoft.com/office/drawing/2014/main" id="{2D537C6D-ABBD-4AFD-89CF-E697261A403B}"/>
              </a:ext>
            </a:extLst>
          </p:cNvPr>
          <p:cNvGraphicFramePr>
            <a:graphicFrameLocks/>
          </p:cNvGraphicFramePr>
          <p:nvPr>
            <p:extLst>
              <p:ext uri="{D42A27DB-BD31-4B8C-83A1-F6EECF244321}">
                <p14:modId xmlns:p14="http://schemas.microsoft.com/office/powerpoint/2010/main" val="2487865227"/>
              </p:ext>
            </p:extLst>
          </p:nvPr>
        </p:nvGraphicFramePr>
        <p:xfrm>
          <a:off x="163772" y="475182"/>
          <a:ext cx="11859906" cy="5620014"/>
        </p:xfrm>
        <a:graphic>
          <a:graphicData uri="http://schemas.openxmlformats.org/drawingml/2006/table">
            <a:tbl>
              <a:tblPr/>
              <a:tblGrid>
                <a:gridCol w="322748">
                  <a:extLst>
                    <a:ext uri="{9D8B030D-6E8A-4147-A177-3AD203B41FA5}">
                      <a16:colId xmlns:a16="http://schemas.microsoft.com/office/drawing/2014/main" val="20000"/>
                    </a:ext>
                  </a:extLst>
                </a:gridCol>
                <a:gridCol w="1002167">
                  <a:extLst>
                    <a:ext uri="{9D8B030D-6E8A-4147-A177-3AD203B41FA5}">
                      <a16:colId xmlns:a16="http://schemas.microsoft.com/office/drawing/2014/main" val="20001"/>
                    </a:ext>
                  </a:extLst>
                </a:gridCol>
                <a:gridCol w="6357723">
                  <a:extLst>
                    <a:ext uri="{9D8B030D-6E8A-4147-A177-3AD203B41FA5}">
                      <a16:colId xmlns:a16="http://schemas.microsoft.com/office/drawing/2014/main" val="20003"/>
                    </a:ext>
                  </a:extLst>
                </a:gridCol>
                <a:gridCol w="959184">
                  <a:extLst>
                    <a:ext uri="{9D8B030D-6E8A-4147-A177-3AD203B41FA5}">
                      <a16:colId xmlns:a16="http://schemas.microsoft.com/office/drawing/2014/main" val="20004"/>
                    </a:ext>
                  </a:extLst>
                </a:gridCol>
                <a:gridCol w="1073713">
                  <a:extLst>
                    <a:ext uri="{9D8B030D-6E8A-4147-A177-3AD203B41FA5}">
                      <a16:colId xmlns:a16="http://schemas.microsoft.com/office/drawing/2014/main" val="20005"/>
                    </a:ext>
                  </a:extLst>
                </a:gridCol>
                <a:gridCol w="916235">
                  <a:extLst>
                    <a:ext uri="{9D8B030D-6E8A-4147-A177-3AD203B41FA5}">
                      <a16:colId xmlns:a16="http://schemas.microsoft.com/office/drawing/2014/main" val="20006"/>
                    </a:ext>
                  </a:extLst>
                </a:gridCol>
                <a:gridCol w="1228136">
                  <a:extLst>
                    <a:ext uri="{9D8B030D-6E8A-4147-A177-3AD203B41FA5}">
                      <a16:colId xmlns:a16="http://schemas.microsoft.com/office/drawing/2014/main" val="20007"/>
                    </a:ext>
                  </a:extLst>
                </a:gridCol>
              </a:tblGrid>
              <a:tr h="584344">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kern="1200" cap="none" normalizeH="0" baseline="0" dirty="0">
                          <a:ln>
                            <a:noFill/>
                          </a:ln>
                          <a:solidFill>
                            <a:schemeClr val="bg1"/>
                          </a:solidFill>
                          <a:effectLst/>
                          <a:latin typeface="Arial" charset="0"/>
                          <a:ea typeface="+mn-ea"/>
                          <a:cs typeface="+mn-cs"/>
                        </a:rPr>
                        <a:t>#</a:t>
                      </a:r>
                    </a:p>
                  </a:txBody>
                  <a:tcPr marL="72000" marR="72000" marT="27432" marB="27432" anchor="ctr" horzOverflow="overflow">
                    <a:lnL w="3175" cap="flat" cmpd="sng" algn="ctr">
                      <a:solidFill>
                        <a:srgbClr val="00608A"/>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System &amp; Tools</a:t>
                      </a:r>
                      <a:endParaRPr kumimoji="0" lang="en-US" sz="1200" b="1" i="0" u="none" strike="noStrike" cap="none" normalizeH="0" baseline="0" dirty="0">
                        <a:ln>
                          <a:noFill/>
                        </a:ln>
                        <a:solidFill>
                          <a:srgbClr val="FF0000"/>
                        </a:solidFill>
                        <a:effectLst/>
                        <a:latin typeface="Arial" charset="0"/>
                      </a:endParaRP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Solution/Next Steps</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Owner</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rPr>
                        <a:t>Completion date</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FFFFFF"/>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defTabSz="914400" eaLnBrk="1" fontAlgn="auto" latinLnBrk="0" hangingPunct="1">
                        <a:lnSpc>
                          <a:spcPct val="100000"/>
                        </a:lnSpc>
                        <a:spcBef>
                          <a:spcPts val="0"/>
                        </a:spcBef>
                        <a:spcAft>
                          <a:spcPts val="0"/>
                        </a:spcAft>
                        <a:buClr>
                          <a:srgbClr val="E7E5D3"/>
                        </a:buClr>
                        <a:buSzTx/>
                        <a:buFontTx/>
                        <a:buNone/>
                        <a:tabLst/>
                        <a:defRPr/>
                      </a:pPr>
                      <a:r>
                        <a:rPr kumimoji="0" lang="en-US" sz="1200" b="1" i="0" u="none" strike="noStrike" kern="0" cap="none" spc="0" normalizeH="0" baseline="0" noProof="0" dirty="0">
                          <a:ln>
                            <a:noFill/>
                          </a:ln>
                          <a:solidFill>
                            <a:schemeClr val="bg1"/>
                          </a:solidFill>
                          <a:effectLst/>
                          <a:uLnTx/>
                          <a:uFillTx/>
                          <a:latin typeface="Arial Bold" pitchFamily="34" charset="0"/>
                          <a:ea typeface="ＭＳ Ｐゴシック"/>
                          <a:cs typeface="Arial Bold" pitchFamily="34" charset="0"/>
                        </a:rPr>
                        <a:t>KPI – Bowler metric</a:t>
                      </a:r>
                    </a:p>
                  </a:txBody>
                  <a:tcPr marL="72000" marR="72000" marT="27432" marB="27432" anchor="ctr" horzOverflow="overflow">
                    <a:lnL w="3175" cap="flat" cmpd="sng" algn="ctr">
                      <a:solidFill>
                        <a:srgbClr val="FFFFFF"/>
                      </a:solidFill>
                      <a:prstDash val="solid"/>
                      <a:round/>
                      <a:headEnd type="none" w="med" len="med"/>
                      <a:tailEnd type="none" w="med" len="med"/>
                    </a:lnL>
                    <a:lnR w="3175" cap="flat" cmpd="sng" algn="ctr">
                      <a:solidFill>
                        <a:srgbClr val="00608A"/>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tc>
                  <a:txBody>
                    <a:bodyPr/>
                    <a:lstStyle/>
                    <a:p>
                      <a:pPr marL="0" marR="0" lvl="0" indent="0" defTabSz="914400" eaLnBrk="1" fontAlgn="auto" latinLnBrk="0" hangingPunct="1">
                        <a:lnSpc>
                          <a:spcPct val="100000"/>
                        </a:lnSpc>
                        <a:spcBef>
                          <a:spcPts val="0"/>
                        </a:spcBef>
                        <a:spcAft>
                          <a:spcPts val="0"/>
                        </a:spcAft>
                        <a:buClr>
                          <a:srgbClr val="E7E5D3"/>
                        </a:buClr>
                        <a:buSzTx/>
                        <a:buFontTx/>
                        <a:buNone/>
                        <a:tabLst/>
                        <a:defRPr/>
                      </a:pPr>
                      <a:r>
                        <a:rPr kumimoji="0" lang="en-US" sz="1200" b="1" i="0" u="none" strike="noStrike" kern="0" cap="none" spc="0" normalizeH="0" baseline="0" noProof="0" dirty="0">
                          <a:ln>
                            <a:noFill/>
                          </a:ln>
                          <a:solidFill>
                            <a:schemeClr val="bg1"/>
                          </a:solidFill>
                          <a:effectLst/>
                          <a:uLnTx/>
                          <a:uFillTx/>
                          <a:latin typeface="Arial Bold" pitchFamily="34" charset="0"/>
                          <a:ea typeface="ＭＳ Ｐゴシック"/>
                          <a:cs typeface="Arial Bold" pitchFamily="34" charset="0"/>
                        </a:rPr>
                        <a:t>Issues / Challenges / Help needed</a:t>
                      </a:r>
                    </a:p>
                  </a:txBody>
                  <a:tcPr marL="72000" marR="72000" marT="27432" marB="27432" anchor="ctr" horzOverflow="overflow">
                    <a:lnL w="3175" cap="flat" cmpd="sng" algn="ctr">
                      <a:solidFill>
                        <a:srgbClr val="00608A"/>
                      </a:solidFill>
                      <a:prstDash val="solid"/>
                      <a:round/>
                      <a:headEnd type="none" w="med" len="med"/>
                      <a:tailEnd type="none" w="med" len="med"/>
                    </a:lnL>
                    <a:lnR w="3175" cap="flat" cmpd="sng" algn="ctr">
                      <a:solidFill>
                        <a:srgbClr val="00608A"/>
                      </a:solidFill>
                      <a:prstDash val="solid"/>
                      <a:round/>
                      <a:headEnd type="none" w="med" len="med"/>
                      <a:tailEnd type="none" w="med" len="med"/>
                    </a:lnR>
                    <a:lnT w="3175" cap="flat" cmpd="sng" algn="ctr">
                      <a:solidFill>
                        <a:srgbClr val="00608A"/>
                      </a:solidFill>
                      <a:prstDash val="solid"/>
                      <a:round/>
                      <a:headEnd type="none" w="med" len="med"/>
                      <a:tailEnd type="none" w="med" len="med"/>
                    </a:lnT>
                    <a:lnB w="3175" cap="flat" cmpd="sng" algn="ctr">
                      <a:solidFill>
                        <a:srgbClr val="00608A"/>
                      </a:solidFill>
                      <a:prstDash val="solid"/>
                      <a:round/>
                      <a:headEnd type="none" w="med" len="med"/>
                      <a:tailEnd type="none" w="med" len="med"/>
                    </a:lnB>
                    <a:lnTlToBr>
                      <a:noFill/>
                    </a:lnTlToBr>
                    <a:lnBlToTr>
                      <a:noFill/>
                    </a:lnBlToTr>
                    <a:solidFill>
                      <a:srgbClr val="00608A"/>
                    </a:solidFill>
                  </a:tcPr>
                </a:tc>
                <a:extLst>
                  <a:ext uri="{0D108BD9-81ED-4DB2-BD59-A6C34878D82A}">
                    <a16:rowId xmlns:a16="http://schemas.microsoft.com/office/drawing/2014/main" val="10000"/>
                  </a:ext>
                </a:extLst>
              </a:tr>
              <a:tr h="1961524">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I</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Autobank Rule Creation / Modification</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17475" lvl="0" indent="-117475" algn="l" defTabSz="914400" rtl="0" eaLnBrk="0" fontAlgn="auto" latinLnBrk="0"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Creating new rule in AutoBank Cashpool,</a:t>
                      </a:r>
                      <a:r>
                        <a:rPr lang="en-US" sz="1200" kern="0" baseline="0" dirty="0">
                          <a:solidFill>
                            <a:schemeClr val="tx1">
                              <a:lumMod val="85000"/>
                              <a:lumOff val="15000"/>
                            </a:schemeClr>
                          </a:solidFill>
                          <a:latin typeface="+mn-lt"/>
                          <a:ea typeface="+mn-ea"/>
                          <a:cs typeface="+mn-cs"/>
                          <a:sym typeface="Symbol" pitchFamily="18" charset="2"/>
                        </a:rPr>
                        <a:t> Bank Charges, Direct Debit, </a:t>
                      </a:r>
                      <a:r>
                        <a:rPr lang="en-US" sz="1200" kern="0" baseline="0" dirty="0" err="1">
                          <a:solidFill>
                            <a:schemeClr val="tx1">
                              <a:lumMod val="85000"/>
                              <a:lumOff val="15000"/>
                            </a:schemeClr>
                          </a:solidFill>
                          <a:latin typeface="+mn-lt"/>
                          <a:ea typeface="+mn-ea"/>
                          <a:cs typeface="+mn-cs"/>
                          <a:sym typeface="Symbol" pitchFamily="18" charset="2"/>
                        </a:rPr>
                        <a:t>Fx</a:t>
                      </a:r>
                      <a:r>
                        <a:rPr lang="en-US" sz="1200" kern="0" baseline="0" dirty="0">
                          <a:solidFill>
                            <a:schemeClr val="tx1">
                              <a:lumMod val="85000"/>
                              <a:lumOff val="15000"/>
                            </a:schemeClr>
                          </a:solidFill>
                          <a:latin typeface="+mn-lt"/>
                          <a:ea typeface="+mn-ea"/>
                          <a:cs typeface="+mn-cs"/>
                          <a:sym typeface="Symbol" pitchFamily="18" charset="2"/>
                        </a:rPr>
                        <a:t>, Rejection, Payroll</a:t>
                      </a:r>
                    </a:p>
                    <a:p>
                      <a:pPr marL="117475" lvl="0" indent="-117475" algn="l" defTabSz="914400" rtl="0" eaLnBrk="0" fontAlgn="auto" latinLnBrk="0"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Improve matching/clearing % for Payment Run rule and by using</a:t>
                      </a:r>
                      <a:r>
                        <a:rPr lang="en-US" sz="1200" kern="0" baseline="0" dirty="0">
                          <a:solidFill>
                            <a:schemeClr val="tx1">
                              <a:lumMod val="85000"/>
                              <a:lumOff val="15000"/>
                            </a:schemeClr>
                          </a:solidFill>
                          <a:latin typeface="+mn-lt"/>
                          <a:ea typeface="+mn-ea"/>
                          <a:cs typeface="+mn-cs"/>
                          <a:sym typeface="Symbol" pitchFamily="18" charset="2"/>
                        </a:rPr>
                        <a:t> F.13 T-Code</a:t>
                      </a:r>
                      <a:endParaRPr lang="en-US" sz="1200" kern="0" dirty="0">
                        <a:solidFill>
                          <a:schemeClr val="tx1">
                            <a:lumMod val="85000"/>
                            <a:lumOff val="15000"/>
                          </a:schemeClr>
                        </a:solidFill>
                        <a:latin typeface="+mn-lt"/>
                        <a:ea typeface="+mn-ea"/>
                        <a:cs typeface="+mn-cs"/>
                        <a:sym typeface="Symbol" pitchFamily="18" charset="2"/>
                      </a:endParaRPr>
                    </a:p>
                    <a:p>
                      <a:pPr marL="117475" lvl="0" indent="-117475" algn="l" defTabSz="914400" rtl="0" eaLnBrk="0" fontAlgn="auto" latinLnBrk="0"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Providing additional information to Key User for further research on AutoBank</a:t>
                      </a:r>
                    </a:p>
                    <a:p>
                      <a:pPr marL="117475" marR="0" lvl="0" indent="-117475" algn="l" defTabSz="914400" rtl="0" eaLnBrk="0" fontAlgn="auto" latinLnBrk="0" hangingPunct="0">
                        <a:lnSpc>
                          <a:spcPct val="105000"/>
                        </a:lnSpc>
                        <a:spcBef>
                          <a:spcPts val="300"/>
                        </a:spcBef>
                        <a:spcAft>
                          <a:spcPts val="0"/>
                        </a:spcAft>
                        <a:buClr>
                          <a:schemeClr val="accent1"/>
                        </a:buClr>
                        <a:buSzPct val="100000"/>
                        <a:buFont typeface="Wingdings" pitchFamily="2" charset="2"/>
                        <a:buChar char="§"/>
                        <a:tabLst/>
                        <a:defRPr/>
                      </a:pPr>
                      <a:r>
                        <a:rPr lang="en-US" sz="1200" kern="0" dirty="0">
                          <a:solidFill>
                            <a:schemeClr val="tx1">
                              <a:lumMod val="85000"/>
                              <a:lumOff val="15000"/>
                            </a:schemeClr>
                          </a:solidFill>
                          <a:latin typeface="Arial"/>
                          <a:ea typeface="+mn-ea"/>
                          <a:cs typeface="+mn-cs"/>
                          <a:sym typeface="Symbol" pitchFamily="18" charset="2"/>
                        </a:rPr>
                        <a:t>Auto booking to target GL for Freight Transactions</a:t>
                      </a:r>
                    </a:p>
                    <a:p>
                      <a:pPr marL="117475" marR="0" lvl="0" indent="-117475" algn="l" defTabSz="914400" rtl="0" eaLnBrk="0" fontAlgn="auto" latinLnBrk="0" hangingPunct="0">
                        <a:lnSpc>
                          <a:spcPct val="105000"/>
                        </a:lnSpc>
                        <a:spcBef>
                          <a:spcPts val="300"/>
                        </a:spcBef>
                        <a:spcAft>
                          <a:spcPts val="0"/>
                        </a:spcAft>
                        <a:buClr>
                          <a:schemeClr val="accent1"/>
                        </a:buClr>
                        <a:buSzPct val="100000"/>
                        <a:buFont typeface="Wingdings" pitchFamily="2" charset="2"/>
                        <a:buChar char="§"/>
                        <a:tabLst/>
                        <a:defRPr/>
                      </a:pPr>
                      <a:r>
                        <a:rPr lang="en-US" sz="1200" kern="0" dirty="0">
                          <a:solidFill>
                            <a:schemeClr val="tx1">
                              <a:lumMod val="85000"/>
                              <a:lumOff val="15000"/>
                            </a:schemeClr>
                          </a:solidFill>
                          <a:latin typeface="Arial"/>
                          <a:ea typeface="+mn-ea"/>
                          <a:cs typeface="+mn-cs"/>
                          <a:sym typeface="Symbol" pitchFamily="18" charset="2"/>
                        </a:rPr>
                        <a:t>Increase AutoBank ratio by improving input data/bank narration</a:t>
                      </a:r>
                      <a:endParaRPr lang="en-US" sz="1200" kern="0" dirty="0">
                        <a:solidFill>
                          <a:schemeClr val="tx1">
                            <a:lumMod val="85000"/>
                            <a:lumOff val="15000"/>
                          </a:schemeClr>
                        </a:solidFill>
                        <a:latin typeface="+mn-lt"/>
                        <a:ea typeface="+mn-ea"/>
                        <a:cs typeface="+mn-cs"/>
                        <a:sym typeface="Symbol" pitchFamily="18" charset="2"/>
                      </a:endParaRPr>
                    </a:p>
                    <a:p>
                      <a:pPr marL="117475" marR="0" lvl="0" indent="-117475" algn="l" defTabSz="914400" rtl="0" eaLnBrk="0" fontAlgn="auto" latinLnBrk="0" hangingPunct="0">
                        <a:lnSpc>
                          <a:spcPct val="105000"/>
                        </a:lnSpc>
                        <a:spcBef>
                          <a:spcPts val="300"/>
                        </a:spcBef>
                        <a:spcAft>
                          <a:spcPts val="0"/>
                        </a:spcAft>
                        <a:buClr>
                          <a:schemeClr val="accent1"/>
                        </a:buClr>
                        <a:buSzPct val="100000"/>
                        <a:buFont typeface="Wingdings" pitchFamily="2" charset="2"/>
                        <a:buChar char="§"/>
                        <a:tabLst/>
                        <a:defRPr/>
                      </a:pPr>
                      <a:r>
                        <a:rPr lang="en-US" sz="1200" kern="0" dirty="0">
                          <a:solidFill>
                            <a:schemeClr val="tx1">
                              <a:lumMod val="85000"/>
                              <a:lumOff val="15000"/>
                            </a:schemeClr>
                          </a:solidFill>
                          <a:latin typeface="Arial"/>
                          <a:ea typeface="+mn-ea"/>
                          <a:cs typeface="+mn-cs"/>
                          <a:sym typeface="Symbol" pitchFamily="18" charset="2"/>
                        </a:rPr>
                        <a:t>Payroll - Increasing AutoBank ratio by improving input data</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Key User</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Cash</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Treasury</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baseline="0" dirty="0">
                          <a:solidFill>
                            <a:schemeClr val="tx1">
                              <a:lumMod val="85000"/>
                              <a:lumOff val="15000"/>
                            </a:schemeClr>
                          </a:solidFill>
                          <a:latin typeface="+mn-lt"/>
                          <a:ea typeface="+mn-ea"/>
                          <a:cs typeface="+mn-cs"/>
                          <a:sym typeface="Symbol" pitchFamily="18" charset="2"/>
                        </a:rPr>
                        <a:t>Bank Infra</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Arial"/>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eaLnBrk="0" fontAlgn="auto" hangingPunct="0">
                        <a:lnSpc>
                          <a:spcPct val="105000"/>
                        </a:lnSpc>
                        <a:spcBef>
                          <a:spcPts val="300"/>
                        </a:spcBef>
                        <a:spcAft>
                          <a:spcPts val="0"/>
                        </a:spcAft>
                        <a:buClr>
                          <a:schemeClr val="accent1"/>
                        </a:buClr>
                        <a:buSzPct val="100000"/>
                        <a:buFont typeface="Wingdings" pitchFamily="2" charset="2"/>
                        <a:buNone/>
                        <a:defRPr/>
                      </a:pPr>
                      <a:r>
                        <a:rPr lang="en-US" sz="1200" kern="0" baseline="0" dirty="0">
                          <a:solidFill>
                            <a:schemeClr val="tx1">
                              <a:lumMod val="85000"/>
                              <a:lumOff val="15000"/>
                            </a:schemeClr>
                          </a:solidFill>
                          <a:latin typeface="+mn-lt"/>
                          <a:ea typeface="+mn-ea"/>
                          <a:cs typeface="+mn-cs"/>
                          <a:sym typeface="Symbol" pitchFamily="18" charset="2"/>
                        </a:rPr>
                        <a:t>To Be agreed on draft bowler</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eaLnBrk="0" fontAlgn="auto" hangingPunct="0">
                        <a:lnSpc>
                          <a:spcPct val="105000"/>
                        </a:lnSpc>
                        <a:spcBef>
                          <a:spcPts val="300"/>
                        </a:spcBef>
                        <a:spcAft>
                          <a:spcPts val="0"/>
                        </a:spcAft>
                        <a:buClr>
                          <a:schemeClr val="accent1"/>
                        </a:buClr>
                        <a:buSzPct val="100000"/>
                        <a:buFont typeface="Wingdings" pitchFamily="2" charset="2"/>
                        <a:buNone/>
                        <a:defRPr/>
                      </a:pPr>
                      <a:r>
                        <a:rPr lang="en-US" sz="1200" kern="0" baseline="0" dirty="0">
                          <a:solidFill>
                            <a:schemeClr val="tx1">
                              <a:lumMod val="85000"/>
                              <a:lumOff val="15000"/>
                            </a:schemeClr>
                          </a:solidFill>
                          <a:latin typeface="+mn-lt"/>
                          <a:ea typeface="+mn-ea"/>
                          <a:cs typeface="+mn-cs"/>
                          <a:sym typeface="Symbol" pitchFamily="18" charset="2"/>
                        </a:rPr>
                        <a:t>Key users to evaluate the scenario for its success</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3175" cap="flat" cmpd="sng" algn="ctr">
                      <a:solidFill>
                        <a:srgbClr val="00608A"/>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1"/>
                  </a:ext>
                </a:extLst>
              </a:tr>
              <a:tr h="847434">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2</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Improving Cash Process</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Automation of ARM reconciliation preparation &amp; upload</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Automation of OI Categorization and reporting</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Gabor Bathi</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Cash</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In-Progress</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eaLnBrk="0" fontAlgn="auto" hangingPunct="0">
                        <a:lnSpc>
                          <a:spcPct val="105000"/>
                        </a:lnSpc>
                        <a:spcBef>
                          <a:spcPts val="300"/>
                        </a:spcBef>
                        <a:spcAft>
                          <a:spcPts val="0"/>
                        </a:spcAft>
                        <a:buClr>
                          <a:schemeClr val="accent1"/>
                        </a:buClr>
                        <a:buSzPct val="100000"/>
                        <a:buFont typeface="Wingdings" pitchFamily="2" charset="2"/>
                        <a:buNone/>
                        <a:defRPr/>
                      </a:pPr>
                      <a:r>
                        <a:rPr lang="en-US" sz="1200" kern="0" baseline="0" dirty="0">
                          <a:solidFill>
                            <a:schemeClr val="tx1">
                              <a:lumMod val="85000"/>
                              <a:lumOff val="15000"/>
                            </a:schemeClr>
                          </a:solidFill>
                          <a:latin typeface="Arial"/>
                          <a:ea typeface="+mn-ea"/>
                          <a:cs typeface="+mn-cs"/>
                          <a:sym typeface="Symbol" pitchFamily="18" charset="2"/>
                        </a:rPr>
                        <a:t>To be agreed on draft bowler</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eaLnBrk="0" fontAlgn="auto" hangingPunct="0">
                        <a:lnSpc>
                          <a:spcPct val="105000"/>
                        </a:lnSpc>
                        <a:spcBef>
                          <a:spcPts val="300"/>
                        </a:spcBef>
                        <a:spcAft>
                          <a:spcPts val="0"/>
                        </a:spcAft>
                        <a:buClr>
                          <a:schemeClr val="accent1"/>
                        </a:buClr>
                        <a:buSzPct val="100000"/>
                        <a:buFont typeface="Wingdings" pitchFamily="2" charset="2"/>
                        <a:buNone/>
                        <a:defRPr/>
                      </a:pPr>
                      <a:r>
                        <a:rPr lang="en-US" sz="1200" kern="0" dirty="0">
                          <a:solidFill>
                            <a:schemeClr val="tx1">
                              <a:lumMod val="85000"/>
                              <a:lumOff val="15000"/>
                            </a:schemeClr>
                          </a:solidFill>
                          <a:latin typeface="+mn-lt"/>
                          <a:ea typeface="+mn-ea"/>
                          <a:cs typeface="+mn-cs"/>
                          <a:sym typeface="Symbol" pitchFamily="18" charset="2"/>
                        </a:rPr>
                        <a:t>Opportunity</a:t>
                      </a:r>
                      <a:r>
                        <a:rPr lang="en-US" sz="1200" kern="0" baseline="0" dirty="0">
                          <a:solidFill>
                            <a:schemeClr val="tx1">
                              <a:lumMod val="85000"/>
                              <a:lumOff val="15000"/>
                            </a:schemeClr>
                          </a:solidFill>
                          <a:latin typeface="+mn-lt"/>
                          <a:ea typeface="+mn-ea"/>
                          <a:cs typeface="+mn-cs"/>
                          <a:sym typeface="Symbol" pitchFamily="18" charset="2"/>
                        </a:rPr>
                        <a:t> for BOT implementation</a:t>
                      </a:r>
                      <a:endParaRPr lang="en-US" sz="1200" kern="0" dirty="0">
                        <a:solidFill>
                          <a:schemeClr val="tx1">
                            <a:lumMod val="85000"/>
                            <a:lumOff val="15000"/>
                          </a:schemeClr>
                        </a:solidFill>
                        <a:latin typeface="+mn-lt"/>
                        <a:ea typeface="+mn-ea"/>
                        <a:cs typeface="+mn-cs"/>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2"/>
                  </a:ext>
                </a:extLst>
              </a:tr>
              <a:tr h="2110561">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3</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10000"/>
                        </a:lnSpc>
                        <a:spcBef>
                          <a:spcPts val="600"/>
                        </a:spcBef>
                        <a:spcAft>
                          <a:spcPct val="0"/>
                        </a:spcAft>
                        <a:buClr>
                          <a:schemeClr val="tx1"/>
                        </a:buClr>
                        <a:buSzPct val="100000"/>
                        <a:buFont typeface="Wingdings" pitchFamily="2" charset="2"/>
                        <a:buNone/>
                        <a:tabLst/>
                        <a:defRPr/>
                      </a:pPr>
                      <a:r>
                        <a:rPr lang="en-US" sz="1200" kern="0" dirty="0">
                          <a:solidFill>
                            <a:schemeClr val="tx1">
                              <a:lumMod val="85000"/>
                              <a:lumOff val="15000"/>
                            </a:schemeClr>
                          </a:solidFill>
                          <a:latin typeface="+mn-lt"/>
                          <a:ea typeface="+mn-ea"/>
                          <a:cs typeface="+mn-cs"/>
                          <a:sym typeface="Symbol" pitchFamily="18" charset="2"/>
                        </a:rPr>
                        <a:t>Improving Upstream process step</a:t>
                      </a:r>
                    </a:p>
                  </a:txBody>
                  <a:tcPr marL="45720" marR="45720" marT="137160" marB="137160" anchor="ctr" horzOverflow="overflow">
                    <a:lnL w="3175" cap="flat" cmpd="sng" algn="ctr">
                      <a:solidFill>
                        <a:srgbClr val="F1EDE5"/>
                      </a:solidFill>
                      <a:prstDash val="solid"/>
                      <a:round/>
                      <a:headEnd type="none" w="med" len="med"/>
                      <a:tailEnd type="none" w="med" len="med"/>
                    </a:lnL>
                    <a:lnR w="3175" cap="flat" cmpd="sng" algn="ctr">
                      <a:solidFill>
                        <a:srgbClr val="F1EDE5"/>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marR="0" lvl="0" indent="-117475" algn="l" defTabSz="457200" rtl="0" eaLnBrk="0" fontAlgn="auto" latinLnBrk="0" hangingPunct="0">
                        <a:lnSpc>
                          <a:spcPct val="105000"/>
                        </a:lnSpc>
                        <a:spcBef>
                          <a:spcPts val="300"/>
                        </a:spcBef>
                        <a:spcAft>
                          <a:spcPts val="0"/>
                        </a:spcAft>
                        <a:buClr>
                          <a:schemeClr val="accent1"/>
                        </a:buClr>
                        <a:buSzPct val="100000"/>
                        <a:buFont typeface="Wingdings" pitchFamily="2" charset="2"/>
                        <a:buChar char="§"/>
                        <a:tabLst/>
                        <a:defRPr/>
                      </a:pPr>
                      <a:r>
                        <a:rPr lang="en-US" sz="1200" kern="0" dirty="0">
                          <a:solidFill>
                            <a:schemeClr val="tx1">
                              <a:lumMod val="85000"/>
                              <a:lumOff val="15000"/>
                            </a:schemeClr>
                          </a:solidFill>
                          <a:latin typeface="+mn-lt"/>
                          <a:ea typeface="+mn-ea"/>
                          <a:cs typeface="+mn-cs"/>
                          <a:sym typeface="Symbol" pitchFamily="18" charset="2"/>
                        </a:rPr>
                        <a:t>Consistent AP FX/Rejection transaction booking/reduce the number of payment rejections</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Improve process for manual payments (MyPayment) transactions/Enabling mandatory fields</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b="0" u="none" kern="0" dirty="0">
                          <a:solidFill>
                            <a:schemeClr val="tx1">
                              <a:lumMod val="85000"/>
                              <a:lumOff val="15000"/>
                            </a:schemeClr>
                          </a:solidFill>
                          <a:latin typeface="+mn-lt"/>
                          <a:ea typeface="+mn-ea"/>
                          <a:cs typeface="+mn-cs"/>
                          <a:sym typeface="Symbol" pitchFamily="18" charset="2"/>
                        </a:rPr>
                        <a:t>Payroll</a:t>
                      </a:r>
                      <a:r>
                        <a:rPr lang="en-US" sz="1200" b="0" u="none" kern="0" baseline="0" dirty="0">
                          <a:solidFill>
                            <a:schemeClr val="tx1">
                              <a:lumMod val="85000"/>
                              <a:lumOff val="15000"/>
                            </a:schemeClr>
                          </a:solidFill>
                          <a:latin typeface="+mn-lt"/>
                          <a:ea typeface="+mn-ea"/>
                          <a:cs typeface="+mn-cs"/>
                          <a:sym typeface="Symbol" pitchFamily="18" charset="2"/>
                        </a:rPr>
                        <a:t> team to create SOP for E2E payroll process</a:t>
                      </a:r>
                      <a:endParaRPr lang="en-US" sz="1200" b="0" u="none" kern="0" dirty="0">
                        <a:solidFill>
                          <a:schemeClr val="tx1">
                            <a:lumMod val="85000"/>
                            <a:lumOff val="15000"/>
                          </a:schemeClr>
                        </a:solidFill>
                        <a:latin typeface="+mn-lt"/>
                        <a:ea typeface="+mn-ea"/>
                        <a:cs typeface="+mn-cs"/>
                        <a:sym typeface="Symbol" pitchFamily="18" charset="2"/>
                      </a:endParaRP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Improve bank statement quality &amp; OI identification process/input change (SAP/</a:t>
                      </a:r>
                      <a:r>
                        <a:rPr lang="en-US" sz="1200" kern="0" dirty="0" err="1">
                          <a:solidFill>
                            <a:schemeClr val="tx1">
                              <a:lumMod val="85000"/>
                              <a:lumOff val="15000"/>
                            </a:schemeClr>
                          </a:solidFill>
                          <a:latin typeface="+mn-lt"/>
                          <a:ea typeface="+mn-ea"/>
                          <a:cs typeface="+mn-cs"/>
                          <a:sym typeface="Symbol" pitchFamily="18" charset="2"/>
                        </a:rPr>
                        <a:t>Trax</a:t>
                      </a:r>
                      <a:r>
                        <a:rPr lang="en-US" sz="1200" kern="0" dirty="0">
                          <a:solidFill>
                            <a:schemeClr val="tx1">
                              <a:lumMod val="85000"/>
                              <a:lumOff val="15000"/>
                            </a:schemeClr>
                          </a:solidFill>
                          <a:latin typeface="+mn-lt"/>
                          <a:ea typeface="+mn-ea"/>
                          <a:cs typeface="+mn-cs"/>
                          <a:sym typeface="Symbol" pitchFamily="18" charset="2"/>
                        </a:rPr>
                        <a:t>)</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Improve upstream process for bank charges v/s tax, loan v/s interest</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chemeClr val="tx1">
                              <a:lumMod val="85000"/>
                              <a:lumOff val="15000"/>
                            </a:schemeClr>
                          </a:solidFill>
                          <a:latin typeface="+mn-lt"/>
                          <a:ea typeface="+mn-ea"/>
                          <a:cs typeface="+mn-cs"/>
                          <a:sym typeface="Symbol" pitchFamily="18" charset="2"/>
                        </a:rPr>
                        <a:t>Change AutoBank Direct Debit process/create new rules for target GL booking/Process Mapping with S2P to reduce the Direct Debit transactions/Change in </a:t>
                      </a:r>
                      <a:r>
                        <a:rPr lang="en-US" sz="1200" kern="0" dirty="0" err="1">
                          <a:solidFill>
                            <a:schemeClr val="tx1">
                              <a:lumMod val="85000"/>
                              <a:lumOff val="15000"/>
                            </a:schemeClr>
                          </a:solidFill>
                          <a:latin typeface="+mn-lt"/>
                          <a:ea typeface="+mn-ea"/>
                          <a:cs typeface="+mn-cs"/>
                          <a:sym typeface="Symbol" pitchFamily="18" charset="2"/>
                        </a:rPr>
                        <a:t>Trax</a:t>
                      </a:r>
                      <a:r>
                        <a:rPr lang="en-US" sz="1200" kern="0" dirty="0">
                          <a:solidFill>
                            <a:schemeClr val="tx1">
                              <a:lumMod val="85000"/>
                              <a:lumOff val="15000"/>
                            </a:schemeClr>
                          </a:solidFill>
                          <a:latin typeface="+mn-lt"/>
                          <a:ea typeface="+mn-ea"/>
                          <a:cs typeface="+mn-cs"/>
                          <a:sym typeface="Symbol" pitchFamily="18" charset="2"/>
                        </a:rPr>
                        <a:t>/WebCash to include Mandate ID</a:t>
                      </a:r>
                    </a:p>
                  </a:txBody>
                  <a:tcPr marL="45720" marR="45720" marT="137160" marB="137160" horzOverflow="overflow">
                    <a:lnL w="3175" cap="flat" cmpd="sng" algn="ctr">
                      <a:solidFill>
                        <a:srgbClr val="F1EDE5"/>
                      </a:solidFill>
                      <a:prstDash val="solid"/>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AP/S2P</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Payroll</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Cash</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Treasury</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ICO</a:t>
                      </a:r>
                    </a:p>
                    <a:p>
                      <a:pPr marL="117475" lvl="0" indent="-117475" eaLnBrk="0" fontAlgn="auto" hangingPunct="0">
                        <a:lnSpc>
                          <a:spcPct val="105000"/>
                        </a:lnSpc>
                        <a:spcBef>
                          <a:spcPts val="300"/>
                        </a:spcBef>
                        <a:spcAft>
                          <a:spcPts val="0"/>
                        </a:spcAft>
                        <a:buClr>
                          <a:schemeClr val="accent1"/>
                        </a:buClr>
                        <a:buSzPct val="100000"/>
                        <a:buFont typeface="Wingdings" pitchFamily="2" charset="2"/>
                        <a:buChar char="§"/>
                        <a:defRPr/>
                      </a:pPr>
                      <a:r>
                        <a:rPr lang="en-US" sz="1200" kern="0" dirty="0">
                          <a:solidFill>
                            <a:srgbClr val="6B6B6B">
                              <a:lumMod val="75000"/>
                            </a:srgbClr>
                          </a:solidFill>
                          <a:latin typeface="Arial" pitchFamily="34" charset="0"/>
                          <a:ea typeface="+mn-ea"/>
                          <a:cs typeface="Arial" charset="0"/>
                          <a:sym typeface="Symbol" pitchFamily="18" charset="2"/>
                        </a:rPr>
                        <a:t>Key</a:t>
                      </a:r>
                      <a:r>
                        <a:rPr lang="en-US" sz="1200" kern="0" baseline="0" dirty="0">
                          <a:solidFill>
                            <a:srgbClr val="6B6B6B">
                              <a:lumMod val="75000"/>
                            </a:srgbClr>
                          </a:solidFill>
                          <a:latin typeface="Arial" pitchFamily="34" charset="0"/>
                          <a:ea typeface="+mn-ea"/>
                          <a:cs typeface="Arial" charset="0"/>
                          <a:sym typeface="Symbol" pitchFamily="18" charset="2"/>
                        </a:rPr>
                        <a:t> User</a:t>
                      </a:r>
                      <a:endParaRPr lang="en-US" sz="1200" kern="0" dirty="0">
                        <a:solidFill>
                          <a:srgbClr val="6B6B6B">
                            <a:lumMod val="75000"/>
                          </a:srgbClr>
                        </a:solidFill>
                        <a:latin typeface="Arial" pitchFamily="34" charset="0"/>
                        <a:ea typeface="+mn-ea"/>
                        <a:cs typeface="Arial" charset="0"/>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algn="ctr" defTabSz="914400" rtl="0" eaLnBrk="0" fontAlgn="auto" latinLnBrk="0" hangingPunct="0">
                        <a:lnSpc>
                          <a:spcPct val="110000"/>
                        </a:lnSpc>
                        <a:spcBef>
                          <a:spcPts val="600"/>
                        </a:spcBef>
                        <a:spcAft>
                          <a:spcPts val="0"/>
                        </a:spcAft>
                        <a:buClr>
                          <a:srgbClr val="4066B2"/>
                        </a:buClr>
                        <a:buSzPct val="100000"/>
                        <a:buFont typeface="Wingdings" pitchFamily="2" charset="2"/>
                        <a:buNone/>
                        <a:defRPr/>
                      </a:pPr>
                      <a:r>
                        <a:rPr lang="en-US" sz="1200" kern="0" dirty="0">
                          <a:solidFill>
                            <a:schemeClr val="tx1">
                              <a:lumMod val="85000"/>
                              <a:lumOff val="15000"/>
                            </a:schemeClr>
                          </a:solidFill>
                          <a:latin typeface="Arial"/>
                          <a:ea typeface="+mn-ea"/>
                          <a:cs typeface="+mn-cs"/>
                          <a:sym typeface="Symbol" pitchFamily="18" charset="2"/>
                        </a:rPr>
                        <a:t>Not Started</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eaLnBrk="0" fontAlgn="auto" hangingPunct="0">
                        <a:lnSpc>
                          <a:spcPct val="105000"/>
                        </a:lnSpc>
                        <a:spcBef>
                          <a:spcPts val="300"/>
                        </a:spcBef>
                        <a:spcAft>
                          <a:spcPts val="0"/>
                        </a:spcAft>
                        <a:buClr>
                          <a:schemeClr val="accent1"/>
                        </a:buClr>
                        <a:buSzPct val="100000"/>
                        <a:buFont typeface="Wingdings" pitchFamily="2" charset="2"/>
                        <a:buNone/>
                        <a:defRPr/>
                      </a:pPr>
                      <a:r>
                        <a:rPr lang="en-US" sz="1200" kern="0" baseline="0" dirty="0">
                          <a:solidFill>
                            <a:schemeClr val="tx1">
                              <a:lumMod val="85000"/>
                              <a:lumOff val="15000"/>
                            </a:schemeClr>
                          </a:solidFill>
                          <a:latin typeface="Arial"/>
                          <a:ea typeface="+mn-ea"/>
                          <a:cs typeface="+mn-cs"/>
                          <a:sym typeface="Symbol" pitchFamily="18" charset="2"/>
                        </a:rPr>
                        <a:t>To be agree on draft bowler</a:t>
                      </a: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lvl="0" indent="0" eaLnBrk="0" fontAlgn="auto" hangingPunct="0">
                        <a:lnSpc>
                          <a:spcPct val="105000"/>
                        </a:lnSpc>
                        <a:spcBef>
                          <a:spcPts val="300"/>
                        </a:spcBef>
                        <a:spcAft>
                          <a:spcPts val="0"/>
                        </a:spcAft>
                        <a:buClr>
                          <a:schemeClr val="accent1"/>
                        </a:buClr>
                        <a:buSzPct val="100000"/>
                        <a:buFont typeface="Wingdings" pitchFamily="2" charset="2"/>
                        <a:buNone/>
                        <a:defRPr/>
                      </a:pPr>
                      <a:r>
                        <a:rPr lang="en-US" sz="1200" kern="0" dirty="0">
                          <a:solidFill>
                            <a:srgbClr val="6B6B6B">
                              <a:lumMod val="75000"/>
                            </a:srgbClr>
                          </a:solidFill>
                          <a:latin typeface="Arial" pitchFamily="34" charset="0"/>
                          <a:ea typeface="+mn-ea"/>
                          <a:cs typeface="Arial" charset="0"/>
                          <a:sym typeface="Symbol" pitchFamily="18" charset="2"/>
                        </a:rPr>
                        <a:t>Implementation</a:t>
                      </a:r>
                      <a:r>
                        <a:rPr lang="en-US" sz="1200" kern="0" baseline="0" dirty="0">
                          <a:solidFill>
                            <a:srgbClr val="6B6B6B">
                              <a:lumMod val="75000"/>
                            </a:srgbClr>
                          </a:solidFill>
                          <a:latin typeface="Arial" pitchFamily="34" charset="0"/>
                          <a:ea typeface="+mn-ea"/>
                          <a:cs typeface="Arial" charset="0"/>
                          <a:sym typeface="Symbol" pitchFamily="18" charset="2"/>
                        </a:rPr>
                        <a:t> of upstream process fixes to reach the desires target state</a:t>
                      </a:r>
                      <a:endParaRPr lang="en-US" sz="1200" kern="0" dirty="0">
                        <a:solidFill>
                          <a:srgbClr val="6B6B6B">
                            <a:lumMod val="75000"/>
                          </a:srgbClr>
                        </a:solidFill>
                        <a:latin typeface="Arial" pitchFamily="34" charset="0"/>
                        <a:ea typeface="+mn-ea"/>
                        <a:cs typeface="Arial" charset="0"/>
                        <a:sym typeface="Symbol" pitchFamily="18" charset="2"/>
                      </a:endParaRPr>
                    </a:p>
                  </a:txBody>
                  <a:tcPr marL="45720" marR="45720" marT="137160" marB="137160" anchor="ctr" horzOverflow="overflow">
                    <a:lnL w="3175" cap="flat" cmpd="sng" algn="ctr">
                      <a:noFill/>
                      <a:prstDash val="dot"/>
                      <a:round/>
                      <a:headEnd type="none" w="med" len="med"/>
                      <a:tailEnd type="none" w="med" len="med"/>
                    </a:lnL>
                    <a:lnR w="3175" cap="flat" cmpd="sng" algn="ctr">
                      <a:noFill/>
                      <a:prstDash val="dot"/>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ap="flat" cmpd="sng" algn="ctr">
                      <a:solidFill>
                        <a:sysClr val="window" lastClr="FFFFFF">
                          <a:lumMod val="50000"/>
                        </a:sysClr>
                      </a:solidFill>
                      <a:prstDash val="solid"/>
                      <a:round/>
                      <a:headEnd type="none" w="med" len="med"/>
                      <a:tailEnd type="none" w="med" len="med"/>
                    </a:lnB>
                    <a:lnTlToBr>
                      <a:noFill/>
                    </a:lnTlToBr>
                    <a:lnBlToTr>
                      <a:noFill/>
                    </a:lnBlToTr>
                    <a:solidFill>
                      <a:srgbClr val="959697">
                        <a:lumMod val="20000"/>
                        <a:lumOff val="80000"/>
                      </a:srgbClr>
                    </a:solidFill>
                  </a:tcPr>
                </a:tc>
                <a:extLst>
                  <a:ext uri="{0D108BD9-81ED-4DB2-BD59-A6C34878D82A}">
                    <a16:rowId xmlns:a16="http://schemas.microsoft.com/office/drawing/2014/main" val="10003"/>
                  </a:ext>
                </a:extLst>
              </a:tr>
            </a:tbl>
          </a:graphicData>
        </a:graphic>
      </p:graphicFrame>
      <p:graphicFrame>
        <p:nvGraphicFramePr>
          <p:cNvPr id="3" name="Object 2"/>
          <p:cNvGraphicFramePr>
            <a:graphicFrameLocks noChangeAspect="1"/>
          </p:cNvGraphicFramePr>
          <p:nvPr>
            <p:extLst>
              <p:ext uri="{D42A27DB-BD31-4B8C-83A1-F6EECF244321}">
                <p14:modId xmlns:p14="http://schemas.microsoft.com/office/powerpoint/2010/main" val="3999428786"/>
              </p:ext>
            </p:extLst>
          </p:nvPr>
        </p:nvGraphicFramePr>
        <p:xfrm>
          <a:off x="9801367" y="5458339"/>
          <a:ext cx="914400" cy="771525"/>
        </p:xfrm>
        <a:graphic>
          <a:graphicData uri="http://schemas.openxmlformats.org/presentationml/2006/ole">
            <mc:AlternateContent xmlns:mc="http://schemas.openxmlformats.org/markup-compatibility/2006">
              <mc:Choice xmlns:v="urn:schemas-microsoft-com:vml" Requires="v">
                <p:oleObj name="Worksheet" showAsIcon="1" r:id="rId2" imgW="914400" imgH="771480" progId="Excel.Sheet.12">
                  <p:embed/>
                </p:oleObj>
              </mc:Choice>
              <mc:Fallback>
                <p:oleObj name="Worksheet" showAsIcon="1" r:id="rId2" imgW="914400" imgH="771480" progId="Excel.Sheet.12">
                  <p:embed/>
                  <p:pic>
                    <p:nvPicPr>
                      <p:cNvPr id="0" name=""/>
                      <p:cNvPicPr/>
                      <p:nvPr/>
                    </p:nvPicPr>
                    <p:blipFill>
                      <a:blip r:embed="rId3"/>
                      <a:stretch>
                        <a:fillRect/>
                      </a:stretch>
                    </p:blipFill>
                    <p:spPr>
                      <a:xfrm>
                        <a:off x="9801367" y="5458339"/>
                        <a:ext cx="914400" cy="771525"/>
                      </a:xfrm>
                      <a:prstGeom prst="rect">
                        <a:avLst/>
                      </a:prstGeom>
                    </p:spPr>
                  </p:pic>
                </p:oleObj>
              </mc:Fallback>
            </mc:AlternateContent>
          </a:graphicData>
        </a:graphic>
      </p:graphicFrame>
      <p:sp>
        <p:nvSpPr>
          <p:cNvPr id="4" name="TextBox 3"/>
          <p:cNvSpPr txBox="1"/>
          <p:nvPr/>
        </p:nvSpPr>
        <p:spPr>
          <a:xfrm>
            <a:off x="163772" y="6239147"/>
            <a:ext cx="11859906" cy="431789"/>
          </a:xfrm>
          <a:prstGeom prst="rect">
            <a:avLst/>
          </a:prstGeom>
          <a:solidFill>
            <a:schemeClr val="bg1">
              <a:lumMod val="95000"/>
            </a:schemeClr>
          </a:solidFill>
          <a:ln>
            <a:solidFill>
              <a:schemeClr val="tx1"/>
            </a:solidFill>
          </a:ln>
        </p:spPr>
        <p:txBody>
          <a:bodyPr vert="horz" wrap="none" lIns="0" tIns="45720" rIns="91440" bIns="45720" rtlCol="0" anchor="t">
            <a:noAutofit/>
          </a:bodyPr>
          <a:lstStyle/>
          <a:p>
            <a:pPr algn="ctr"/>
            <a:r>
              <a:rPr lang="en-US" sz="1600" dirty="0"/>
              <a:t>AutoBank % Increase from 50% to 70% (Increase in TC Penetration by 10% &amp; Process Improvements by 10%)</a:t>
            </a:r>
          </a:p>
        </p:txBody>
      </p:sp>
    </p:spTree>
    <p:extLst>
      <p:ext uri="{BB962C8B-B14F-4D97-AF65-F5344CB8AC3E}">
        <p14:creationId xmlns:p14="http://schemas.microsoft.com/office/powerpoint/2010/main" val="16589757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Placeholder 1">
            <a:extLst>
              <a:ext uri="{FF2B5EF4-FFF2-40B4-BE49-F238E27FC236}">
                <a16:creationId xmlns:a16="http://schemas.microsoft.com/office/drawing/2014/main" id="{ED901536-E97A-49D5-A444-587AF427B8D5}"/>
              </a:ext>
            </a:extLst>
          </p:cNvPr>
          <p:cNvSpPr txBox="1">
            <a:spLocks/>
          </p:cNvSpPr>
          <p:nvPr/>
        </p:nvSpPr>
        <p:spPr>
          <a:xfrm>
            <a:off x="6109841" y="2067714"/>
            <a:ext cx="5923131" cy="3149335"/>
          </a:xfrm>
          <a:prstGeom prst="rect">
            <a:avLst/>
          </a:prstGeom>
          <a:solidFill>
            <a:schemeClr val="bg1"/>
          </a:solidFill>
          <a:ln w="3175">
            <a:solidFill>
              <a:schemeClr val="accent2"/>
            </a:solidFill>
          </a:ln>
        </p:spPr>
        <p:txBody>
          <a:bodyPr wrap="square" lIns="91440" tIns="468000" rIns="91440" bIns="45720" anchor="t">
            <a:noAutofit/>
          </a:bodyPr>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ea typeface="+mn-ea"/>
                <a:cs typeface="+mn-cs"/>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latin typeface="+mn-lt"/>
                <a:ea typeface="+mn-ea"/>
                <a:cs typeface="+mn-cs"/>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50000"/>
              </a:lnSpc>
              <a:spcBef>
                <a:spcPts val="400"/>
              </a:spcBef>
              <a:spcAft>
                <a:spcPts val="400"/>
              </a:spcAft>
              <a:buClr>
                <a:srgbClr val="FF555F"/>
              </a:buClr>
              <a:buSzTx/>
              <a:buFont typeface="Wingdings" panose="05000000000000000000" pitchFamily="2" charset="2"/>
              <a:buNone/>
              <a:tabLst/>
              <a:defRPr/>
            </a:pPr>
            <a:endParaRPr kumimoji="0" lang="en-US" sz="1200" b="0" i="0" u="none" strike="noStrike" kern="0" cap="none" spc="0" normalizeH="0" baseline="0" noProof="0" dirty="0">
              <a:ln>
                <a:noFill/>
              </a:ln>
              <a:solidFill>
                <a:srgbClr val="073262"/>
              </a:solidFill>
              <a:effectLst/>
              <a:uLnTx/>
              <a:uFillTx/>
              <a:latin typeface="Georgia"/>
              <a:ea typeface="+mn-ea"/>
              <a:cs typeface="+mn-cs"/>
            </a:endParaRPr>
          </a:p>
        </p:txBody>
      </p:sp>
      <p:sp>
        <p:nvSpPr>
          <p:cNvPr id="2" name="Text Placeholder 1"/>
          <p:cNvSpPr>
            <a:spLocks noGrp="1"/>
          </p:cNvSpPr>
          <p:nvPr>
            <p:ph type="body" sz="quarter" idx="11"/>
          </p:nvPr>
        </p:nvSpPr>
        <p:spPr>
          <a:xfrm>
            <a:off x="457200" y="471715"/>
            <a:ext cx="11277600" cy="533400"/>
          </a:xfrm>
        </p:spPr>
        <p:txBody>
          <a:bodyPr/>
          <a:lstStyle/>
          <a:p>
            <a:r>
              <a:rPr lang="en-US" dirty="0"/>
              <a:t>Operating Rhythm and next steps ….</a:t>
            </a:r>
          </a:p>
        </p:txBody>
      </p:sp>
      <p:sp>
        <p:nvSpPr>
          <p:cNvPr id="38" name="Rectangle 37">
            <a:extLst>
              <a:ext uri="{FF2B5EF4-FFF2-40B4-BE49-F238E27FC236}">
                <a16:creationId xmlns:a16="http://schemas.microsoft.com/office/drawing/2014/main" id="{111D6B38-5C48-4E42-BC0A-F8B2ED43E619}"/>
              </a:ext>
            </a:extLst>
          </p:cNvPr>
          <p:cNvSpPr/>
          <p:nvPr/>
        </p:nvSpPr>
        <p:spPr>
          <a:xfrm>
            <a:off x="457199" y="5916251"/>
            <a:ext cx="11567515" cy="484549"/>
          </a:xfrm>
          <a:prstGeom prst="rect">
            <a:avLst/>
          </a:prstGeom>
          <a:solidFill>
            <a:schemeClr val="tx1"/>
          </a:solidFill>
        </p:spPr>
        <p:txBody>
          <a:bodyPr wrap="square" anchor="ctr">
            <a:noAutofit/>
          </a:bodyPr>
          <a:lstStyle/>
          <a:p>
            <a:pPr marL="0" marR="0" lvl="1" indent="0" algn="ctr" defTabSz="914400" rtl="0" eaLnBrk="1" fontAlgn="auto" latinLnBrk="0" hangingPunct="1">
              <a:lnSpc>
                <a:spcPts val="1800"/>
              </a:lnSpc>
              <a:spcBef>
                <a:spcPct val="0"/>
              </a:spcBef>
              <a:spcAft>
                <a:spcPts val="600"/>
              </a:spcAft>
              <a:buClr>
                <a:srgbClr val="000000"/>
              </a:buClr>
              <a:buSzTx/>
              <a:buFontTx/>
              <a:buNone/>
              <a:tabLst/>
              <a:defRPr/>
            </a:pPr>
            <a:endParaRPr kumimoji="0" lang="en-US" sz="1600" b="0"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endParaRPr>
          </a:p>
        </p:txBody>
      </p:sp>
      <p:sp>
        <p:nvSpPr>
          <p:cNvPr id="88" name="Text Placeholder 1">
            <a:extLst>
              <a:ext uri="{FF2B5EF4-FFF2-40B4-BE49-F238E27FC236}">
                <a16:creationId xmlns:a16="http://schemas.microsoft.com/office/drawing/2014/main" id="{740E23E5-22ED-46AF-98DA-81A861F9112E}"/>
              </a:ext>
            </a:extLst>
          </p:cNvPr>
          <p:cNvSpPr txBox="1">
            <a:spLocks/>
          </p:cNvSpPr>
          <p:nvPr/>
        </p:nvSpPr>
        <p:spPr>
          <a:xfrm>
            <a:off x="577387" y="1704316"/>
            <a:ext cx="5319932" cy="3512733"/>
          </a:xfrm>
          <a:prstGeom prst="rect">
            <a:avLst/>
          </a:prstGeom>
          <a:solidFill>
            <a:schemeClr val="bg1"/>
          </a:solidFill>
          <a:ln w="3175">
            <a:solidFill>
              <a:schemeClr val="accent2"/>
            </a:solidFill>
          </a:ln>
        </p:spPr>
        <p:txBody>
          <a:bodyPr wrap="square" lIns="91440" tIns="468000" rIns="91440" bIns="45720" anchor="t">
            <a:noAutofit/>
          </a:bodyPr>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ea typeface="+mn-ea"/>
                <a:cs typeface="+mn-cs"/>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latin typeface="+mn-lt"/>
                <a:ea typeface="+mn-ea"/>
                <a:cs typeface="+mn-cs"/>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50000"/>
              </a:lnSpc>
              <a:spcBef>
                <a:spcPts val="400"/>
              </a:spcBef>
              <a:spcAft>
                <a:spcPts val="400"/>
              </a:spcAft>
              <a:buClr>
                <a:srgbClr val="FF555F"/>
              </a:buClr>
              <a:buSzTx/>
              <a:buFont typeface="Wingdings" panose="05000000000000000000" pitchFamily="2" charset="2"/>
              <a:buNone/>
              <a:tabLst/>
              <a:defRPr/>
            </a:pPr>
            <a:endParaRPr kumimoji="0" lang="en-US" sz="1200" b="0" i="0" u="none" strike="noStrike" kern="0" cap="none" spc="0" normalizeH="0" baseline="0" noProof="0" dirty="0">
              <a:ln>
                <a:noFill/>
              </a:ln>
              <a:solidFill>
                <a:srgbClr val="073262"/>
              </a:solidFill>
              <a:effectLst/>
              <a:uLnTx/>
              <a:uFillTx/>
              <a:latin typeface="Georgia"/>
              <a:ea typeface="+mn-ea"/>
              <a:cs typeface="+mn-cs"/>
            </a:endParaRPr>
          </a:p>
        </p:txBody>
      </p:sp>
      <p:sp>
        <p:nvSpPr>
          <p:cNvPr id="89" name="Text Placeholder 1">
            <a:extLst>
              <a:ext uri="{FF2B5EF4-FFF2-40B4-BE49-F238E27FC236}">
                <a16:creationId xmlns:a16="http://schemas.microsoft.com/office/drawing/2014/main" id="{6026DF25-0DE2-441D-AE9A-667AA3D1E345}"/>
              </a:ext>
            </a:extLst>
          </p:cNvPr>
          <p:cNvSpPr txBox="1">
            <a:spLocks/>
          </p:cNvSpPr>
          <p:nvPr/>
        </p:nvSpPr>
        <p:spPr>
          <a:xfrm>
            <a:off x="577387" y="1704316"/>
            <a:ext cx="5319932" cy="400110"/>
          </a:xfrm>
          <a:prstGeom prst="rect">
            <a:avLst/>
          </a:prstGeom>
          <a:solidFill>
            <a:schemeClr val="accent2"/>
          </a:solidFill>
          <a:ln>
            <a:noFill/>
          </a:ln>
        </p:spPr>
        <p:txBody>
          <a:bodyPr wrap="square" lIns="0" tIns="0" rIns="0" bIns="0" anchor="ctr" anchorCtr="0">
            <a:noAutofit/>
          </a:bodyPr>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ea typeface="+mn-ea"/>
                <a:cs typeface="+mn-cs"/>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latin typeface="+mn-lt"/>
                <a:ea typeface="+mn-ea"/>
                <a:cs typeface="+mn-cs"/>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
                <a:srgbClr val="FF545F"/>
              </a:buClr>
              <a:buSzTx/>
              <a:buFont typeface="Wingdings" panose="05000000000000000000" pitchFamily="2" charset="2"/>
              <a:buNone/>
              <a:tabLst/>
              <a:defRPr/>
            </a:pPr>
            <a:r>
              <a:rPr kumimoji="0" lang="en-US" sz="1400" b="1" i="0" u="none" strike="noStrike" kern="0" cap="none" spc="0" normalizeH="0" baseline="0" noProof="0" dirty="0">
                <a:ln>
                  <a:noFill/>
                </a:ln>
                <a:solidFill>
                  <a:prstClr val="white"/>
                </a:solidFill>
                <a:effectLst/>
                <a:uLnTx/>
                <a:uFillTx/>
                <a:latin typeface="Georgia"/>
                <a:ea typeface="+mn-ea"/>
                <a:cs typeface="+mn-cs"/>
              </a:rPr>
              <a:t>Governance rigor</a:t>
            </a:r>
          </a:p>
        </p:txBody>
      </p:sp>
      <p:sp>
        <p:nvSpPr>
          <p:cNvPr id="106" name="Rectangle 105">
            <a:extLst>
              <a:ext uri="{FF2B5EF4-FFF2-40B4-BE49-F238E27FC236}">
                <a16:creationId xmlns:a16="http://schemas.microsoft.com/office/drawing/2014/main" id="{D946EE2A-5613-4E96-8289-9AC5B53BC0F8}"/>
              </a:ext>
            </a:extLst>
          </p:cNvPr>
          <p:cNvSpPr/>
          <p:nvPr/>
        </p:nvSpPr>
        <p:spPr>
          <a:xfrm>
            <a:off x="753233" y="2271417"/>
            <a:ext cx="2032474" cy="8732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07" name="Rectangle 106">
            <a:extLst>
              <a:ext uri="{FF2B5EF4-FFF2-40B4-BE49-F238E27FC236}">
                <a16:creationId xmlns:a16="http://schemas.microsoft.com/office/drawing/2014/main" id="{F85244CC-C1E1-41F0-94B2-16984A84746F}"/>
              </a:ext>
            </a:extLst>
          </p:cNvPr>
          <p:cNvSpPr/>
          <p:nvPr/>
        </p:nvSpPr>
        <p:spPr>
          <a:xfrm>
            <a:off x="1515233" y="2445592"/>
            <a:ext cx="1382244" cy="541426"/>
          </a:xfrm>
          <a:prstGeom prst="rect">
            <a:avLst/>
          </a:prstGeom>
        </p:spPr>
        <p:txBody>
          <a:bodyPr lIns="0" rIns="0"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eorgia"/>
                <a:ea typeface="+mn-ea"/>
                <a:cs typeface="Arial"/>
              </a:rPr>
              <a:t>Strategic executive (quarterly)</a:t>
            </a:r>
            <a:endParaRPr kumimoji="0" lang="en-US" sz="1200" b="1" i="0" u="none" strike="noStrike" kern="1200" cap="none" spc="0" normalizeH="0" baseline="0" noProof="0" dirty="0">
              <a:ln>
                <a:noFill/>
              </a:ln>
              <a:solidFill>
                <a:prstClr val="white"/>
              </a:solidFill>
              <a:effectLst/>
              <a:uLnTx/>
              <a:uFillTx/>
              <a:latin typeface="Georgia"/>
              <a:ea typeface="+mn-ea"/>
              <a:cs typeface="+mn-cs"/>
            </a:endParaRPr>
          </a:p>
        </p:txBody>
      </p:sp>
      <p:sp>
        <p:nvSpPr>
          <p:cNvPr id="108" name="Oval 107">
            <a:extLst>
              <a:ext uri="{FF2B5EF4-FFF2-40B4-BE49-F238E27FC236}">
                <a16:creationId xmlns:a16="http://schemas.microsoft.com/office/drawing/2014/main" id="{B87BCA0D-108B-433C-89B2-34A8AD59F2A5}"/>
              </a:ext>
            </a:extLst>
          </p:cNvPr>
          <p:cNvSpPr/>
          <p:nvPr/>
        </p:nvSpPr>
        <p:spPr>
          <a:xfrm>
            <a:off x="829433" y="2434365"/>
            <a:ext cx="563880" cy="563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Georgia"/>
              <a:ea typeface="+mn-ea"/>
              <a:cs typeface="+mn-cs"/>
            </a:endParaRPr>
          </a:p>
        </p:txBody>
      </p:sp>
      <p:sp>
        <p:nvSpPr>
          <p:cNvPr id="109" name="Rectangle 108">
            <a:extLst>
              <a:ext uri="{FF2B5EF4-FFF2-40B4-BE49-F238E27FC236}">
                <a16:creationId xmlns:a16="http://schemas.microsoft.com/office/drawing/2014/main" id="{37EA445E-EA31-469E-925F-CF4B1A1E2912}"/>
              </a:ext>
            </a:extLst>
          </p:cNvPr>
          <p:cNvSpPr/>
          <p:nvPr/>
        </p:nvSpPr>
        <p:spPr>
          <a:xfrm>
            <a:off x="753233" y="3232979"/>
            <a:ext cx="2033475" cy="8778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10" name="Rectangle 109">
            <a:extLst>
              <a:ext uri="{FF2B5EF4-FFF2-40B4-BE49-F238E27FC236}">
                <a16:creationId xmlns:a16="http://schemas.microsoft.com/office/drawing/2014/main" id="{DAB518BD-A93F-4D26-A7F0-F1164822591A}"/>
              </a:ext>
            </a:extLst>
          </p:cNvPr>
          <p:cNvSpPr/>
          <p:nvPr/>
        </p:nvSpPr>
        <p:spPr>
          <a:xfrm>
            <a:off x="1515233" y="3351109"/>
            <a:ext cx="1600200" cy="729367"/>
          </a:xfrm>
          <a:prstGeom prst="rect">
            <a:avLst/>
          </a:prstGeom>
        </p:spPr>
        <p:txBody>
          <a:bodyPr lIns="0" rIns="0"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eorgia"/>
                <a:ea typeface="+mn-ea"/>
                <a:cs typeface="Arial"/>
              </a:rPr>
              <a:t>Monthly management committee</a:t>
            </a:r>
          </a:p>
        </p:txBody>
      </p:sp>
      <p:sp>
        <p:nvSpPr>
          <p:cNvPr id="111" name="Oval 110">
            <a:extLst>
              <a:ext uri="{FF2B5EF4-FFF2-40B4-BE49-F238E27FC236}">
                <a16:creationId xmlns:a16="http://schemas.microsoft.com/office/drawing/2014/main" id="{CD99C64C-EBF2-40D9-98A6-1E5632DA7755}"/>
              </a:ext>
            </a:extLst>
          </p:cNvPr>
          <p:cNvSpPr/>
          <p:nvPr/>
        </p:nvSpPr>
        <p:spPr>
          <a:xfrm>
            <a:off x="829433" y="3409020"/>
            <a:ext cx="563880" cy="563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Georgia"/>
              <a:ea typeface="+mn-ea"/>
              <a:cs typeface="+mn-cs"/>
            </a:endParaRPr>
          </a:p>
        </p:txBody>
      </p:sp>
      <p:sp>
        <p:nvSpPr>
          <p:cNvPr id="112" name="Rectangle 111">
            <a:extLst>
              <a:ext uri="{FF2B5EF4-FFF2-40B4-BE49-F238E27FC236}">
                <a16:creationId xmlns:a16="http://schemas.microsoft.com/office/drawing/2014/main" id="{8081A109-DE0B-4159-B598-445D60B175E0}"/>
              </a:ext>
            </a:extLst>
          </p:cNvPr>
          <p:cNvSpPr/>
          <p:nvPr/>
        </p:nvSpPr>
        <p:spPr>
          <a:xfrm>
            <a:off x="753233" y="4291068"/>
            <a:ext cx="2033475" cy="81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a:ea typeface="+mn-ea"/>
              <a:cs typeface="+mn-cs"/>
            </a:endParaRPr>
          </a:p>
        </p:txBody>
      </p:sp>
      <p:sp>
        <p:nvSpPr>
          <p:cNvPr id="113" name="Rectangle 112">
            <a:extLst>
              <a:ext uri="{FF2B5EF4-FFF2-40B4-BE49-F238E27FC236}">
                <a16:creationId xmlns:a16="http://schemas.microsoft.com/office/drawing/2014/main" id="{6773A4CB-0782-4A42-AC5C-78BC554046EE}"/>
              </a:ext>
            </a:extLst>
          </p:cNvPr>
          <p:cNvSpPr/>
          <p:nvPr/>
        </p:nvSpPr>
        <p:spPr>
          <a:xfrm>
            <a:off x="1515233" y="4469772"/>
            <a:ext cx="1233244" cy="457200"/>
          </a:xfrm>
          <a:prstGeom prst="rect">
            <a:avLst/>
          </a:prstGeom>
        </p:spPr>
        <p:txBody>
          <a:bodyPr lIns="0" rIns="0"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eorgia"/>
                <a:ea typeface="+mn-ea"/>
                <a:cs typeface="Arial"/>
              </a:rPr>
              <a:t>W</a:t>
            </a:r>
            <a:r>
              <a:rPr kumimoji="0" lang="en-US" sz="1200" b="1" i="0" u="none" strike="noStrike" kern="1200" cap="none" spc="0" normalizeH="0" baseline="0" noProof="0" dirty="0" err="1">
                <a:ln>
                  <a:noFill/>
                </a:ln>
                <a:solidFill>
                  <a:prstClr val="white"/>
                </a:solidFill>
                <a:effectLst/>
                <a:uLnTx/>
                <a:uFillTx/>
                <a:latin typeface="Georgia"/>
                <a:ea typeface="+mn-ea"/>
                <a:cs typeface="Arial"/>
              </a:rPr>
              <a:t>eekly</a:t>
            </a:r>
            <a:r>
              <a:rPr kumimoji="0" lang="en-US" sz="1200" b="1" i="0" u="none" strike="noStrike" kern="1200" cap="none" spc="0" normalizeH="0" baseline="0" noProof="0" dirty="0">
                <a:ln>
                  <a:noFill/>
                </a:ln>
                <a:solidFill>
                  <a:prstClr val="white"/>
                </a:solidFill>
                <a:effectLst/>
                <a:uLnTx/>
                <a:uFillTx/>
                <a:latin typeface="Georgia"/>
                <a:ea typeface="+mn-ea"/>
                <a:cs typeface="Arial"/>
              </a:rPr>
              <a:t> operating</a:t>
            </a:r>
          </a:p>
        </p:txBody>
      </p:sp>
      <p:sp>
        <p:nvSpPr>
          <p:cNvPr id="114" name="Oval 113">
            <a:extLst>
              <a:ext uri="{FF2B5EF4-FFF2-40B4-BE49-F238E27FC236}">
                <a16:creationId xmlns:a16="http://schemas.microsoft.com/office/drawing/2014/main" id="{EC2AF635-31FE-470D-B00B-9A1BF0710405}"/>
              </a:ext>
            </a:extLst>
          </p:cNvPr>
          <p:cNvSpPr/>
          <p:nvPr/>
        </p:nvSpPr>
        <p:spPr>
          <a:xfrm>
            <a:off x="829433" y="4430501"/>
            <a:ext cx="563880" cy="563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Georgia"/>
              <a:ea typeface="+mn-ea"/>
              <a:cs typeface="+mn-cs"/>
            </a:endParaRPr>
          </a:p>
        </p:txBody>
      </p:sp>
      <p:grpSp>
        <p:nvGrpSpPr>
          <p:cNvPr id="115" name="Group 114">
            <a:extLst>
              <a:ext uri="{FF2B5EF4-FFF2-40B4-BE49-F238E27FC236}">
                <a16:creationId xmlns:a16="http://schemas.microsoft.com/office/drawing/2014/main" id="{0523344A-DF92-40D8-84DE-665863D3FBC9}"/>
              </a:ext>
            </a:extLst>
          </p:cNvPr>
          <p:cNvGrpSpPr/>
          <p:nvPr/>
        </p:nvGrpSpPr>
        <p:grpSpPr>
          <a:xfrm>
            <a:off x="958973" y="2563905"/>
            <a:ext cx="304800" cy="304800"/>
            <a:chOff x="8534400" y="5745163"/>
            <a:chExt cx="687388" cy="685801"/>
          </a:xfrm>
        </p:grpSpPr>
        <p:sp>
          <p:nvSpPr>
            <p:cNvPr id="116" name="Freeform 1039">
              <a:extLst>
                <a:ext uri="{FF2B5EF4-FFF2-40B4-BE49-F238E27FC236}">
                  <a16:creationId xmlns:a16="http://schemas.microsoft.com/office/drawing/2014/main" id="{96B1283F-8F92-4855-A44D-8A312EA5E492}"/>
                </a:ext>
              </a:extLst>
            </p:cNvPr>
            <p:cNvSpPr>
              <a:spLocks/>
            </p:cNvSpPr>
            <p:nvPr/>
          </p:nvSpPr>
          <p:spPr bwMode="auto">
            <a:xfrm>
              <a:off x="8667750" y="5878513"/>
              <a:ext cx="133350" cy="131763"/>
            </a:xfrm>
            <a:custGeom>
              <a:avLst/>
              <a:gdLst>
                <a:gd name="T0" fmla="*/ 209 w 419"/>
                <a:gd name="T1" fmla="*/ 0 h 501"/>
                <a:gd name="T2" fmla="*/ 252 w 419"/>
                <a:gd name="T3" fmla="*/ 4 h 501"/>
                <a:gd name="T4" fmla="*/ 291 w 419"/>
                <a:gd name="T5" fmla="*/ 19 h 501"/>
                <a:gd name="T6" fmla="*/ 327 w 419"/>
                <a:gd name="T7" fmla="*/ 43 h 501"/>
                <a:gd name="T8" fmla="*/ 358 w 419"/>
                <a:gd name="T9" fmla="*/ 73 h 501"/>
                <a:gd name="T10" fmla="*/ 383 w 419"/>
                <a:gd name="T11" fmla="*/ 110 h 501"/>
                <a:gd name="T12" fmla="*/ 403 w 419"/>
                <a:gd name="T13" fmla="*/ 153 h 501"/>
                <a:gd name="T14" fmla="*/ 415 w 419"/>
                <a:gd name="T15" fmla="*/ 200 h 501"/>
                <a:gd name="T16" fmla="*/ 419 w 419"/>
                <a:gd name="T17" fmla="*/ 250 h 501"/>
                <a:gd name="T18" fmla="*/ 418 w 419"/>
                <a:gd name="T19" fmla="*/ 276 h 501"/>
                <a:gd name="T20" fmla="*/ 410 w 419"/>
                <a:gd name="T21" fmla="*/ 325 h 501"/>
                <a:gd name="T22" fmla="*/ 394 w 419"/>
                <a:gd name="T23" fmla="*/ 370 h 501"/>
                <a:gd name="T24" fmla="*/ 371 w 419"/>
                <a:gd name="T25" fmla="*/ 410 h 501"/>
                <a:gd name="T26" fmla="*/ 343 w 419"/>
                <a:gd name="T27" fmla="*/ 444 h 501"/>
                <a:gd name="T28" fmla="*/ 310 w 419"/>
                <a:gd name="T29" fmla="*/ 471 h 501"/>
                <a:gd name="T30" fmla="*/ 272 w 419"/>
                <a:gd name="T31" fmla="*/ 490 h 501"/>
                <a:gd name="T32" fmla="*/ 231 w 419"/>
                <a:gd name="T33" fmla="*/ 500 h 501"/>
                <a:gd name="T34" fmla="*/ 209 w 419"/>
                <a:gd name="T35" fmla="*/ 501 h 501"/>
                <a:gd name="T36" fmla="*/ 167 w 419"/>
                <a:gd name="T37" fmla="*/ 496 h 501"/>
                <a:gd name="T38" fmla="*/ 128 w 419"/>
                <a:gd name="T39" fmla="*/ 482 h 501"/>
                <a:gd name="T40" fmla="*/ 92 w 419"/>
                <a:gd name="T41" fmla="*/ 458 h 501"/>
                <a:gd name="T42" fmla="*/ 61 w 419"/>
                <a:gd name="T43" fmla="*/ 428 h 501"/>
                <a:gd name="T44" fmla="*/ 36 w 419"/>
                <a:gd name="T45" fmla="*/ 391 h 501"/>
                <a:gd name="T46" fmla="*/ 16 w 419"/>
                <a:gd name="T47" fmla="*/ 348 h 501"/>
                <a:gd name="T48" fmla="*/ 4 w 419"/>
                <a:gd name="T49" fmla="*/ 301 h 501"/>
                <a:gd name="T50" fmla="*/ 0 w 419"/>
                <a:gd name="T51" fmla="*/ 250 h 501"/>
                <a:gd name="T52" fmla="*/ 1 w 419"/>
                <a:gd name="T53" fmla="*/ 225 h 501"/>
                <a:gd name="T54" fmla="*/ 9 w 419"/>
                <a:gd name="T55" fmla="*/ 176 h 501"/>
                <a:gd name="T56" fmla="*/ 25 w 419"/>
                <a:gd name="T57" fmla="*/ 130 h 501"/>
                <a:gd name="T58" fmla="*/ 48 w 419"/>
                <a:gd name="T59" fmla="*/ 91 h 501"/>
                <a:gd name="T60" fmla="*/ 76 w 419"/>
                <a:gd name="T61" fmla="*/ 57 h 501"/>
                <a:gd name="T62" fmla="*/ 109 w 419"/>
                <a:gd name="T63" fmla="*/ 30 h 501"/>
                <a:gd name="T64" fmla="*/ 147 w 419"/>
                <a:gd name="T65" fmla="*/ 10 h 501"/>
                <a:gd name="T66" fmla="*/ 188 w 419"/>
                <a:gd name="T67" fmla="*/ 1 h 501"/>
                <a:gd name="T68" fmla="*/ 209 w 419"/>
                <a:gd name="T69"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9" h="501">
                  <a:moveTo>
                    <a:pt x="209" y="0"/>
                  </a:moveTo>
                  <a:lnTo>
                    <a:pt x="209" y="0"/>
                  </a:lnTo>
                  <a:lnTo>
                    <a:pt x="231" y="1"/>
                  </a:lnTo>
                  <a:lnTo>
                    <a:pt x="252" y="4"/>
                  </a:lnTo>
                  <a:lnTo>
                    <a:pt x="272" y="10"/>
                  </a:lnTo>
                  <a:lnTo>
                    <a:pt x="291" y="19"/>
                  </a:lnTo>
                  <a:lnTo>
                    <a:pt x="310" y="30"/>
                  </a:lnTo>
                  <a:lnTo>
                    <a:pt x="327" y="43"/>
                  </a:lnTo>
                  <a:lnTo>
                    <a:pt x="343" y="57"/>
                  </a:lnTo>
                  <a:lnTo>
                    <a:pt x="358" y="73"/>
                  </a:lnTo>
                  <a:lnTo>
                    <a:pt x="371" y="91"/>
                  </a:lnTo>
                  <a:lnTo>
                    <a:pt x="383" y="110"/>
                  </a:lnTo>
                  <a:lnTo>
                    <a:pt x="394" y="130"/>
                  </a:lnTo>
                  <a:lnTo>
                    <a:pt x="403" y="153"/>
                  </a:lnTo>
                  <a:lnTo>
                    <a:pt x="410" y="176"/>
                  </a:lnTo>
                  <a:lnTo>
                    <a:pt x="415" y="200"/>
                  </a:lnTo>
                  <a:lnTo>
                    <a:pt x="418" y="225"/>
                  </a:lnTo>
                  <a:lnTo>
                    <a:pt x="419" y="250"/>
                  </a:lnTo>
                  <a:lnTo>
                    <a:pt x="419" y="250"/>
                  </a:lnTo>
                  <a:lnTo>
                    <a:pt x="418" y="276"/>
                  </a:lnTo>
                  <a:lnTo>
                    <a:pt x="415" y="301"/>
                  </a:lnTo>
                  <a:lnTo>
                    <a:pt x="410" y="325"/>
                  </a:lnTo>
                  <a:lnTo>
                    <a:pt x="403" y="348"/>
                  </a:lnTo>
                  <a:lnTo>
                    <a:pt x="394" y="370"/>
                  </a:lnTo>
                  <a:lnTo>
                    <a:pt x="383" y="391"/>
                  </a:lnTo>
                  <a:lnTo>
                    <a:pt x="371" y="410"/>
                  </a:lnTo>
                  <a:lnTo>
                    <a:pt x="358" y="428"/>
                  </a:lnTo>
                  <a:lnTo>
                    <a:pt x="343" y="444"/>
                  </a:lnTo>
                  <a:lnTo>
                    <a:pt x="327" y="458"/>
                  </a:lnTo>
                  <a:lnTo>
                    <a:pt x="310" y="471"/>
                  </a:lnTo>
                  <a:lnTo>
                    <a:pt x="291" y="482"/>
                  </a:lnTo>
                  <a:lnTo>
                    <a:pt x="272" y="490"/>
                  </a:lnTo>
                  <a:lnTo>
                    <a:pt x="252" y="496"/>
                  </a:lnTo>
                  <a:lnTo>
                    <a:pt x="231" y="500"/>
                  </a:lnTo>
                  <a:lnTo>
                    <a:pt x="209" y="501"/>
                  </a:lnTo>
                  <a:lnTo>
                    <a:pt x="209" y="501"/>
                  </a:lnTo>
                  <a:lnTo>
                    <a:pt x="188" y="500"/>
                  </a:lnTo>
                  <a:lnTo>
                    <a:pt x="167" y="496"/>
                  </a:lnTo>
                  <a:lnTo>
                    <a:pt x="147" y="490"/>
                  </a:lnTo>
                  <a:lnTo>
                    <a:pt x="128" y="482"/>
                  </a:lnTo>
                  <a:lnTo>
                    <a:pt x="109" y="471"/>
                  </a:lnTo>
                  <a:lnTo>
                    <a:pt x="92" y="458"/>
                  </a:lnTo>
                  <a:lnTo>
                    <a:pt x="76" y="444"/>
                  </a:lnTo>
                  <a:lnTo>
                    <a:pt x="61" y="428"/>
                  </a:lnTo>
                  <a:lnTo>
                    <a:pt x="48" y="410"/>
                  </a:lnTo>
                  <a:lnTo>
                    <a:pt x="36" y="391"/>
                  </a:lnTo>
                  <a:lnTo>
                    <a:pt x="25" y="370"/>
                  </a:lnTo>
                  <a:lnTo>
                    <a:pt x="16" y="348"/>
                  </a:lnTo>
                  <a:lnTo>
                    <a:pt x="9" y="325"/>
                  </a:lnTo>
                  <a:lnTo>
                    <a:pt x="4" y="301"/>
                  </a:lnTo>
                  <a:lnTo>
                    <a:pt x="1" y="276"/>
                  </a:lnTo>
                  <a:lnTo>
                    <a:pt x="0" y="250"/>
                  </a:lnTo>
                  <a:lnTo>
                    <a:pt x="0" y="250"/>
                  </a:lnTo>
                  <a:lnTo>
                    <a:pt x="1" y="225"/>
                  </a:lnTo>
                  <a:lnTo>
                    <a:pt x="4" y="200"/>
                  </a:lnTo>
                  <a:lnTo>
                    <a:pt x="9" y="176"/>
                  </a:lnTo>
                  <a:lnTo>
                    <a:pt x="16" y="153"/>
                  </a:lnTo>
                  <a:lnTo>
                    <a:pt x="25" y="130"/>
                  </a:lnTo>
                  <a:lnTo>
                    <a:pt x="36" y="110"/>
                  </a:lnTo>
                  <a:lnTo>
                    <a:pt x="48" y="91"/>
                  </a:lnTo>
                  <a:lnTo>
                    <a:pt x="61" y="73"/>
                  </a:lnTo>
                  <a:lnTo>
                    <a:pt x="76" y="57"/>
                  </a:lnTo>
                  <a:lnTo>
                    <a:pt x="92" y="43"/>
                  </a:lnTo>
                  <a:lnTo>
                    <a:pt x="109" y="30"/>
                  </a:lnTo>
                  <a:lnTo>
                    <a:pt x="128" y="19"/>
                  </a:lnTo>
                  <a:lnTo>
                    <a:pt x="147" y="10"/>
                  </a:lnTo>
                  <a:lnTo>
                    <a:pt x="167" y="4"/>
                  </a:lnTo>
                  <a:lnTo>
                    <a:pt x="188" y="1"/>
                  </a:lnTo>
                  <a:lnTo>
                    <a:pt x="209" y="0"/>
                  </a:lnTo>
                  <a:lnTo>
                    <a:pt x="209" y="0"/>
                  </a:lnTo>
                  <a:close/>
                </a:path>
              </a:pathLst>
            </a:cu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7" name="Rectangle 1040">
              <a:extLst>
                <a:ext uri="{FF2B5EF4-FFF2-40B4-BE49-F238E27FC236}">
                  <a16:creationId xmlns:a16="http://schemas.microsoft.com/office/drawing/2014/main" id="{D6D1F3AE-0D5F-45ED-A0FD-AEA5C63F4C95}"/>
                </a:ext>
              </a:extLst>
            </p:cNvPr>
            <p:cNvSpPr>
              <a:spLocks noChangeArrowheads="1"/>
            </p:cNvSpPr>
            <p:nvPr/>
          </p:nvSpPr>
          <p:spPr bwMode="auto">
            <a:xfrm>
              <a:off x="8932863" y="6254751"/>
              <a:ext cx="244475" cy="131763"/>
            </a:xfrm>
            <a:prstGeom prst="rect">
              <a:avLst/>
            </a:pr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8" name="Freeform 1041">
              <a:extLst>
                <a:ext uri="{FF2B5EF4-FFF2-40B4-BE49-F238E27FC236}">
                  <a16:creationId xmlns:a16="http://schemas.microsoft.com/office/drawing/2014/main" id="{CD645E47-6A69-44AE-A9AA-91EA1099D353}"/>
                </a:ext>
              </a:extLst>
            </p:cNvPr>
            <p:cNvSpPr>
              <a:spLocks noEditPoints="1"/>
            </p:cNvSpPr>
            <p:nvPr/>
          </p:nvSpPr>
          <p:spPr bwMode="auto">
            <a:xfrm>
              <a:off x="8534400" y="5745163"/>
              <a:ext cx="687388" cy="685800"/>
            </a:xfrm>
            <a:custGeom>
              <a:avLst/>
              <a:gdLst>
                <a:gd name="T0" fmla="*/ 1165 w 2165"/>
                <a:gd name="T1" fmla="*/ 292 h 2592"/>
                <a:gd name="T2" fmla="*/ 1446 w 2165"/>
                <a:gd name="T3" fmla="*/ 595 h 2592"/>
                <a:gd name="T4" fmla="*/ 1530 w 2165"/>
                <a:gd name="T5" fmla="*/ 828 h 2592"/>
                <a:gd name="T6" fmla="*/ 1710 w 2165"/>
                <a:gd name="T7" fmla="*/ 686 h 2592"/>
                <a:gd name="T8" fmla="*/ 2040 w 2165"/>
                <a:gd name="T9" fmla="*/ 334 h 2592"/>
                <a:gd name="T10" fmla="*/ 2159 w 2165"/>
                <a:gd name="T11" fmla="*/ 118 h 2592"/>
                <a:gd name="T12" fmla="*/ 1959 w 2165"/>
                <a:gd name="T13" fmla="*/ 20 h 2592"/>
                <a:gd name="T14" fmla="*/ 1644 w 2165"/>
                <a:gd name="T15" fmla="*/ 527 h 2592"/>
                <a:gd name="T16" fmla="*/ 1391 w 2165"/>
                <a:gd name="T17" fmla="*/ 215 h 2592"/>
                <a:gd name="T18" fmla="*/ 1285 w 2165"/>
                <a:gd name="T19" fmla="*/ 4 h 2592"/>
                <a:gd name="T20" fmla="*/ 1118 w 2165"/>
                <a:gd name="T21" fmla="*/ 167 h 2592"/>
                <a:gd name="T22" fmla="*/ 764 w 2165"/>
                <a:gd name="T23" fmla="*/ 18 h 2592"/>
                <a:gd name="T24" fmla="*/ 229 w 2165"/>
                <a:gd name="T25" fmla="*/ 172 h 2592"/>
                <a:gd name="T26" fmla="*/ 0 w 2165"/>
                <a:gd name="T27" fmla="*/ 752 h 2592"/>
                <a:gd name="T28" fmla="*/ 163 w 2165"/>
                <a:gd name="T29" fmla="*/ 1256 h 2592"/>
                <a:gd name="T30" fmla="*/ 349 w 2165"/>
                <a:gd name="T31" fmla="*/ 1756 h 2592"/>
                <a:gd name="T32" fmla="*/ 607 w 2165"/>
                <a:gd name="T33" fmla="*/ 2591 h 2592"/>
                <a:gd name="T34" fmla="*/ 838 w 2165"/>
                <a:gd name="T35" fmla="*/ 1840 h 2592"/>
                <a:gd name="T36" fmla="*/ 1043 w 2165"/>
                <a:gd name="T37" fmla="*/ 1316 h 2592"/>
                <a:gd name="T38" fmla="*/ 1253 w 2165"/>
                <a:gd name="T39" fmla="*/ 844 h 2592"/>
                <a:gd name="T40" fmla="*/ 2092 w 2165"/>
                <a:gd name="T41" fmla="*/ 143 h 2592"/>
                <a:gd name="T42" fmla="*/ 2033 w 2165"/>
                <a:gd name="T43" fmla="*/ 251 h 2592"/>
                <a:gd name="T44" fmla="*/ 1956 w 2165"/>
                <a:gd name="T45" fmla="*/ 167 h 2592"/>
                <a:gd name="T46" fmla="*/ 1641 w 2165"/>
                <a:gd name="T47" fmla="*/ 668 h 2592"/>
                <a:gd name="T48" fmla="*/ 1558 w 2165"/>
                <a:gd name="T49" fmla="*/ 751 h 2592"/>
                <a:gd name="T50" fmla="*/ 1507 w 2165"/>
                <a:gd name="T51" fmla="*/ 636 h 2592"/>
                <a:gd name="T52" fmla="*/ 1611 w 2165"/>
                <a:gd name="T53" fmla="*/ 600 h 2592"/>
                <a:gd name="T54" fmla="*/ 1296 w 2165"/>
                <a:gd name="T55" fmla="*/ 98 h 2592"/>
                <a:gd name="T56" fmla="*/ 1306 w 2165"/>
                <a:gd name="T57" fmla="*/ 227 h 2592"/>
                <a:gd name="T58" fmla="*/ 1199 w 2165"/>
                <a:gd name="T59" fmla="*/ 214 h 2592"/>
                <a:gd name="T60" fmla="*/ 1230 w 2165"/>
                <a:gd name="T61" fmla="*/ 90 h 2592"/>
                <a:gd name="T62" fmla="*/ 165 w 2165"/>
                <a:gd name="T63" fmla="*/ 379 h 2592"/>
                <a:gd name="T64" fmla="*/ 599 w 2165"/>
                <a:gd name="T65" fmla="*/ 84 h 2592"/>
                <a:gd name="T66" fmla="*/ 929 w 2165"/>
                <a:gd name="T67" fmla="*/ 403 h 2592"/>
                <a:gd name="T68" fmla="*/ 607 w 2165"/>
                <a:gd name="T69" fmla="*/ 252 h 2592"/>
                <a:gd name="T70" fmla="*/ 282 w 2165"/>
                <a:gd name="T71" fmla="*/ 473 h 2592"/>
                <a:gd name="T72" fmla="*/ 229 w 2165"/>
                <a:gd name="T73" fmla="*/ 901 h 2592"/>
                <a:gd name="T74" fmla="*/ 484 w 2165"/>
                <a:gd name="T75" fmla="*/ 1224 h 2592"/>
                <a:gd name="T76" fmla="*/ 846 w 2165"/>
                <a:gd name="T77" fmla="*/ 1182 h 2592"/>
                <a:gd name="T78" fmla="*/ 1045 w 2165"/>
                <a:gd name="T79" fmla="*/ 804 h 2592"/>
                <a:gd name="T80" fmla="*/ 1108 w 2165"/>
                <a:gd name="T81" fmla="*/ 408 h 2592"/>
                <a:gd name="T82" fmla="*/ 1176 w 2165"/>
                <a:gd name="T83" fmla="*/ 887 h 2592"/>
                <a:gd name="T84" fmla="*/ 871 w 2165"/>
                <a:gd name="T85" fmla="*/ 1355 h 2592"/>
                <a:gd name="T86" fmla="*/ 387 w 2165"/>
                <a:gd name="T87" fmla="*/ 1355 h 2592"/>
                <a:gd name="T88" fmla="*/ 81 w 2165"/>
                <a:gd name="T89" fmla="*/ 887 h 2592"/>
                <a:gd name="T90" fmla="*/ 656 w 2165"/>
                <a:gd name="T91" fmla="*/ 829 h 2592"/>
                <a:gd name="T92" fmla="*/ 560 w 2165"/>
                <a:gd name="T93" fmla="*/ 769 h 2592"/>
                <a:gd name="T94" fmla="*/ 628 w 2165"/>
                <a:gd name="T95" fmla="*/ 668 h 2592"/>
                <a:gd name="T96" fmla="*/ 704 w 2165"/>
                <a:gd name="T97" fmla="*/ 612 h 2592"/>
                <a:gd name="T98" fmla="*/ 521 w 2165"/>
                <a:gd name="T99" fmla="*/ 646 h 2592"/>
                <a:gd name="T100" fmla="*/ 562 w 2165"/>
                <a:gd name="T101" fmla="*/ 900 h 2592"/>
                <a:gd name="T102" fmla="*/ 762 w 2165"/>
                <a:gd name="T103" fmla="*/ 802 h 2592"/>
                <a:gd name="T104" fmla="*/ 977 w 2165"/>
                <a:gd name="T105" fmla="*/ 752 h 2592"/>
                <a:gd name="T106" fmla="*/ 851 w 2165"/>
                <a:gd name="T107" fmla="*/ 1075 h 2592"/>
                <a:gd name="T108" fmla="*/ 558 w 2165"/>
                <a:gd name="T109" fmla="*/ 1162 h 2592"/>
                <a:gd name="T110" fmla="*/ 314 w 2165"/>
                <a:gd name="T111" fmla="*/ 934 h 2592"/>
                <a:gd name="T112" fmla="*/ 314 w 2165"/>
                <a:gd name="T113" fmla="*/ 571 h 2592"/>
                <a:gd name="T114" fmla="*/ 558 w 2165"/>
                <a:gd name="T115" fmla="*/ 343 h 2592"/>
                <a:gd name="T116" fmla="*/ 849 w 2165"/>
                <a:gd name="T117" fmla="*/ 428 h 2592"/>
                <a:gd name="T118" fmla="*/ 657 w 2165"/>
                <a:gd name="T119" fmla="*/ 2504 h 2592"/>
                <a:gd name="T120" fmla="*/ 489 w 2165"/>
                <a:gd name="T121" fmla="*/ 2341 h 2592"/>
                <a:gd name="T122" fmla="*/ 700 w 2165"/>
                <a:gd name="T123" fmla="*/ 1500 h 2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5" h="2592">
                  <a:moveTo>
                    <a:pt x="1257" y="752"/>
                  </a:moveTo>
                  <a:lnTo>
                    <a:pt x="1257" y="752"/>
                  </a:lnTo>
                  <a:lnTo>
                    <a:pt x="1257" y="722"/>
                  </a:lnTo>
                  <a:lnTo>
                    <a:pt x="1255" y="692"/>
                  </a:lnTo>
                  <a:lnTo>
                    <a:pt x="1253" y="662"/>
                  </a:lnTo>
                  <a:lnTo>
                    <a:pt x="1249" y="632"/>
                  </a:lnTo>
                  <a:lnTo>
                    <a:pt x="1245" y="604"/>
                  </a:lnTo>
                  <a:lnTo>
                    <a:pt x="1239" y="575"/>
                  </a:lnTo>
                  <a:lnTo>
                    <a:pt x="1233" y="547"/>
                  </a:lnTo>
                  <a:lnTo>
                    <a:pt x="1226" y="520"/>
                  </a:lnTo>
                  <a:lnTo>
                    <a:pt x="1218" y="492"/>
                  </a:lnTo>
                  <a:lnTo>
                    <a:pt x="1209" y="466"/>
                  </a:lnTo>
                  <a:lnTo>
                    <a:pt x="1200" y="439"/>
                  </a:lnTo>
                  <a:lnTo>
                    <a:pt x="1189" y="413"/>
                  </a:lnTo>
                  <a:lnTo>
                    <a:pt x="1178" y="388"/>
                  </a:lnTo>
                  <a:lnTo>
                    <a:pt x="1166" y="364"/>
                  </a:lnTo>
                  <a:lnTo>
                    <a:pt x="1153" y="340"/>
                  </a:lnTo>
                  <a:lnTo>
                    <a:pt x="1140" y="316"/>
                  </a:lnTo>
                  <a:lnTo>
                    <a:pt x="1165" y="292"/>
                  </a:lnTo>
                  <a:lnTo>
                    <a:pt x="1165" y="292"/>
                  </a:lnTo>
                  <a:lnTo>
                    <a:pt x="1175" y="301"/>
                  </a:lnTo>
                  <a:lnTo>
                    <a:pt x="1185" y="310"/>
                  </a:lnTo>
                  <a:lnTo>
                    <a:pt x="1196" y="317"/>
                  </a:lnTo>
                  <a:lnTo>
                    <a:pt x="1207" y="323"/>
                  </a:lnTo>
                  <a:lnTo>
                    <a:pt x="1219" y="328"/>
                  </a:lnTo>
                  <a:lnTo>
                    <a:pt x="1231" y="331"/>
                  </a:lnTo>
                  <a:lnTo>
                    <a:pt x="1244" y="334"/>
                  </a:lnTo>
                  <a:lnTo>
                    <a:pt x="1257" y="335"/>
                  </a:lnTo>
                  <a:lnTo>
                    <a:pt x="1257" y="335"/>
                  </a:lnTo>
                  <a:lnTo>
                    <a:pt x="1274" y="334"/>
                  </a:lnTo>
                  <a:lnTo>
                    <a:pt x="1291" y="329"/>
                  </a:lnTo>
                  <a:lnTo>
                    <a:pt x="1307" y="323"/>
                  </a:lnTo>
                  <a:lnTo>
                    <a:pt x="1322" y="314"/>
                  </a:lnTo>
                  <a:lnTo>
                    <a:pt x="1467" y="558"/>
                  </a:lnTo>
                  <a:lnTo>
                    <a:pt x="1467" y="558"/>
                  </a:lnTo>
                  <a:lnTo>
                    <a:pt x="1459" y="570"/>
                  </a:lnTo>
                  <a:lnTo>
                    <a:pt x="1452" y="582"/>
                  </a:lnTo>
                  <a:lnTo>
                    <a:pt x="1446" y="595"/>
                  </a:lnTo>
                  <a:lnTo>
                    <a:pt x="1441" y="608"/>
                  </a:lnTo>
                  <a:lnTo>
                    <a:pt x="1437" y="623"/>
                  </a:lnTo>
                  <a:lnTo>
                    <a:pt x="1434" y="637"/>
                  </a:lnTo>
                  <a:lnTo>
                    <a:pt x="1432" y="653"/>
                  </a:lnTo>
                  <a:lnTo>
                    <a:pt x="1431" y="668"/>
                  </a:lnTo>
                  <a:lnTo>
                    <a:pt x="1431" y="668"/>
                  </a:lnTo>
                  <a:lnTo>
                    <a:pt x="1432" y="686"/>
                  </a:lnTo>
                  <a:lnTo>
                    <a:pt x="1434" y="702"/>
                  </a:lnTo>
                  <a:lnTo>
                    <a:pt x="1438" y="719"/>
                  </a:lnTo>
                  <a:lnTo>
                    <a:pt x="1442" y="734"/>
                  </a:lnTo>
                  <a:lnTo>
                    <a:pt x="1448" y="749"/>
                  </a:lnTo>
                  <a:lnTo>
                    <a:pt x="1455" y="762"/>
                  </a:lnTo>
                  <a:lnTo>
                    <a:pt x="1463" y="775"/>
                  </a:lnTo>
                  <a:lnTo>
                    <a:pt x="1472" y="787"/>
                  </a:lnTo>
                  <a:lnTo>
                    <a:pt x="1482" y="798"/>
                  </a:lnTo>
                  <a:lnTo>
                    <a:pt x="1493" y="808"/>
                  </a:lnTo>
                  <a:lnTo>
                    <a:pt x="1504" y="816"/>
                  </a:lnTo>
                  <a:lnTo>
                    <a:pt x="1518" y="823"/>
                  </a:lnTo>
                  <a:lnTo>
                    <a:pt x="1530" y="828"/>
                  </a:lnTo>
                  <a:lnTo>
                    <a:pt x="1544" y="833"/>
                  </a:lnTo>
                  <a:lnTo>
                    <a:pt x="1558" y="835"/>
                  </a:lnTo>
                  <a:lnTo>
                    <a:pt x="1572" y="836"/>
                  </a:lnTo>
                  <a:lnTo>
                    <a:pt x="1572" y="836"/>
                  </a:lnTo>
                  <a:lnTo>
                    <a:pt x="1586" y="835"/>
                  </a:lnTo>
                  <a:lnTo>
                    <a:pt x="1600" y="833"/>
                  </a:lnTo>
                  <a:lnTo>
                    <a:pt x="1613" y="828"/>
                  </a:lnTo>
                  <a:lnTo>
                    <a:pt x="1626" y="823"/>
                  </a:lnTo>
                  <a:lnTo>
                    <a:pt x="1638" y="816"/>
                  </a:lnTo>
                  <a:lnTo>
                    <a:pt x="1650" y="808"/>
                  </a:lnTo>
                  <a:lnTo>
                    <a:pt x="1660" y="798"/>
                  </a:lnTo>
                  <a:lnTo>
                    <a:pt x="1670" y="787"/>
                  </a:lnTo>
                  <a:lnTo>
                    <a:pt x="1679" y="775"/>
                  </a:lnTo>
                  <a:lnTo>
                    <a:pt x="1687" y="762"/>
                  </a:lnTo>
                  <a:lnTo>
                    <a:pt x="1694" y="749"/>
                  </a:lnTo>
                  <a:lnTo>
                    <a:pt x="1700" y="734"/>
                  </a:lnTo>
                  <a:lnTo>
                    <a:pt x="1705" y="719"/>
                  </a:lnTo>
                  <a:lnTo>
                    <a:pt x="1708" y="702"/>
                  </a:lnTo>
                  <a:lnTo>
                    <a:pt x="1710" y="686"/>
                  </a:lnTo>
                  <a:lnTo>
                    <a:pt x="1711" y="668"/>
                  </a:lnTo>
                  <a:lnTo>
                    <a:pt x="1711" y="668"/>
                  </a:lnTo>
                  <a:lnTo>
                    <a:pt x="1711" y="658"/>
                  </a:lnTo>
                  <a:lnTo>
                    <a:pt x="1710" y="647"/>
                  </a:lnTo>
                  <a:lnTo>
                    <a:pt x="1708" y="636"/>
                  </a:lnTo>
                  <a:lnTo>
                    <a:pt x="1706" y="625"/>
                  </a:lnTo>
                  <a:lnTo>
                    <a:pt x="1700" y="606"/>
                  </a:lnTo>
                  <a:lnTo>
                    <a:pt x="1692" y="587"/>
                  </a:lnTo>
                  <a:lnTo>
                    <a:pt x="1953" y="310"/>
                  </a:lnTo>
                  <a:lnTo>
                    <a:pt x="1953" y="310"/>
                  </a:lnTo>
                  <a:lnTo>
                    <a:pt x="1970" y="320"/>
                  </a:lnTo>
                  <a:lnTo>
                    <a:pt x="1979" y="324"/>
                  </a:lnTo>
                  <a:lnTo>
                    <a:pt x="1987" y="328"/>
                  </a:lnTo>
                  <a:lnTo>
                    <a:pt x="1997" y="331"/>
                  </a:lnTo>
                  <a:lnTo>
                    <a:pt x="2006" y="332"/>
                  </a:lnTo>
                  <a:lnTo>
                    <a:pt x="2016" y="334"/>
                  </a:lnTo>
                  <a:lnTo>
                    <a:pt x="2026" y="335"/>
                  </a:lnTo>
                  <a:lnTo>
                    <a:pt x="2026" y="335"/>
                  </a:lnTo>
                  <a:lnTo>
                    <a:pt x="2040" y="334"/>
                  </a:lnTo>
                  <a:lnTo>
                    <a:pt x="2054" y="331"/>
                  </a:lnTo>
                  <a:lnTo>
                    <a:pt x="2067" y="326"/>
                  </a:lnTo>
                  <a:lnTo>
                    <a:pt x="2080" y="322"/>
                  </a:lnTo>
                  <a:lnTo>
                    <a:pt x="2092" y="314"/>
                  </a:lnTo>
                  <a:lnTo>
                    <a:pt x="2104" y="306"/>
                  </a:lnTo>
                  <a:lnTo>
                    <a:pt x="2114" y="296"/>
                  </a:lnTo>
                  <a:lnTo>
                    <a:pt x="2124" y="286"/>
                  </a:lnTo>
                  <a:lnTo>
                    <a:pt x="2133" y="274"/>
                  </a:lnTo>
                  <a:lnTo>
                    <a:pt x="2141" y="260"/>
                  </a:lnTo>
                  <a:lnTo>
                    <a:pt x="2148" y="247"/>
                  </a:lnTo>
                  <a:lnTo>
                    <a:pt x="2154" y="233"/>
                  </a:lnTo>
                  <a:lnTo>
                    <a:pt x="2159" y="217"/>
                  </a:lnTo>
                  <a:lnTo>
                    <a:pt x="2162" y="200"/>
                  </a:lnTo>
                  <a:lnTo>
                    <a:pt x="2164" y="185"/>
                  </a:lnTo>
                  <a:lnTo>
                    <a:pt x="2165" y="167"/>
                  </a:lnTo>
                  <a:lnTo>
                    <a:pt x="2165" y="167"/>
                  </a:lnTo>
                  <a:lnTo>
                    <a:pt x="2164" y="150"/>
                  </a:lnTo>
                  <a:lnTo>
                    <a:pt x="2162" y="133"/>
                  </a:lnTo>
                  <a:lnTo>
                    <a:pt x="2159" y="118"/>
                  </a:lnTo>
                  <a:lnTo>
                    <a:pt x="2154" y="102"/>
                  </a:lnTo>
                  <a:lnTo>
                    <a:pt x="2148" y="88"/>
                  </a:lnTo>
                  <a:lnTo>
                    <a:pt x="2141" y="73"/>
                  </a:lnTo>
                  <a:lnTo>
                    <a:pt x="2133" y="61"/>
                  </a:lnTo>
                  <a:lnTo>
                    <a:pt x="2124" y="49"/>
                  </a:lnTo>
                  <a:lnTo>
                    <a:pt x="2114" y="38"/>
                  </a:lnTo>
                  <a:lnTo>
                    <a:pt x="2104" y="29"/>
                  </a:lnTo>
                  <a:lnTo>
                    <a:pt x="2092" y="20"/>
                  </a:lnTo>
                  <a:lnTo>
                    <a:pt x="2080" y="13"/>
                  </a:lnTo>
                  <a:lnTo>
                    <a:pt x="2067" y="7"/>
                  </a:lnTo>
                  <a:lnTo>
                    <a:pt x="2054" y="4"/>
                  </a:lnTo>
                  <a:lnTo>
                    <a:pt x="2040" y="1"/>
                  </a:lnTo>
                  <a:lnTo>
                    <a:pt x="2026" y="0"/>
                  </a:lnTo>
                  <a:lnTo>
                    <a:pt x="2026" y="0"/>
                  </a:lnTo>
                  <a:lnTo>
                    <a:pt x="2011" y="1"/>
                  </a:lnTo>
                  <a:lnTo>
                    <a:pt x="1998" y="4"/>
                  </a:lnTo>
                  <a:lnTo>
                    <a:pt x="1984" y="7"/>
                  </a:lnTo>
                  <a:lnTo>
                    <a:pt x="1971" y="13"/>
                  </a:lnTo>
                  <a:lnTo>
                    <a:pt x="1959" y="20"/>
                  </a:lnTo>
                  <a:lnTo>
                    <a:pt x="1947" y="29"/>
                  </a:lnTo>
                  <a:lnTo>
                    <a:pt x="1936" y="38"/>
                  </a:lnTo>
                  <a:lnTo>
                    <a:pt x="1926" y="49"/>
                  </a:lnTo>
                  <a:lnTo>
                    <a:pt x="1917" y="61"/>
                  </a:lnTo>
                  <a:lnTo>
                    <a:pt x="1909" y="73"/>
                  </a:lnTo>
                  <a:lnTo>
                    <a:pt x="1902" y="88"/>
                  </a:lnTo>
                  <a:lnTo>
                    <a:pt x="1896" y="102"/>
                  </a:lnTo>
                  <a:lnTo>
                    <a:pt x="1892" y="118"/>
                  </a:lnTo>
                  <a:lnTo>
                    <a:pt x="1888" y="133"/>
                  </a:lnTo>
                  <a:lnTo>
                    <a:pt x="1886" y="150"/>
                  </a:lnTo>
                  <a:lnTo>
                    <a:pt x="1885" y="167"/>
                  </a:lnTo>
                  <a:lnTo>
                    <a:pt x="1885" y="167"/>
                  </a:lnTo>
                  <a:lnTo>
                    <a:pt x="1886" y="179"/>
                  </a:lnTo>
                  <a:lnTo>
                    <a:pt x="1887" y="190"/>
                  </a:lnTo>
                  <a:lnTo>
                    <a:pt x="1888" y="200"/>
                  </a:lnTo>
                  <a:lnTo>
                    <a:pt x="1890" y="210"/>
                  </a:lnTo>
                  <a:lnTo>
                    <a:pt x="1896" y="230"/>
                  </a:lnTo>
                  <a:lnTo>
                    <a:pt x="1904" y="250"/>
                  </a:lnTo>
                  <a:lnTo>
                    <a:pt x="1644" y="527"/>
                  </a:lnTo>
                  <a:lnTo>
                    <a:pt x="1644" y="527"/>
                  </a:lnTo>
                  <a:lnTo>
                    <a:pt x="1628" y="516"/>
                  </a:lnTo>
                  <a:lnTo>
                    <a:pt x="1619" y="512"/>
                  </a:lnTo>
                  <a:lnTo>
                    <a:pt x="1610" y="509"/>
                  </a:lnTo>
                  <a:lnTo>
                    <a:pt x="1601" y="505"/>
                  </a:lnTo>
                  <a:lnTo>
                    <a:pt x="1591" y="503"/>
                  </a:lnTo>
                  <a:lnTo>
                    <a:pt x="1582" y="502"/>
                  </a:lnTo>
                  <a:lnTo>
                    <a:pt x="1572" y="502"/>
                  </a:lnTo>
                  <a:lnTo>
                    <a:pt x="1572" y="502"/>
                  </a:lnTo>
                  <a:lnTo>
                    <a:pt x="1560" y="503"/>
                  </a:lnTo>
                  <a:lnTo>
                    <a:pt x="1548" y="504"/>
                  </a:lnTo>
                  <a:lnTo>
                    <a:pt x="1537" y="508"/>
                  </a:lnTo>
                  <a:lnTo>
                    <a:pt x="1526" y="511"/>
                  </a:lnTo>
                  <a:lnTo>
                    <a:pt x="1374" y="258"/>
                  </a:lnTo>
                  <a:lnTo>
                    <a:pt x="1374" y="258"/>
                  </a:lnTo>
                  <a:lnTo>
                    <a:pt x="1379" y="248"/>
                  </a:lnTo>
                  <a:lnTo>
                    <a:pt x="1383" y="238"/>
                  </a:lnTo>
                  <a:lnTo>
                    <a:pt x="1387" y="227"/>
                  </a:lnTo>
                  <a:lnTo>
                    <a:pt x="1391" y="215"/>
                  </a:lnTo>
                  <a:lnTo>
                    <a:pt x="1393" y="204"/>
                  </a:lnTo>
                  <a:lnTo>
                    <a:pt x="1395" y="192"/>
                  </a:lnTo>
                  <a:lnTo>
                    <a:pt x="1396" y="180"/>
                  </a:lnTo>
                  <a:lnTo>
                    <a:pt x="1397" y="167"/>
                  </a:lnTo>
                  <a:lnTo>
                    <a:pt x="1397" y="167"/>
                  </a:lnTo>
                  <a:lnTo>
                    <a:pt x="1396" y="150"/>
                  </a:lnTo>
                  <a:lnTo>
                    <a:pt x="1394" y="133"/>
                  </a:lnTo>
                  <a:lnTo>
                    <a:pt x="1390" y="118"/>
                  </a:lnTo>
                  <a:lnTo>
                    <a:pt x="1386" y="102"/>
                  </a:lnTo>
                  <a:lnTo>
                    <a:pt x="1380" y="88"/>
                  </a:lnTo>
                  <a:lnTo>
                    <a:pt x="1373" y="73"/>
                  </a:lnTo>
                  <a:lnTo>
                    <a:pt x="1365" y="61"/>
                  </a:lnTo>
                  <a:lnTo>
                    <a:pt x="1356" y="49"/>
                  </a:lnTo>
                  <a:lnTo>
                    <a:pt x="1346" y="38"/>
                  </a:lnTo>
                  <a:lnTo>
                    <a:pt x="1335" y="29"/>
                  </a:lnTo>
                  <a:lnTo>
                    <a:pt x="1324" y="20"/>
                  </a:lnTo>
                  <a:lnTo>
                    <a:pt x="1311" y="13"/>
                  </a:lnTo>
                  <a:lnTo>
                    <a:pt x="1299" y="7"/>
                  </a:lnTo>
                  <a:lnTo>
                    <a:pt x="1285" y="4"/>
                  </a:lnTo>
                  <a:lnTo>
                    <a:pt x="1271" y="1"/>
                  </a:lnTo>
                  <a:lnTo>
                    <a:pt x="1257" y="0"/>
                  </a:lnTo>
                  <a:lnTo>
                    <a:pt x="1257" y="0"/>
                  </a:lnTo>
                  <a:lnTo>
                    <a:pt x="1243" y="1"/>
                  </a:lnTo>
                  <a:lnTo>
                    <a:pt x="1229" y="4"/>
                  </a:lnTo>
                  <a:lnTo>
                    <a:pt x="1216" y="7"/>
                  </a:lnTo>
                  <a:lnTo>
                    <a:pt x="1203" y="13"/>
                  </a:lnTo>
                  <a:lnTo>
                    <a:pt x="1191" y="20"/>
                  </a:lnTo>
                  <a:lnTo>
                    <a:pt x="1179" y="29"/>
                  </a:lnTo>
                  <a:lnTo>
                    <a:pt x="1169" y="38"/>
                  </a:lnTo>
                  <a:lnTo>
                    <a:pt x="1159" y="49"/>
                  </a:lnTo>
                  <a:lnTo>
                    <a:pt x="1150" y="61"/>
                  </a:lnTo>
                  <a:lnTo>
                    <a:pt x="1142" y="73"/>
                  </a:lnTo>
                  <a:lnTo>
                    <a:pt x="1135" y="88"/>
                  </a:lnTo>
                  <a:lnTo>
                    <a:pt x="1129" y="102"/>
                  </a:lnTo>
                  <a:lnTo>
                    <a:pt x="1124" y="118"/>
                  </a:lnTo>
                  <a:lnTo>
                    <a:pt x="1121" y="133"/>
                  </a:lnTo>
                  <a:lnTo>
                    <a:pt x="1119" y="150"/>
                  </a:lnTo>
                  <a:lnTo>
                    <a:pt x="1118" y="167"/>
                  </a:lnTo>
                  <a:lnTo>
                    <a:pt x="1118" y="167"/>
                  </a:lnTo>
                  <a:lnTo>
                    <a:pt x="1118" y="181"/>
                  </a:lnTo>
                  <a:lnTo>
                    <a:pt x="1120" y="196"/>
                  </a:lnTo>
                  <a:lnTo>
                    <a:pt x="1123" y="209"/>
                  </a:lnTo>
                  <a:lnTo>
                    <a:pt x="1126" y="222"/>
                  </a:lnTo>
                  <a:lnTo>
                    <a:pt x="1096" y="251"/>
                  </a:lnTo>
                  <a:lnTo>
                    <a:pt x="1096" y="251"/>
                  </a:lnTo>
                  <a:lnTo>
                    <a:pt x="1073" y="222"/>
                  </a:lnTo>
                  <a:lnTo>
                    <a:pt x="1050" y="196"/>
                  </a:lnTo>
                  <a:lnTo>
                    <a:pt x="1025" y="170"/>
                  </a:lnTo>
                  <a:lnTo>
                    <a:pt x="1000" y="146"/>
                  </a:lnTo>
                  <a:lnTo>
                    <a:pt x="973" y="125"/>
                  </a:lnTo>
                  <a:lnTo>
                    <a:pt x="946" y="104"/>
                  </a:lnTo>
                  <a:lnTo>
                    <a:pt x="917" y="85"/>
                  </a:lnTo>
                  <a:lnTo>
                    <a:pt x="888" y="67"/>
                  </a:lnTo>
                  <a:lnTo>
                    <a:pt x="858" y="53"/>
                  </a:lnTo>
                  <a:lnTo>
                    <a:pt x="827" y="38"/>
                  </a:lnTo>
                  <a:lnTo>
                    <a:pt x="796" y="28"/>
                  </a:lnTo>
                  <a:lnTo>
                    <a:pt x="764" y="18"/>
                  </a:lnTo>
                  <a:lnTo>
                    <a:pt x="731" y="10"/>
                  </a:lnTo>
                  <a:lnTo>
                    <a:pt x="698" y="5"/>
                  </a:lnTo>
                  <a:lnTo>
                    <a:pt x="664" y="1"/>
                  </a:lnTo>
                  <a:lnTo>
                    <a:pt x="628" y="0"/>
                  </a:lnTo>
                  <a:lnTo>
                    <a:pt x="628" y="0"/>
                  </a:lnTo>
                  <a:lnTo>
                    <a:pt x="596" y="1"/>
                  </a:lnTo>
                  <a:lnTo>
                    <a:pt x="564" y="4"/>
                  </a:lnTo>
                  <a:lnTo>
                    <a:pt x="533" y="8"/>
                  </a:lnTo>
                  <a:lnTo>
                    <a:pt x="502" y="16"/>
                  </a:lnTo>
                  <a:lnTo>
                    <a:pt x="472" y="24"/>
                  </a:lnTo>
                  <a:lnTo>
                    <a:pt x="442" y="34"/>
                  </a:lnTo>
                  <a:lnTo>
                    <a:pt x="413" y="46"/>
                  </a:lnTo>
                  <a:lnTo>
                    <a:pt x="384" y="59"/>
                  </a:lnTo>
                  <a:lnTo>
                    <a:pt x="356" y="74"/>
                  </a:lnTo>
                  <a:lnTo>
                    <a:pt x="329" y="91"/>
                  </a:lnTo>
                  <a:lnTo>
                    <a:pt x="303" y="109"/>
                  </a:lnTo>
                  <a:lnTo>
                    <a:pt x="278" y="128"/>
                  </a:lnTo>
                  <a:lnTo>
                    <a:pt x="253" y="150"/>
                  </a:lnTo>
                  <a:lnTo>
                    <a:pt x="229" y="172"/>
                  </a:lnTo>
                  <a:lnTo>
                    <a:pt x="206" y="196"/>
                  </a:lnTo>
                  <a:lnTo>
                    <a:pt x="184" y="221"/>
                  </a:lnTo>
                  <a:lnTo>
                    <a:pt x="163" y="247"/>
                  </a:lnTo>
                  <a:lnTo>
                    <a:pt x="143" y="274"/>
                  </a:lnTo>
                  <a:lnTo>
                    <a:pt x="125" y="302"/>
                  </a:lnTo>
                  <a:lnTo>
                    <a:pt x="107" y="332"/>
                  </a:lnTo>
                  <a:lnTo>
                    <a:pt x="91" y="362"/>
                  </a:lnTo>
                  <a:lnTo>
                    <a:pt x="76" y="394"/>
                  </a:lnTo>
                  <a:lnTo>
                    <a:pt x="62" y="426"/>
                  </a:lnTo>
                  <a:lnTo>
                    <a:pt x="49" y="460"/>
                  </a:lnTo>
                  <a:lnTo>
                    <a:pt x="38" y="494"/>
                  </a:lnTo>
                  <a:lnTo>
                    <a:pt x="28" y="529"/>
                  </a:lnTo>
                  <a:lnTo>
                    <a:pt x="20" y="565"/>
                  </a:lnTo>
                  <a:lnTo>
                    <a:pt x="13" y="601"/>
                  </a:lnTo>
                  <a:lnTo>
                    <a:pt x="7" y="638"/>
                  </a:lnTo>
                  <a:lnTo>
                    <a:pt x="3" y="676"/>
                  </a:lnTo>
                  <a:lnTo>
                    <a:pt x="1" y="714"/>
                  </a:lnTo>
                  <a:lnTo>
                    <a:pt x="0" y="752"/>
                  </a:lnTo>
                  <a:lnTo>
                    <a:pt x="0" y="752"/>
                  </a:lnTo>
                  <a:lnTo>
                    <a:pt x="1" y="784"/>
                  </a:lnTo>
                  <a:lnTo>
                    <a:pt x="2" y="814"/>
                  </a:lnTo>
                  <a:lnTo>
                    <a:pt x="5" y="844"/>
                  </a:lnTo>
                  <a:lnTo>
                    <a:pt x="8" y="872"/>
                  </a:lnTo>
                  <a:lnTo>
                    <a:pt x="12" y="901"/>
                  </a:lnTo>
                  <a:lnTo>
                    <a:pt x="18" y="930"/>
                  </a:lnTo>
                  <a:lnTo>
                    <a:pt x="24" y="959"/>
                  </a:lnTo>
                  <a:lnTo>
                    <a:pt x="31" y="986"/>
                  </a:lnTo>
                  <a:lnTo>
                    <a:pt x="39" y="1014"/>
                  </a:lnTo>
                  <a:lnTo>
                    <a:pt x="48" y="1040"/>
                  </a:lnTo>
                  <a:lnTo>
                    <a:pt x="58" y="1067"/>
                  </a:lnTo>
                  <a:lnTo>
                    <a:pt x="68" y="1093"/>
                  </a:lnTo>
                  <a:lnTo>
                    <a:pt x="79" y="1118"/>
                  </a:lnTo>
                  <a:lnTo>
                    <a:pt x="92" y="1144"/>
                  </a:lnTo>
                  <a:lnTo>
                    <a:pt x="104" y="1168"/>
                  </a:lnTo>
                  <a:lnTo>
                    <a:pt x="118" y="1190"/>
                  </a:lnTo>
                  <a:lnTo>
                    <a:pt x="132" y="1213"/>
                  </a:lnTo>
                  <a:lnTo>
                    <a:pt x="147" y="1236"/>
                  </a:lnTo>
                  <a:lnTo>
                    <a:pt x="163" y="1256"/>
                  </a:lnTo>
                  <a:lnTo>
                    <a:pt x="179" y="1278"/>
                  </a:lnTo>
                  <a:lnTo>
                    <a:pt x="196" y="1297"/>
                  </a:lnTo>
                  <a:lnTo>
                    <a:pt x="213" y="1316"/>
                  </a:lnTo>
                  <a:lnTo>
                    <a:pt x="232" y="1336"/>
                  </a:lnTo>
                  <a:lnTo>
                    <a:pt x="251" y="1352"/>
                  </a:lnTo>
                  <a:lnTo>
                    <a:pt x="270" y="1369"/>
                  </a:lnTo>
                  <a:lnTo>
                    <a:pt x="290" y="1385"/>
                  </a:lnTo>
                  <a:lnTo>
                    <a:pt x="310" y="1400"/>
                  </a:lnTo>
                  <a:lnTo>
                    <a:pt x="331" y="1415"/>
                  </a:lnTo>
                  <a:lnTo>
                    <a:pt x="353" y="1428"/>
                  </a:lnTo>
                  <a:lnTo>
                    <a:pt x="374" y="1440"/>
                  </a:lnTo>
                  <a:lnTo>
                    <a:pt x="396" y="1451"/>
                  </a:lnTo>
                  <a:lnTo>
                    <a:pt x="419" y="1462"/>
                  </a:lnTo>
                  <a:lnTo>
                    <a:pt x="419" y="1589"/>
                  </a:lnTo>
                  <a:lnTo>
                    <a:pt x="349" y="1589"/>
                  </a:lnTo>
                  <a:lnTo>
                    <a:pt x="349" y="1673"/>
                  </a:lnTo>
                  <a:lnTo>
                    <a:pt x="419" y="1673"/>
                  </a:lnTo>
                  <a:lnTo>
                    <a:pt x="419" y="1756"/>
                  </a:lnTo>
                  <a:lnTo>
                    <a:pt x="349" y="1756"/>
                  </a:lnTo>
                  <a:lnTo>
                    <a:pt x="349" y="1840"/>
                  </a:lnTo>
                  <a:lnTo>
                    <a:pt x="419" y="1840"/>
                  </a:lnTo>
                  <a:lnTo>
                    <a:pt x="419" y="2341"/>
                  </a:lnTo>
                  <a:lnTo>
                    <a:pt x="419" y="2341"/>
                  </a:lnTo>
                  <a:lnTo>
                    <a:pt x="420" y="2366"/>
                  </a:lnTo>
                  <a:lnTo>
                    <a:pt x="423" y="2392"/>
                  </a:lnTo>
                  <a:lnTo>
                    <a:pt x="428" y="2416"/>
                  </a:lnTo>
                  <a:lnTo>
                    <a:pt x="436" y="2438"/>
                  </a:lnTo>
                  <a:lnTo>
                    <a:pt x="444" y="2461"/>
                  </a:lnTo>
                  <a:lnTo>
                    <a:pt x="455" y="2482"/>
                  </a:lnTo>
                  <a:lnTo>
                    <a:pt x="467" y="2501"/>
                  </a:lnTo>
                  <a:lnTo>
                    <a:pt x="480" y="2519"/>
                  </a:lnTo>
                  <a:lnTo>
                    <a:pt x="495" y="2534"/>
                  </a:lnTo>
                  <a:lnTo>
                    <a:pt x="511" y="2549"/>
                  </a:lnTo>
                  <a:lnTo>
                    <a:pt x="529" y="2562"/>
                  </a:lnTo>
                  <a:lnTo>
                    <a:pt x="547" y="2573"/>
                  </a:lnTo>
                  <a:lnTo>
                    <a:pt x="566" y="2581"/>
                  </a:lnTo>
                  <a:lnTo>
                    <a:pt x="586" y="2587"/>
                  </a:lnTo>
                  <a:lnTo>
                    <a:pt x="607" y="2591"/>
                  </a:lnTo>
                  <a:lnTo>
                    <a:pt x="628" y="2592"/>
                  </a:lnTo>
                  <a:lnTo>
                    <a:pt x="628" y="2592"/>
                  </a:lnTo>
                  <a:lnTo>
                    <a:pt x="650" y="2591"/>
                  </a:lnTo>
                  <a:lnTo>
                    <a:pt x="671" y="2587"/>
                  </a:lnTo>
                  <a:lnTo>
                    <a:pt x="691" y="2581"/>
                  </a:lnTo>
                  <a:lnTo>
                    <a:pt x="710" y="2573"/>
                  </a:lnTo>
                  <a:lnTo>
                    <a:pt x="729" y="2562"/>
                  </a:lnTo>
                  <a:lnTo>
                    <a:pt x="746" y="2549"/>
                  </a:lnTo>
                  <a:lnTo>
                    <a:pt x="762" y="2534"/>
                  </a:lnTo>
                  <a:lnTo>
                    <a:pt x="777" y="2519"/>
                  </a:lnTo>
                  <a:lnTo>
                    <a:pt x="790" y="2501"/>
                  </a:lnTo>
                  <a:lnTo>
                    <a:pt x="802" y="2482"/>
                  </a:lnTo>
                  <a:lnTo>
                    <a:pt x="813" y="2461"/>
                  </a:lnTo>
                  <a:lnTo>
                    <a:pt x="822" y="2438"/>
                  </a:lnTo>
                  <a:lnTo>
                    <a:pt x="829" y="2416"/>
                  </a:lnTo>
                  <a:lnTo>
                    <a:pt x="834" y="2392"/>
                  </a:lnTo>
                  <a:lnTo>
                    <a:pt x="837" y="2366"/>
                  </a:lnTo>
                  <a:lnTo>
                    <a:pt x="838" y="2341"/>
                  </a:lnTo>
                  <a:lnTo>
                    <a:pt x="838" y="1840"/>
                  </a:lnTo>
                  <a:lnTo>
                    <a:pt x="908" y="1840"/>
                  </a:lnTo>
                  <a:lnTo>
                    <a:pt x="908" y="1756"/>
                  </a:lnTo>
                  <a:lnTo>
                    <a:pt x="838" y="1756"/>
                  </a:lnTo>
                  <a:lnTo>
                    <a:pt x="838" y="1673"/>
                  </a:lnTo>
                  <a:lnTo>
                    <a:pt x="908" y="1673"/>
                  </a:lnTo>
                  <a:lnTo>
                    <a:pt x="908" y="1589"/>
                  </a:lnTo>
                  <a:lnTo>
                    <a:pt x="838" y="1589"/>
                  </a:lnTo>
                  <a:lnTo>
                    <a:pt x="838" y="1462"/>
                  </a:lnTo>
                  <a:lnTo>
                    <a:pt x="838" y="1462"/>
                  </a:lnTo>
                  <a:lnTo>
                    <a:pt x="861" y="1451"/>
                  </a:lnTo>
                  <a:lnTo>
                    <a:pt x="883" y="1440"/>
                  </a:lnTo>
                  <a:lnTo>
                    <a:pt x="905" y="1428"/>
                  </a:lnTo>
                  <a:lnTo>
                    <a:pt x="926" y="1415"/>
                  </a:lnTo>
                  <a:lnTo>
                    <a:pt x="947" y="1400"/>
                  </a:lnTo>
                  <a:lnTo>
                    <a:pt x="967" y="1385"/>
                  </a:lnTo>
                  <a:lnTo>
                    <a:pt x="987" y="1369"/>
                  </a:lnTo>
                  <a:lnTo>
                    <a:pt x="1006" y="1352"/>
                  </a:lnTo>
                  <a:lnTo>
                    <a:pt x="1025" y="1336"/>
                  </a:lnTo>
                  <a:lnTo>
                    <a:pt x="1043" y="1316"/>
                  </a:lnTo>
                  <a:lnTo>
                    <a:pt x="1060" y="1297"/>
                  </a:lnTo>
                  <a:lnTo>
                    <a:pt x="1077" y="1278"/>
                  </a:lnTo>
                  <a:lnTo>
                    <a:pt x="1095" y="1256"/>
                  </a:lnTo>
                  <a:lnTo>
                    <a:pt x="1110" y="1236"/>
                  </a:lnTo>
                  <a:lnTo>
                    <a:pt x="1125" y="1213"/>
                  </a:lnTo>
                  <a:lnTo>
                    <a:pt x="1139" y="1190"/>
                  </a:lnTo>
                  <a:lnTo>
                    <a:pt x="1153" y="1168"/>
                  </a:lnTo>
                  <a:lnTo>
                    <a:pt x="1166" y="1144"/>
                  </a:lnTo>
                  <a:lnTo>
                    <a:pt x="1178" y="1118"/>
                  </a:lnTo>
                  <a:lnTo>
                    <a:pt x="1189" y="1093"/>
                  </a:lnTo>
                  <a:lnTo>
                    <a:pt x="1200" y="1067"/>
                  </a:lnTo>
                  <a:lnTo>
                    <a:pt x="1209" y="1040"/>
                  </a:lnTo>
                  <a:lnTo>
                    <a:pt x="1218" y="1014"/>
                  </a:lnTo>
                  <a:lnTo>
                    <a:pt x="1226" y="986"/>
                  </a:lnTo>
                  <a:lnTo>
                    <a:pt x="1233" y="959"/>
                  </a:lnTo>
                  <a:lnTo>
                    <a:pt x="1239" y="930"/>
                  </a:lnTo>
                  <a:lnTo>
                    <a:pt x="1245" y="901"/>
                  </a:lnTo>
                  <a:lnTo>
                    <a:pt x="1249" y="872"/>
                  </a:lnTo>
                  <a:lnTo>
                    <a:pt x="1253" y="844"/>
                  </a:lnTo>
                  <a:lnTo>
                    <a:pt x="1255" y="814"/>
                  </a:lnTo>
                  <a:lnTo>
                    <a:pt x="1257" y="784"/>
                  </a:lnTo>
                  <a:lnTo>
                    <a:pt x="1257" y="752"/>
                  </a:lnTo>
                  <a:lnTo>
                    <a:pt x="1257" y="752"/>
                  </a:lnTo>
                  <a:close/>
                  <a:moveTo>
                    <a:pt x="2026" y="84"/>
                  </a:moveTo>
                  <a:lnTo>
                    <a:pt x="2026" y="84"/>
                  </a:lnTo>
                  <a:lnTo>
                    <a:pt x="2033" y="84"/>
                  </a:lnTo>
                  <a:lnTo>
                    <a:pt x="2040" y="85"/>
                  </a:lnTo>
                  <a:lnTo>
                    <a:pt x="2046" y="88"/>
                  </a:lnTo>
                  <a:lnTo>
                    <a:pt x="2053" y="90"/>
                  </a:lnTo>
                  <a:lnTo>
                    <a:pt x="2059" y="94"/>
                  </a:lnTo>
                  <a:lnTo>
                    <a:pt x="2065" y="98"/>
                  </a:lnTo>
                  <a:lnTo>
                    <a:pt x="2070" y="103"/>
                  </a:lnTo>
                  <a:lnTo>
                    <a:pt x="2075" y="108"/>
                  </a:lnTo>
                  <a:lnTo>
                    <a:pt x="2079" y="114"/>
                  </a:lnTo>
                  <a:lnTo>
                    <a:pt x="2083" y="120"/>
                  </a:lnTo>
                  <a:lnTo>
                    <a:pt x="2087" y="127"/>
                  </a:lnTo>
                  <a:lnTo>
                    <a:pt x="2090" y="134"/>
                  </a:lnTo>
                  <a:lnTo>
                    <a:pt x="2092" y="143"/>
                  </a:lnTo>
                  <a:lnTo>
                    <a:pt x="2094" y="150"/>
                  </a:lnTo>
                  <a:lnTo>
                    <a:pt x="2095" y="158"/>
                  </a:lnTo>
                  <a:lnTo>
                    <a:pt x="2095" y="167"/>
                  </a:lnTo>
                  <a:lnTo>
                    <a:pt x="2095" y="167"/>
                  </a:lnTo>
                  <a:lnTo>
                    <a:pt x="2095" y="175"/>
                  </a:lnTo>
                  <a:lnTo>
                    <a:pt x="2094" y="184"/>
                  </a:lnTo>
                  <a:lnTo>
                    <a:pt x="2092" y="192"/>
                  </a:lnTo>
                  <a:lnTo>
                    <a:pt x="2090" y="199"/>
                  </a:lnTo>
                  <a:lnTo>
                    <a:pt x="2087" y="208"/>
                  </a:lnTo>
                  <a:lnTo>
                    <a:pt x="2083" y="214"/>
                  </a:lnTo>
                  <a:lnTo>
                    <a:pt x="2079" y="221"/>
                  </a:lnTo>
                  <a:lnTo>
                    <a:pt x="2075" y="227"/>
                  </a:lnTo>
                  <a:lnTo>
                    <a:pt x="2070" y="232"/>
                  </a:lnTo>
                  <a:lnTo>
                    <a:pt x="2065" y="236"/>
                  </a:lnTo>
                  <a:lnTo>
                    <a:pt x="2059" y="241"/>
                  </a:lnTo>
                  <a:lnTo>
                    <a:pt x="2053" y="245"/>
                  </a:lnTo>
                  <a:lnTo>
                    <a:pt x="2046" y="247"/>
                  </a:lnTo>
                  <a:lnTo>
                    <a:pt x="2040" y="250"/>
                  </a:lnTo>
                  <a:lnTo>
                    <a:pt x="2033" y="251"/>
                  </a:lnTo>
                  <a:lnTo>
                    <a:pt x="2026" y="251"/>
                  </a:lnTo>
                  <a:lnTo>
                    <a:pt x="2026" y="251"/>
                  </a:lnTo>
                  <a:lnTo>
                    <a:pt x="2019" y="251"/>
                  </a:lnTo>
                  <a:lnTo>
                    <a:pt x="2012" y="250"/>
                  </a:lnTo>
                  <a:lnTo>
                    <a:pt x="2005" y="247"/>
                  </a:lnTo>
                  <a:lnTo>
                    <a:pt x="1999" y="245"/>
                  </a:lnTo>
                  <a:lnTo>
                    <a:pt x="1992" y="241"/>
                  </a:lnTo>
                  <a:lnTo>
                    <a:pt x="1987" y="236"/>
                  </a:lnTo>
                  <a:lnTo>
                    <a:pt x="1981" y="232"/>
                  </a:lnTo>
                  <a:lnTo>
                    <a:pt x="1976" y="227"/>
                  </a:lnTo>
                  <a:lnTo>
                    <a:pt x="1972" y="221"/>
                  </a:lnTo>
                  <a:lnTo>
                    <a:pt x="1968" y="214"/>
                  </a:lnTo>
                  <a:lnTo>
                    <a:pt x="1964" y="208"/>
                  </a:lnTo>
                  <a:lnTo>
                    <a:pt x="1961" y="199"/>
                  </a:lnTo>
                  <a:lnTo>
                    <a:pt x="1959" y="192"/>
                  </a:lnTo>
                  <a:lnTo>
                    <a:pt x="1957" y="184"/>
                  </a:lnTo>
                  <a:lnTo>
                    <a:pt x="1956" y="175"/>
                  </a:lnTo>
                  <a:lnTo>
                    <a:pt x="1956" y="167"/>
                  </a:lnTo>
                  <a:lnTo>
                    <a:pt x="1956" y="167"/>
                  </a:lnTo>
                  <a:lnTo>
                    <a:pt x="1956" y="158"/>
                  </a:lnTo>
                  <a:lnTo>
                    <a:pt x="1957" y="150"/>
                  </a:lnTo>
                  <a:lnTo>
                    <a:pt x="1959" y="143"/>
                  </a:lnTo>
                  <a:lnTo>
                    <a:pt x="1961" y="134"/>
                  </a:lnTo>
                  <a:lnTo>
                    <a:pt x="1964" y="127"/>
                  </a:lnTo>
                  <a:lnTo>
                    <a:pt x="1968" y="120"/>
                  </a:lnTo>
                  <a:lnTo>
                    <a:pt x="1972" y="114"/>
                  </a:lnTo>
                  <a:lnTo>
                    <a:pt x="1976" y="108"/>
                  </a:lnTo>
                  <a:lnTo>
                    <a:pt x="1981" y="103"/>
                  </a:lnTo>
                  <a:lnTo>
                    <a:pt x="1987" y="98"/>
                  </a:lnTo>
                  <a:lnTo>
                    <a:pt x="1992" y="94"/>
                  </a:lnTo>
                  <a:lnTo>
                    <a:pt x="1999" y="90"/>
                  </a:lnTo>
                  <a:lnTo>
                    <a:pt x="2005" y="88"/>
                  </a:lnTo>
                  <a:lnTo>
                    <a:pt x="2012" y="85"/>
                  </a:lnTo>
                  <a:lnTo>
                    <a:pt x="2019" y="84"/>
                  </a:lnTo>
                  <a:lnTo>
                    <a:pt x="2026" y="84"/>
                  </a:lnTo>
                  <a:lnTo>
                    <a:pt x="2026" y="84"/>
                  </a:lnTo>
                  <a:close/>
                  <a:moveTo>
                    <a:pt x="1641" y="668"/>
                  </a:moveTo>
                  <a:lnTo>
                    <a:pt x="1641" y="668"/>
                  </a:lnTo>
                  <a:lnTo>
                    <a:pt x="1641" y="678"/>
                  </a:lnTo>
                  <a:lnTo>
                    <a:pt x="1640" y="685"/>
                  </a:lnTo>
                  <a:lnTo>
                    <a:pt x="1638" y="694"/>
                  </a:lnTo>
                  <a:lnTo>
                    <a:pt x="1636" y="702"/>
                  </a:lnTo>
                  <a:lnTo>
                    <a:pt x="1633" y="709"/>
                  </a:lnTo>
                  <a:lnTo>
                    <a:pt x="1630" y="715"/>
                  </a:lnTo>
                  <a:lnTo>
                    <a:pt x="1625" y="722"/>
                  </a:lnTo>
                  <a:lnTo>
                    <a:pt x="1621" y="728"/>
                  </a:lnTo>
                  <a:lnTo>
                    <a:pt x="1616" y="733"/>
                  </a:lnTo>
                  <a:lnTo>
                    <a:pt x="1611" y="738"/>
                  </a:lnTo>
                  <a:lnTo>
                    <a:pt x="1605" y="743"/>
                  </a:lnTo>
                  <a:lnTo>
                    <a:pt x="1599" y="746"/>
                  </a:lnTo>
                  <a:lnTo>
                    <a:pt x="1592" y="749"/>
                  </a:lnTo>
                  <a:lnTo>
                    <a:pt x="1586" y="751"/>
                  </a:lnTo>
                  <a:lnTo>
                    <a:pt x="1579" y="752"/>
                  </a:lnTo>
                  <a:lnTo>
                    <a:pt x="1572" y="752"/>
                  </a:lnTo>
                  <a:lnTo>
                    <a:pt x="1572" y="752"/>
                  </a:lnTo>
                  <a:lnTo>
                    <a:pt x="1565" y="752"/>
                  </a:lnTo>
                  <a:lnTo>
                    <a:pt x="1558" y="751"/>
                  </a:lnTo>
                  <a:lnTo>
                    <a:pt x="1551" y="749"/>
                  </a:lnTo>
                  <a:lnTo>
                    <a:pt x="1545" y="746"/>
                  </a:lnTo>
                  <a:lnTo>
                    <a:pt x="1539" y="743"/>
                  </a:lnTo>
                  <a:lnTo>
                    <a:pt x="1533" y="738"/>
                  </a:lnTo>
                  <a:lnTo>
                    <a:pt x="1527" y="733"/>
                  </a:lnTo>
                  <a:lnTo>
                    <a:pt x="1522" y="728"/>
                  </a:lnTo>
                  <a:lnTo>
                    <a:pt x="1518" y="722"/>
                  </a:lnTo>
                  <a:lnTo>
                    <a:pt x="1513" y="715"/>
                  </a:lnTo>
                  <a:lnTo>
                    <a:pt x="1509" y="709"/>
                  </a:lnTo>
                  <a:lnTo>
                    <a:pt x="1507" y="702"/>
                  </a:lnTo>
                  <a:lnTo>
                    <a:pt x="1504" y="694"/>
                  </a:lnTo>
                  <a:lnTo>
                    <a:pt x="1502" y="685"/>
                  </a:lnTo>
                  <a:lnTo>
                    <a:pt x="1501" y="678"/>
                  </a:lnTo>
                  <a:lnTo>
                    <a:pt x="1501" y="668"/>
                  </a:lnTo>
                  <a:lnTo>
                    <a:pt x="1501" y="668"/>
                  </a:lnTo>
                  <a:lnTo>
                    <a:pt x="1501" y="660"/>
                  </a:lnTo>
                  <a:lnTo>
                    <a:pt x="1502" y="652"/>
                  </a:lnTo>
                  <a:lnTo>
                    <a:pt x="1504" y="644"/>
                  </a:lnTo>
                  <a:lnTo>
                    <a:pt x="1507" y="636"/>
                  </a:lnTo>
                  <a:lnTo>
                    <a:pt x="1509" y="629"/>
                  </a:lnTo>
                  <a:lnTo>
                    <a:pt x="1513" y="622"/>
                  </a:lnTo>
                  <a:lnTo>
                    <a:pt x="1518" y="616"/>
                  </a:lnTo>
                  <a:lnTo>
                    <a:pt x="1522" y="610"/>
                  </a:lnTo>
                  <a:lnTo>
                    <a:pt x="1527" y="605"/>
                  </a:lnTo>
                  <a:lnTo>
                    <a:pt x="1533" y="600"/>
                  </a:lnTo>
                  <a:lnTo>
                    <a:pt x="1539" y="595"/>
                  </a:lnTo>
                  <a:lnTo>
                    <a:pt x="1545" y="592"/>
                  </a:lnTo>
                  <a:lnTo>
                    <a:pt x="1551" y="589"/>
                  </a:lnTo>
                  <a:lnTo>
                    <a:pt x="1558" y="587"/>
                  </a:lnTo>
                  <a:lnTo>
                    <a:pt x="1565" y="586"/>
                  </a:lnTo>
                  <a:lnTo>
                    <a:pt x="1572" y="586"/>
                  </a:lnTo>
                  <a:lnTo>
                    <a:pt x="1572" y="586"/>
                  </a:lnTo>
                  <a:lnTo>
                    <a:pt x="1579" y="586"/>
                  </a:lnTo>
                  <a:lnTo>
                    <a:pt x="1586" y="587"/>
                  </a:lnTo>
                  <a:lnTo>
                    <a:pt x="1592" y="589"/>
                  </a:lnTo>
                  <a:lnTo>
                    <a:pt x="1599" y="592"/>
                  </a:lnTo>
                  <a:lnTo>
                    <a:pt x="1605" y="595"/>
                  </a:lnTo>
                  <a:lnTo>
                    <a:pt x="1611" y="600"/>
                  </a:lnTo>
                  <a:lnTo>
                    <a:pt x="1616" y="605"/>
                  </a:lnTo>
                  <a:lnTo>
                    <a:pt x="1621" y="610"/>
                  </a:lnTo>
                  <a:lnTo>
                    <a:pt x="1625" y="616"/>
                  </a:lnTo>
                  <a:lnTo>
                    <a:pt x="1630" y="622"/>
                  </a:lnTo>
                  <a:lnTo>
                    <a:pt x="1633" y="629"/>
                  </a:lnTo>
                  <a:lnTo>
                    <a:pt x="1636" y="636"/>
                  </a:lnTo>
                  <a:lnTo>
                    <a:pt x="1638" y="644"/>
                  </a:lnTo>
                  <a:lnTo>
                    <a:pt x="1640" y="652"/>
                  </a:lnTo>
                  <a:lnTo>
                    <a:pt x="1641" y="660"/>
                  </a:lnTo>
                  <a:lnTo>
                    <a:pt x="1641" y="668"/>
                  </a:lnTo>
                  <a:lnTo>
                    <a:pt x="1641" y="668"/>
                  </a:lnTo>
                  <a:close/>
                  <a:moveTo>
                    <a:pt x="1257" y="84"/>
                  </a:moveTo>
                  <a:lnTo>
                    <a:pt x="1257" y="84"/>
                  </a:lnTo>
                  <a:lnTo>
                    <a:pt x="1264" y="84"/>
                  </a:lnTo>
                  <a:lnTo>
                    <a:pt x="1271" y="85"/>
                  </a:lnTo>
                  <a:lnTo>
                    <a:pt x="1278" y="88"/>
                  </a:lnTo>
                  <a:lnTo>
                    <a:pt x="1284" y="90"/>
                  </a:lnTo>
                  <a:lnTo>
                    <a:pt x="1290" y="94"/>
                  </a:lnTo>
                  <a:lnTo>
                    <a:pt x="1296" y="98"/>
                  </a:lnTo>
                  <a:lnTo>
                    <a:pt x="1301" y="103"/>
                  </a:lnTo>
                  <a:lnTo>
                    <a:pt x="1306" y="108"/>
                  </a:lnTo>
                  <a:lnTo>
                    <a:pt x="1311" y="114"/>
                  </a:lnTo>
                  <a:lnTo>
                    <a:pt x="1315" y="120"/>
                  </a:lnTo>
                  <a:lnTo>
                    <a:pt x="1318" y="127"/>
                  </a:lnTo>
                  <a:lnTo>
                    <a:pt x="1321" y="134"/>
                  </a:lnTo>
                  <a:lnTo>
                    <a:pt x="1324" y="143"/>
                  </a:lnTo>
                  <a:lnTo>
                    <a:pt x="1325" y="150"/>
                  </a:lnTo>
                  <a:lnTo>
                    <a:pt x="1327" y="158"/>
                  </a:lnTo>
                  <a:lnTo>
                    <a:pt x="1327" y="167"/>
                  </a:lnTo>
                  <a:lnTo>
                    <a:pt x="1327" y="167"/>
                  </a:lnTo>
                  <a:lnTo>
                    <a:pt x="1327" y="175"/>
                  </a:lnTo>
                  <a:lnTo>
                    <a:pt x="1325" y="184"/>
                  </a:lnTo>
                  <a:lnTo>
                    <a:pt x="1324" y="192"/>
                  </a:lnTo>
                  <a:lnTo>
                    <a:pt x="1321" y="199"/>
                  </a:lnTo>
                  <a:lnTo>
                    <a:pt x="1318" y="208"/>
                  </a:lnTo>
                  <a:lnTo>
                    <a:pt x="1315" y="214"/>
                  </a:lnTo>
                  <a:lnTo>
                    <a:pt x="1311" y="221"/>
                  </a:lnTo>
                  <a:lnTo>
                    <a:pt x="1306" y="227"/>
                  </a:lnTo>
                  <a:lnTo>
                    <a:pt x="1301" y="232"/>
                  </a:lnTo>
                  <a:lnTo>
                    <a:pt x="1296" y="236"/>
                  </a:lnTo>
                  <a:lnTo>
                    <a:pt x="1290" y="241"/>
                  </a:lnTo>
                  <a:lnTo>
                    <a:pt x="1284" y="245"/>
                  </a:lnTo>
                  <a:lnTo>
                    <a:pt x="1278" y="247"/>
                  </a:lnTo>
                  <a:lnTo>
                    <a:pt x="1271" y="250"/>
                  </a:lnTo>
                  <a:lnTo>
                    <a:pt x="1264" y="251"/>
                  </a:lnTo>
                  <a:lnTo>
                    <a:pt x="1257" y="251"/>
                  </a:lnTo>
                  <a:lnTo>
                    <a:pt x="1257" y="251"/>
                  </a:lnTo>
                  <a:lnTo>
                    <a:pt x="1250" y="251"/>
                  </a:lnTo>
                  <a:lnTo>
                    <a:pt x="1243" y="250"/>
                  </a:lnTo>
                  <a:lnTo>
                    <a:pt x="1236" y="247"/>
                  </a:lnTo>
                  <a:lnTo>
                    <a:pt x="1230" y="245"/>
                  </a:lnTo>
                  <a:lnTo>
                    <a:pt x="1224" y="241"/>
                  </a:lnTo>
                  <a:lnTo>
                    <a:pt x="1218" y="236"/>
                  </a:lnTo>
                  <a:lnTo>
                    <a:pt x="1213" y="232"/>
                  </a:lnTo>
                  <a:lnTo>
                    <a:pt x="1208" y="227"/>
                  </a:lnTo>
                  <a:lnTo>
                    <a:pt x="1203" y="221"/>
                  </a:lnTo>
                  <a:lnTo>
                    <a:pt x="1199" y="214"/>
                  </a:lnTo>
                  <a:lnTo>
                    <a:pt x="1196" y="208"/>
                  </a:lnTo>
                  <a:lnTo>
                    <a:pt x="1193" y="199"/>
                  </a:lnTo>
                  <a:lnTo>
                    <a:pt x="1191" y="192"/>
                  </a:lnTo>
                  <a:lnTo>
                    <a:pt x="1189" y="184"/>
                  </a:lnTo>
                  <a:lnTo>
                    <a:pt x="1188" y="175"/>
                  </a:lnTo>
                  <a:lnTo>
                    <a:pt x="1188" y="167"/>
                  </a:lnTo>
                  <a:lnTo>
                    <a:pt x="1188" y="167"/>
                  </a:lnTo>
                  <a:lnTo>
                    <a:pt x="1188" y="158"/>
                  </a:lnTo>
                  <a:lnTo>
                    <a:pt x="1189" y="150"/>
                  </a:lnTo>
                  <a:lnTo>
                    <a:pt x="1191" y="143"/>
                  </a:lnTo>
                  <a:lnTo>
                    <a:pt x="1193" y="134"/>
                  </a:lnTo>
                  <a:lnTo>
                    <a:pt x="1196" y="127"/>
                  </a:lnTo>
                  <a:lnTo>
                    <a:pt x="1199" y="120"/>
                  </a:lnTo>
                  <a:lnTo>
                    <a:pt x="1203" y="114"/>
                  </a:lnTo>
                  <a:lnTo>
                    <a:pt x="1208" y="108"/>
                  </a:lnTo>
                  <a:lnTo>
                    <a:pt x="1213" y="103"/>
                  </a:lnTo>
                  <a:lnTo>
                    <a:pt x="1218" y="98"/>
                  </a:lnTo>
                  <a:lnTo>
                    <a:pt x="1224" y="94"/>
                  </a:lnTo>
                  <a:lnTo>
                    <a:pt x="1230" y="90"/>
                  </a:lnTo>
                  <a:lnTo>
                    <a:pt x="1236" y="88"/>
                  </a:lnTo>
                  <a:lnTo>
                    <a:pt x="1243" y="85"/>
                  </a:lnTo>
                  <a:lnTo>
                    <a:pt x="1250" y="84"/>
                  </a:lnTo>
                  <a:lnTo>
                    <a:pt x="1257" y="84"/>
                  </a:lnTo>
                  <a:lnTo>
                    <a:pt x="1257" y="84"/>
                  </a:lnTo>
                  <a:close/>
                  <a:moveTo>
                    <a:pt x="70" y="752"/>
                  </a:moveTo>
                  <a:lnTo>
                    <a:pt x="70" y="752"/>
                  </a:lnTo>
                  <a:lnTo>
                    <a:pt x="70" y="718"/>
                  </a:lnTo>
                  <a:lnTo>
                    <a:pt x="73" y="684"/>
                  </a:lnTo>
                  <a:lnTo>
                    <a:pt x="76" y="650"/>
                  </a:lnTo>
                  <a:lnTo>
                    <a:pt x="81" y="618"/>
                  </a:lnTo>
                  <a:lnTo>
                    <a:pt x="87" y="586"/>
                  </a:lnTo>
                  <a:lnTo>
                    <a:pt x="95" y="554"/>
                  </a:lnTo>
                  <a:lnTo>
                    <a:pt x="104" y="523"/>
                  </a:lnTo>
                  <a:lnTo>
                    <a:pt x="114" y="492"/>
                  </a:lnTo>
                  <a:lnTo>
                    <a:pt x="125" y="463"/>
                  </a:lnTo>
                  <a:lnTo>
                    <a:pt x="137" y="434"/>
                  </a:lnTo>
                  <a:lnTo>
                    <a:pt x="150" y="406"/>
                  </a:lnTo>
                  <a:lnTo>
                    <a:pt x="165" y="379"/>
                  </a:lnTo>
                  <a:lnTo>
                    <a:pt x="181" y="353"/>
                  </a:lnTo>
                  <a:lnTo>
                    <a:pt x="197" y="328"/>
                  </a:lnTo>
                  <a:lnTo>
                    <a:pt x="215" y="304"/>
                  </a:lnTo>
                  <a:lnTo>
                    <a:pt x="234" y="280"/>
                  </a:lnTo>
                  <a:lnTo>
                    <a:pt x="254" y="258"/>
                  </a:lnTo>
                  <a:lnTo>
                    <a:pt x="274" y="236"/>
                  </a:lnTo>
                  <a:lnTo>
                    <a:pt x="295" y="217"/>
                  </a:lnTo>
                  <a:lnTo>
                    <a:pt x="317" y="198"/>
                  </a:lnTo>
                  <a:lnTo>
                    <a:pt x="339" y="180"/>
                  </a:lnTo>
                  <a:lnTo>
                    <a:pt x="363" y="164"/>
                  </a:lnTo>
                  <a:lnTo>
                    <a:pt x="387" y="150"/>
                  </a:lnTo>
                  <a:lnTo>
                    <a:pt x="411" y="137"/>
                  </a:lnTo>
                  <a:lnTo>
                    <a:pt x="437" y="125"/>
                  </a:lnTo>
                  <a:lnTo>
                    <a:pt x="463" y="114"/>
                  </a:lnTo>
                  <a:lnTo>
                    <a:pt x="489" y="104"/>
                  </a:lnTo>
                  <a:lnTo>
                    <a:pt x="516" y="97"/>
                  </a:lnTo>
                  <a:lnTo>
                    <a:pt x="543" y="91"/>
                  </a:lnTo>
                  <a:lnTo>
                    <a:pt x="571" y="88"/>
                  </a:lnTo>
                  <a:lnTo>
                    <a:pt x="599" y="84"/>
                  </a:lnTo>
                  <a:lnTo>
                    <a:pt x="628" y="84"/>
                  </a:lnTo>
                  <a:lnTo>
                    <a:pt x="628" y="84"/>
                  </a:lnTo>
                  <a:lnTo>
                    <a:pt x="659" y="84"/>
                  </a:lnTo>
                  <a:lnTo>
                    <a:pt x="689" y="88"/>
                  </a:lnTo>
                  <a:lnTo>
                    <a:pt x="719" y="92"/>
                  </a:lnTo>
                  <a:lnTo>
                    <a:pt x="747" y="98"/>
                  </a:lnTo>
                  <a:lnTo>
                    <a:pt x="776" y="107"/>
                  </a:lnTo>
                  <a:lnTo>
                    <a:pt x="804" y="118"/>
                  </a:lnTo>
                  <a:lnTo>
                    <a:pt x="831" y="130"/>
                  </a:lnTo>
                  <a:lnTo>
                    <a:pt x="857" y="143"/>
                  </a:lnTo>
                  <a:lnTo>
                    <a:pt x="883" y="157"/>
                  </a:lnTo>
                  <a:lnTo>
                    <a:pt x="908" y="174"/>
                  </a:lnTo>
                  <a:lnTo>
                    <a:pt x="932" y="192"/>
                  </a:lnTo>
                  <a:lnTo>
                    <a:pt x="955" y="211"/>
                  </a:lnTo>
                  <a:lnTo>
                    <a:pt x="978" y="232"/>
                  </a:lnTo>
                  <a:lnTo>
                    <a:pt x="999" y="254"/>
                  </a:lnTo>
                  <a:lnTo>
                    <a:pt x="1020" y="277"/>
                  </a:lnTo>
                  <a:lnTo>
                    <a:pt x="1040" y="301"/>
                  </a:lnTo>
                  <a:lnTo>
                    <a:pt x="929" y="403"/>
                  </a:lnTo>
                  <a:lnTo>
                    <a:pt x="929" y="403"/>
                  </a:lnTo>
                  <a:lnTo>
                    <a:pt x="914" y="386"/>
                  </a:lnTo>
                  <a:lnTo>
                    <a:pt x="899" y="370"/>
                  </a:lnTo>
                  <a:lnTo>
                    <a:pt x="883" y="355"/>
                  </a:lnTo>
                  <a:lnTo>
                    <a:pt x="867" y="340"/>
                  </a:lnTo>
                  <a:lnTo>
                    <a:pt x="849" y="326"/>
                  </a:lnTo>
                  <a:lnTo>
                    <a:pt x="832" y="314"/>
                  </a:lnTo>
                  <a:lnTo>
                    <a:pt x="813" y="302"/>
                  </a:lnTo>
                  <a:lnTo>
                    <a:pt x="795" y="292"/>
                  </a:lnTo>
                  <a:lnTo>
                    <a:pt x="775" y="283"/>
                  </a:lnTo>
                  <a:lnTo>
                    <a:pt x="756" y="275"/>
                  </a:lnTo>
                  <a:lnTo>
                    <a:pt x="735" y="268"/>
                  </a:lnTo>
                  <a:lnTo>
                    <a:pt x="715" y="262"/>
                  </a:lnTo>
                  <a:lnTo>
                    <a:pt x="694" y="257"/>
                  </a:lnTo>
                  <a:lnTo>
                    <a:pt x="673" y="253"/>
                  </a:lnTo>
                  <a:lnTo>
                    <a:pt x="651" y="252"/>
                  </a:lnTo>
                  <a:lnTo>
                    <a:pt x="628" y="251"/>
                  </a:lnTo>
                  <a:lnTo>
                    <a:pt x="628" y="251"/>
                  </a:lnTo>
                  <a:lnTo>
                    <a:pt x="607" y="252"/>
                  </a:lnTo>
                  <a:lnTo>
                    <a:pt x="585" y="253"/>
                  </a:lnTo>
                  <a:lnTo>
                    <a:pt x="565" y="257"/>
                  </a:lnTo>
                  <a:lnTo>
                    <a:pt x="544" y="262"/>
                  </a:lnTo>
                  <a:lnTo>
                    <a:pt x="524" y="266"/>
                  </a:lnTo>
                  <a:lnTo>
                    <a:pt x="504" y="274"/>
                  </a:lnTo>
                  <a:lnTo>
                    <a:pt x="484" y="281"/>
                  </a:lnTo>
                  <a:lnTo>
                    <a:pt x="466" y="290"/>
                  </a:lnTo>
                  <a:lnTo>
                    <a:pt x="447" y="300"/>
                  </a:lnTo>
                  <a:lnTo>
                    <a:pt x="429" y="312"/>
                  </a:lnTo>
                  <a:lnTo>
                    <a:pt x="411" y="324"/>
                  </a:lnTo>
                  <a:lnTo>
                    <a:pt x="395" y="337"/>
                  </a:lnTo>
                  <a:lnTo>
                    <a:pt x="378" y="350"/>
                  </a:lnTo>
                  <a:lnTo>
                    <a:pt x="362" y="366"/>
                  </a:lnTo>
                  <a:lnTo>
                    <a:pt x="347" y="382"/>
                  </a:lnTo>
                  <a:lnTo>
                    <a:pt x="333" y="398"/>
                  </a:lnTo>
                  <a:lnTo>
                    <a:pt x="319" y="415"/>
                  </a:lnTo>
                  <a:lnTo>
                    <a:pt x="306" y="433"/>
                  </a:lnTo>
                  <a:lnTo>
                    <a:pt x="293" y="452"/>
                  </a:lnTo>
                  <a:lnTo>
                    <a:pt x="282" y="473"/>
                  </a:lnTo>
                  <a:lnTo>
                    <a:pt x="271" y="492"/>
                  </a:lnTo>
                  <a:lnTo>
                    <a:pt x="261" y="514"/>
                  </a:lnTo>
                  <a:lnTo>
                    <a:pt x="251" y="535"/>
                  </a:lnTo>
                  <a:lnTo>
                    <a:pt x="243" y="558"/>
                  </a:lnTo>
                  <a:lnTo>
                    <a:pt x="235" y="580"/>
                  </a:lnTo>
                  <a:lnTo>
                    <a:pt x="229" y="604"/>
                  </a:lnTo>
                  <a:lnTo>
                    <a:pt x="223" y="628"/>
                  </a:lnTo>
                  <a:lnTo>
                    <a:pt x="219" y="652"/>
                  </a:lnTo>
                  <a:lnTo>
                    <a:pt x="214" y="677"/>
                  </a:lnTo>
                  <a:lnTo>
                    <a:pt x="211" y="701"/>
                  </a:lnTo>
                  <a:lnTo>
                    <a:pt x="210" y="727"/>
                  </a:lnTo>
                  <a:lnTo>
                    <a:pt x="209" y="752"/>
                  </a:lnTo>
                  <a:lnTo>
                    <a:pt x="209" y="752"/>
                  </a:lnTo>
                  <a:lnTo>
                    <a:pt x="210" y="779"/>
                  </a:lnTo>
                  <a:lnTo>
                    <a:pt x="211" y="804"/>
                  </a:lnTo>
                  <a:lnTo>
                    <a:pt x="214" y="829"/>
                  </a:lnTo>
                  <a:lnTo>
                    <a:pt x="219" y="853"/>
                  </a:lnTo>
                  <a:lnTo>
                    <a:pt x="223" y="877"/>
                  </a:lnTo>
                  <a:lnTo>
                    <a:pt x="229" y="901"/>
                  </a:lnTo>
                  <a:lnTo>
                    <a:pt x="235" y="925"/>
                  </a:lnTo>
                  <a:lnTo>
                    <a:pt x="243" y="948"/>
                  </a:lnTo>
                  <a:lnTo>
                    <a:pt x="251" y="970"/>
                  </a:lnTo>
                  <a:lnTo>
                    <a:pt x="261" y="991"/>
                  </a:lnTo>
                  <a:lnTo>
                    <a:pt x="271" y="1013"/>
                  </a:lnTo>
                  <a:lnTo>
                    <a:pt x="282" y="1033"/>
                  </a:lnTo>
                  <a:lnTo>
                    <a:pt x="293" y="1052"/>
                  </a:lnTo>
                  <a:lnTo>
                    <a:pt x="306" y="1072"/>
                  </a:lnTo>
                  <a:lnTo>
                    <a:pt x="319" y="1090"/>
                  </a:lnTo>
                  <a:lnTo>
                    <a:pt x="333" y="1108"/>
                  </a:lnTo>
                  <a:lnTo>
                    <a:pt x="347" y="1123"/>
                  </a:lnTo>
                  <a:lnTo>
                    <a:pt x="362" y="1140"/>
                  </a:lnTo>
                  <a:lnTo>
                    <a:pt x="378" y="1154"/>
                  </a:lnTo>
                  <a:lnTo>
                    <a:pt x="395" y="1169"/>
                  </a:lnTo>
                  <a:lnTo>
                    <a:pt x="411" y="1182"/>
                  </a:lnTo>
                  <a:lnTo>
                    <a:pt x="429" y="1194"/>
                  </a:lnTo>
                  <a:lnTo>
                    <a:pt x="447" y="1205"/>
                  </a:lnTo>
                  <a:lnTo>
                    <a:pt x="466" y="1214"/>
                  </a:lnTo>
                  <a:lnTo>
                    <a:pt x="484" y="1224"/>
                  </a:lnTo>
                  <a:lnTo>
                    <a:pt x="504" y="1231"/>
                  </a:lnTo>
                  <a:lnTo>
                    <a:pt x="524" y="1238"/>
                  </a:lnTo>
                  <a:lnTo>
                    <a:pt x="544" y="1244"/>
                  </a:lnTo>
                  <a:lnTo>
                    <a:pt x="565" y="1248"/>
                  </a:lnTo>
                  <a:lnTo>
                    <a:pt x="585" y="1252"/>
                  </a:lnTo>
                  <a:lnTo>
                    <a:pt x="607" y="1254"/>
                  </a:lnTo>
                  <a:lnTo>
                    <a:pt x="628" y="1254"/>
                  </a:lnTo>
                  <a:lnTo>
                    <a:pt x="628" y="1254"/>
                  </a:lnTo>
                  <a:lnTo>
                    <a:pt x="651" y="1254"/>
                  </a:lnTo>
                  <a:lnTo>
                    <a:pt x="672" y="1252"/>
                  </a:lnTo>
                  <a:lnTo>
                    <a:pt x="693" y="1248"/>
                  </a:lnTo>
                  <a:lnTo>
                    <a:pt x="713" y="1244"/>
                  </a:lnTo>
                  <a:lnTo>
                    <a:pt x="733" y="1238"/>
                  </a:lnTo>
                  <a:lnTo>
                    <a:pt x="753" y="1231"/>
                  </a:lnTo>
                  <a:lnTo>
                    <a:pt x="773" y="1224"/>
                  </a:lnTo>
                  <a:lnTo>
                    <a:pt x="792" y="1214"/>
                  </a:lnTo>
                  <a:lnTo>
                    <a:pt x="810" y="1205"/>
                  </a:lnTo>
                  <a:lnTo>
                    <a:pt x="828" y="1194"/>
                  </a:lnTo>
                  <a:lnTo>
                    <a:pt x="846" y="1182"/>
                  </a:lnTo>
                  <a:lnTo>
                    <a:pt x="863" y="1169"/>
                  </a:lnTo>
                  <a:lnTo>
                    <a:pt x="879" y="1154"/>
                  </a:lnTo>
                  <a:lnTo>
                    <a:pt x="895" y="1140"/>
                  </a:lnTo>
                  <a:lnTo>
                    <a:pt x="910" y="1123"/>
                  </a:lnTo>
                  <a:lnTo>
                    <a:pt x="925" y="1108"/>
                  </a:lnTo>
                  <a:lnTo>
                    <a:pt x="938" y="1090"/>
                  </a:lnTo>
                  <a:lnTo>
                    <a:pt x="952" y="1072"/>
                  </a:lnTo>
                  <a:lnTo>
                    <a:pt x="964" y="1052"/>
                  </a:lnTo>
                  <a:lnTo>
                    <a:pt x="976" y="1033"/>
                  </a:lnTo>
                  <a:lnTo>
                    <a:pt x="987" y="1013"/>
                  </a:lnTo>
                  <a:lnTo>
                    <a:pt x="997" y="991"/>
                  </a:lnTo>
                  <a:lnTo>
                    <a:pt x="1006" y="970"/>
                  </a:lnTo>
                  <a:lnTo>
                    <a:pt x="1014" y="948"/>
                  </a:lnTo>
                  <a:lnTo>
                    <a:pt x="1022" y="925"/>
                  </a:lnTo>
                  <a:lnTo>
                    <a:pt x="1028" y="901"/>
                  </a:lnTo>
                  <a:lnTo>
                    <a:pt x="1034" y="877"/>
                  </a:lnTo>
                  <a:lnTo>
                    <a:pt x="1039" y="853"/>
                  </a:lnTo>
                  <a:lnTo>
                    <a:pt x="1042" y="829"/>
                  </a:lnTo>
                  <a:lnTo>
                    <a:pt x="1045" y="804"/>
                  </a:lnTo>
                  <a:lnTo>
                    <a:pt x="1047" y="779"/>
                  </a:lnTo>
                  <a:lnTo>
                    <a:pt x="1047" y="752"/>
                  </a:lnTo>
                  <a:lnTo>
                    <a:pt x="1047" y="752"/>
                  </a:lnTo>
                  <a:lnTo>
                    <a:pt x="1047" y="733"/>
                  </a:lnTo>
                  <a:lnTo>
                    <a:pt x="1046" y="713"/>
                  </a:lnTo>
                  <a:lnTo>
                    <a:pt x="1044" y="694"/>
                  </a:lnTo>
                  <a:lnTo>
                    <a:pt x="1042" y="674"/>
                  </a:lnTo>
                  <a:lnTo>
                    <a:pt x="1039" y="656"/>
                  </a:lnTo>
                  <a:lnTo>
                    <a:pt x="1036" y="637"/>
                  </a:lnTo>
                  <a:lnTo>
                    <a:pt x="1032" y="619"/>
                  </a:lnTo>
                  <a:lnTo>
                    <a:pt x="1028" y="601"/>
                  </a:lnTo>
                  <a:lnTo>
                    <a:pt x="1017" y="566"/>
                  </a:lnTo>
                  <a:lnTo>
                    <a:pt x="1004" y="532"/>
                  </a:lnTo>
                  <a:lnTo>
                    <a:pt x="990" y="499"/>
                  </a:lnTo>
                  <a:lnTo>
                    <a:pt x="973" y="468"/>
                  </a:lnTo>
                  <a:lnTo>
                    <a:pt x="1085" y="366"/>
                  </a:lnTo>
                  <a:lnTo>
                    <a:pt x="1085" y="366"/>
                  </a:lnTo>
                  <a:lnTo>
                    <a:pt x="1096" y="388"/>
                  </a:lnTo>
                  <a:lnTo>
                    <a:pt x="1108" y="408"/>
                  </a:lnTo>
                  <a:lnTo>
                    <a:pt x="1118" y="431"/>
                  </a:lnTo>
                  <a:lnTo>
                    <a:pt x="1128" y="452"/>
                  </a:lnTo>
                  <a:lnTo>
                    <a:pt x="1137" y="475"/>
                  </a:lnTo>
                  <a:lnTo>
                    <a:pt x="1146" y="499"/>
                  </a:lnTo>
                  <a:lnTo>
                    <a:pt x="1153" y="522"/>
                  </a:lnTo>
                  <a:lnTo>
                    <a:pt x="1160" y="546"/>
                  </a:lnTo>
                  <a:lnTo>
                    <a:pt x="1166" y="571"/>
                  </a:lnTo>
                  <a:lnTo>
                    <a:pt x="1172" y="596"/>
                  </a:lnTo>
                  <a:lnTo>
                    <a:pt x="1177" y="622"/>
                  </a:lnTo>
                  <a:lnTo>
                    <a:pt x="1181" y="647"/>
                  </a:lnTo>
                  <a:lnTo>
                    <a:pt x="1184" y="673"/>
                  </a:lnTo>
                  <a:lnTo>
                    <a:pt x="1186" y="700"/>
                  </a:lnTo>
                  <a:lnTo>
                    <a:pt x="1187" y="726"/>
                  </a:lnTo>
                  <a:lnTo>
                    <a:pt x="1188" y="752"/>
                  </a:lnTo>
                  <a:lnTo>
                    <a:pt x="1188" y="752"/>
                  </a:lnTo>
                  <a:lnTo>
                    <a:pt x="1187" y="787"/>
                  </a:lnTo>
                  <a:lnTo>
                    <a:pt x="1185" y="821"/>
                  </a:lnTo>
                  <a:lnTo>
                    <a:pt x="1181" y="854"/>
                  </a:lnTo>
                  <a:lnTo>
                    <a:pt x="1176" y="887"/>
                  </a:lnTo>
                  <a:lnTo>
                    <a:pt x="1170" y="919"/>
                  </a:lnTo>
                  <a:lnTo>
                    <a:pt x="1162" y="952"/>
                  </a:lnTo>
                  <a:lnTo>
                    <a:pt x="1154" y="983"/>
                  </a:lnTo>
                  <a:lnTo>
                    <a:pt x="1144" y="1013"/>
                  </a:lnTo>
                  <a:lnTo>
                    <a:pt x="1132" y="1043"/>
                  </a:lnTo>
                  <a:lnTo>
                    <a:pt x="1120" y="1072"/>
                  </a:lnTo>
                  <a:lnTo>
                    <a:pt x="1107" y="1099"/>
                  </a:lnTo>
                  <a:lnTo>
                    <a:pt x="1092" y="1127"/>
                  </a:lnTo>
                  <a:lnTo>
                    <a:pt x="1076" y="1152"/>
                  </a:lnTo>
                  <a:lnTo>
                    <a:pt x="1059" y="1177"/>
                  </a:lnTo>
                  <a:lnTo>
                    <a:pt x="1042" y="1202"/>
                  </a:lnTo>
                  <a:lnTo>
                    <a:pt x="1023" y="1225"/>
                  </a:lnTo>
                  <a:lnTo>
                    <a:pt x="1004" y="1248"/>
                  </a:lnTo>
                  <a:lnTo>
                    <a:pt x="983" y="1268"/>
                  </a:lnTo>
                  <a:lnTo>
                    <a:pt x="962" y="1289"/>
                  </a:lnTo>
                  <a:lnTo>
                    <a:pt x="941" y="1307"/>
                  </a:lnTo>
                  <a:lnTo>
                    <a:pt x="918" y="1325"/>
                  </a:lnTo>
                  <a:lnTo>
                    <a:pt x="895" y="1340"/>
                  </a:lnTo>
                  <a:lnTo>
                    <a:pt x="871" y="1355"/>
                  </a:lnTo>
                  <a:lnTo>
                    <a:pt x="846" y="1369"/>
                  </a:lnTo>
                  <a:lnTo>
                    <a:pt x="821" y="1381"/>
                  </a:lnTo>
                  <a:lnTo>
                    <a:pt x="795" y="1391"/>
                  </a:lnTo>
                  <a:lnTo>
                    <a:pt x="768" y="1400"/>
                  </a:lnTo>
                  <a:lnTo>
                    <a:pt x="741" y="1408"/>
                  </a:lnTo>
                  <a:lnTo>
                    <a:pt x="714" y="1414"/>
                  </a:lnTo>
                  <a:lnTo>
                    <a:pt x="686" y="1418"/>
                  </a:lnTo>
                  <a:lnTo>
                    <a:pt x="658" y="1421"/>
                  </a:lnTo>
                  <a:lnTo>
                    <a:pt x="628" y="1422"/>
                  </a:lnTo>
                  <a:lnTo>
                    <a:pt x="628" y="1422"/>
                  </a:lnTo>
                  <a:lnTo>
                    <a:pt x="599" y="1421"/>
                  </a:lnTo>
                  <a:lnTo>
                    <a:pt x="571" y="1418"/>
                  </a:lnTo>
                  <a:lnTo>
                    <a:pt x="543" y="1414"/>
                  </a:lnTo>
                  <a:lnTo>
                    <a:pt x="516" y="1408"/>
                  </a:lnTo>
                  <a:lnTo>
                    <a:pt x="489" y="1400"/>
                  </a:lnTo>
                  <a:lnTo>
                    <a:pt x="463" y="1391"/>
                  </a:lnTo>
                  <a:lnTo>
                    <a:pt x="437" y="1381"/>
                  </a:lnTo>
                  <a:lnTo>
                    <a:pt x="411" y="1369"/>
                  </a:lnTo>
                  <a:lnTo>
                    <a:pt x="387" y="1355"/>
                  </a:lnTo>
                  <a:lnTo>
                    <a:pt x="363" y="1340"/>
                  </a:lnTo>
                  <a:lnTo>
                    <a:pt x="339" y="1325"/>
                  </a:lnTo>
                  <a:lnTo>
                    <a:pt x="317" y="1307"/>
                  </a:lnTo>
                  <a:lnTo>
                    <a:pt x="295" y="1289"/>
                  </a:lnTo>
                  <a:lnTo>
                    <a:pt x="274" y="1268"/>
                  </a:lnTo>
                  <a:lnTo>
                    <a:pt x="254" y="1248"/>
                  </a:lnTo>
                  <a:lnTo>
                    <a:pt x="234" y="1225"/>
                  </a:lnTo>
                  <a:lnTo>
                    <a:pt x="215" y="1202"/>
                  </a:lnTo>
                  <a:lnTo>
                    <a:pt x="197" y="1177"/>
                  </a:lnTo>
                  <a:lnTo>
                    <a:pt x="181" y="1152"/>
                  </a:lnTo>
                  <a:lnTo>
                    <a:pt x="165" y="1127"/>
                  </a:lnTo>
                  <a:lnTo>
                    <a:pt x="150" y="1099"/>
                  </a:lnTo>
                  <a:lnTo>
                    <a:pt x="137" y="1072"/>
                  </a:lnTo>
                  <a:lnTo>
                    <a:pt x="125" y="1043"/>
                  </a:lnTo>
                  <a:lnTo>
                    <a:pt x="114" y="1013"/>
                  </a:lnTo>
                  <a:lnTo>
                    <a:pt x="104" y="983"/>
                  </a:lnTo>
                  <a:lnTo>
                    <a:pt x="95" y="952"/>
                  </a:lnTo>
                  <a:lnTo>
                    <a:pt x="87" y="919"/>
                  </a:lnTo>
                  <a:lnTo>
                    <a:pt x="81" y="887"/>
                  </a:lnTo>
                  <a:lnTo>
                    <a:pt x="76" y="854"/>
                  </a:lnTo>
                  <a:lnTo>
                    <a:pt x="73" y="821"/>
                  </a:lnTo>
                  <a:lnTo>
                    <a:pt x="70" y="787"/>
                  </a:lnTo>
                  <a:lnTo>
                    <a:pt x="70" y="752"/>
                  </a:lnTo>
                  <a:lnTo>
                    <a:pt x="70" y="752"/>
                  </a:lnTo>
                  <a:close/>
                  <a:moveTo>
                    <a:pt x="699" y="752"/>
                  </a:moveTo>
                  <a:lnTo>
                    <a:pt x="699" y="752"/>
                  </a:lnTo>
                  <a:lnTo>
                    <a:pt x="698" y="761"/>
                  </a:lnTo>
                  <a:lnTo>
                    <a:pt x="697" y="769"/>
                  </a:lnTo>
                  <a:lnTo>
                    <a:pt x="696" y="778"/>
                  </a:lnTo>
                  <a:lnTo>
                    <a:pt x="693" y="785"/>
                  </a:lnTo>
                  <a:lnTo>
                    <a:pt x="690" y="792"/>
                  </a:lnTo>
                  <a:lnTo>
                    <a:pt x="687" y="799"/>
                  </a:lnTo>
                  <a:lnTo>
                    <a:pt x="683" y="805"/>
                  </a:lnTo>
                  <a:lnTo>
                    <a:pt x="678" y="811"/>
                  </a:lnTo>
                  <a:lnTo>
                    <a:pt x="673" y="817"/>
                  </a:lnTo>
                  <a:lnTo>
                    <a:pt x="668" y="822"/>
                  </a:lnTo>
                  <a:lnTo>
                    <a:pt x="662" y="826"/>
                  </a:lnTo>
                  <a:lnTo>
                    <a:pt x="656" y="829"/>
                  </a:lnTo>
                  <a:lnTo>
                    <a:pt x="650" y="833"/>
                  </a:lnTo>
                  <a:lnTo>
                    <a:pt x="642" y="834"/>
                  </a:lnTo>
                  <a:lnTo>
                    <a:pt x="635" y="835"/>
                  </a:lnTo>
                  <a:lnTo>
                    <a:pt x="628" y="836"/>
                  </a:lnTo>
                  <a:lnTo>
                    <a:pt x="628" y="836"/>
                  </a:lnTo>
                  <a:lnTo>
                    <a:pt x="621" y="835"/>
                  </a:lnTo>
                  <a:lnTo>
                    <a:pt x="614" y="834"/>
                  </a:lnTo>
                  <a:lnTo>
                    <a:pt x="607" y="833"/>
                  </a:lnTo>
                  <a:lnTo>
                    <a:pt x="601" y="829"/>
                  </a:lnTo>
                  <a:lnTo>
                    <a:pt x="595" y="826"/>
                  </a:lnTo>
                  <a:lnTo>
                    <a:pt x="589" y="822"/>
                  </a:lnTo>
                  <a:lnTo>
                    <a:pt x="584" y="817"/>
                  </a:lnTo>
                  <a:lnTo>
                    <a:pt x="579" y="811"/>
                  </a:lnTo>
                  <a:lnTo>
                    <a:pt x="574" y="805"/>
                  </a:lnTo>
                  <a:lnTo>
                    <a:pt x="570" y="799"/>
                  </a:lnTo>
                  <a:lnTo>
                    <a:pt x="567" y="792"/>
                  </a:lnTo>
                  <a:lnTo>
                    <a:pt x="564" y="785"/>
                  </a:lnTo>
                  <a:lnTo>
                    <a:pt x="562" y="778"/>
                  </a:lnTo>
                  <a:lnTo>
                    <a:pt x="560" y="769"/>
                  </a:lnTo>
                  <a:lnTo>
                    <a:pt x="559" y="761"/>
                  </a:lnTo>
                  <a:lnTo>
                    <a:pt x="558" y="752"/>
                  </a:lnTo>
                  <a:lnTo>
                    <a:pt x="558" y="752"/>
                  </a:lnTo>
                  <a:lnTo>
                    <a:pt x="559" y="744"/>
                  </a:lnTo>
                  <a:lnTo>
                    <a:pt x="560" y="736"/>
                  </a:lnTo>
                  <a:lnTo>
                    <a:pt x="562" y="727"/>
                  </a:lnTo>
                  <a:lnTo>
                    <a:pt x="564" y="720"/>
                  </a:lnTo>
                  <a:lnTo>
                    <a:pt x="567" y="713"/>
                  </a:lnTo>
                  <a:lnTo>
                    <a:pt x="570" y="706"/>
                  </a:lnTo>
                  <a:lnTo>
                    <a:pt x="574" y="700"/>
                  </a:lnTo>
                  <a:lnTo>
                    <a:pt x="579" y="694"/>
                  </a:lnTo>
                  <a:lnTo>
                    <a:pt x="584" y="688"/>
                  </a:lnTo>
                  <a:lnTo>
                    <a:pt x="589" y="683"/>
                  </a:lnTo>
                  <a:lnTo>
                    <a:pt x="595" y="679"/>
                  </a:lnTo>
                  <a:lnTo>
                    <a:pt x="601" y="676"/>
                  </a:lnTo>
                  <a:lnTo>
                    <a:pt x="607" y="673"/>
                  </a:lnTo>
                  <a:lnTo>
                    <a:pt x="614" y="671"/>
                  </a:lnTo>
                  <a:lnTo>
                    <a:pt x="621" y="670"/>
                  </a:lnTo>
                  <a:lnTo>
                    <a:pt x="628" y="668"/>
                  </a:lnTo>
                  <a:lnTo>
                    <a:pt x="628" y="668"/>
                  </a:lnTo>
                  <a:lnTo>
                    <a:pt x="635" y="670"/>
                  </a:lnTo>
                  <a:lnTo>
                    <a:pt x="642" y="671"/>
                  </a:lnTo>
                  <a:lnTo>
                    <a:pt x="650" y="673"/>
                  </a:lnTo>
                  <a:lnTo>
                    <a:pt x="656" y="676"/>
                  </a:lnTo>
                  <a:lnTo>
                    <a:pt x="662" y="679"/>
                  </a:lnTo>
                  <a:lnTo>
                    <a:pt x="668" y="683"/>
                  </a:lnTo>
                  <a:lnTo>
                    <a:pt x="673" y="688"/>
                  </a:lnTo>
                  <a:lnTo>
                    <a:pt x="678" y="694"/>
                  </a:lnTo>
                  <a:lnTo>
                    <a:pt x="683" y="700"/>
                  </a:lnTo>
                  <a:lnTo>
                    <a:pt x="687" y="706"/>
                  </a:lnTo>
                  <a:lnTo>
                    <a:pt x="690" y="713"/>
                  </a:lnTo>
                  <a:lnTo>
                    <a:pt x="693" y="720"/>
                  </a:lnTo>
                  <a:lnTo>
                    <a:pt x="696" y="727"/>
                  </a:lnTo>
                  <a:lnTo>
                    <a:pt x="697" y="736"/>
                  </a:lnTo>
                  <a:lnTo>
                    <a:pt x="698" y="744"/>
                  </a:lnTo>
                  <a:lnTo>
                    <a:pt x="699" y="752"/>
                  </a:lnTo>
                  <a:lnTo>
                    <a:pt x="699" y="752"/>
                  </a:lnTo>
                  <a:close/>
                  <a:moveTo>
                    <a:pt x="704" y="612"/>
                  </a:moveTo>
                  <a:lnTo>
                    <a:pt x="704" y="612"/>
                  </a:lnTo>
                  <a:lnTo>
                    <a:pt x="695" y="606"/>
                  </a:lnTo>
                  <a:lnTo>
                    <a:pt x="687" y="601"/>
                  </a:lnTo>
                  <a:lnTo>
                    <a:pt x="678" y="596"/>
                  </a:lnTo>
                  <a:lnTo>
                    <a:pt x="669" y="593"/>
                  </a:lnTo>
                  <a:lnTo>
                    <a:pt x="659" y="589"/>
                  </a:lnTo>
                  <a:lnTo>
                    <a:pt x="648" y="587"/>
                  </a:lnTo>
                  <a:lnTo>
                    <a:pt x="638" y="586"/>
                  </a:lnTo>
                  <a:lnTo>
                    <a:pt x="628" y="586"/>
                  </a:lnTo>
                  <a:lnTo>
                    <a:pt x="628" y="586"/>
                  </a:lnTo>
                  <a:lnTo>
                    <a:pt x="614" y="586"/>
                  </a:lnTo>
                  <a:lnTo>
                    <a:pt x="600" y="589"/>
                  </a:lnTo>
                  <a:lnTo>
                    <a:pt x="587" y="593"/>
                  </a:lnTo>
                  <a:lnTo>
                    <a:pt x="574" y="599"/>
                  </a:lnTo>
                  <a:lnTo>
                    <a:pt x="562" y="606"/>
                  </a:lnTo>
                  <a:lnTo>
                    <a:pt x="550" y="614"/>
                  </a:lnTo>
                  <a:lnTo>
                    <a:pt x="539" y="624"/>
                  </a:lnTo>
                  <a:lnTo>
                    <a:pt x="530" y="635"/>
                  </a:lnTo>
                  <a:lnTo>
                    <a:pt x="521" y="646"/>
                  </a:lnTo>
                  <a:lnTo>
                    <a:pt x="513" y="659"/>
                  </a:lnTo>
                  <a:lnTo>
                    <a:pt x="506" y="673"/>
                  </a:lnTo>
                  <a:lnTo>
                    <a:pt x="500" y="688"/>
                  </a:lnTo>
                  <a:lnTo>
                    <a:pt x="495" y="703"/>
                  </a:lnTo>
                  <a:lnTo>
                    <a:pt x="492" y="719"/>
                  </a:lnTo>
                  <a:lnTo>
                    <a:pt x="489" y="736"/>
                  </a:lnTo>
                  <a:lnTo>
                    <a:pt x="489" y="752"/>
                  </a:lnTo>
                  <a:lnTo>
                    <a:pt x="489" y="752"/>
                  </a:lnTo>
                  <a:lnTo>
                    <a:pt x="489" y="769"/>
                  </a:lnTo>
                  <a:lnTo>
                    <a:pt x="492" y="786"/>
                  </a:lnTo>
                  <a:lnTo>
                    <a:pt x="495" y="802"/>
                  </a:lnTo>
                  <a:lnTo>
                    <a:pt x="500" y="817"/>
                  </a:lnTo>
                  <a:lnTo>
                    <a:pt x="506" y="832"/>
                  </a:lnTo>
                  <a:lnTo>
                    <a:pt x="513" y="846"/>
                  </a:lnTo>
                  <a:lnTo>
                    <a:pt x="521" y="859"/>
                  </a:lnTo>
                  <a:lnTo>
                    <a:pt x="530" y="871"/>
                  </a:lnTo>
                  <a:lnTo>
                    <a:pt x="539" y="882"/>
                  </a:lnTo>
                  <a:lnTo>
                    <a:pt x="550" y="892"/>
                  </a:lnTo>
                  <a:lnTo>
                    <a:pt x="562" y="900"/>
                  </a:lnTo>
                  <a:lnTo>
                    <a:pt x="574" y="906"/>
                  </a:lnTo>
                  <a:lnTo>
                    <a:pt x="587" y="912"/>
                  </a:lnTo>
                  <a:lnTo>
                    <a:pt x="600" y="917"/>
                  </a:lnTo>
                  <a:lnTo>
                    <a:pt x="614" y="919"/>
                  </a:lnTo>
                  <a:lnTo>
                    <a:pt x="628" y="919"/>
                  </a:lnTo>
                  <a:lnTo>
                    <a:pt x="628" y="919"/>
                  </a:lnTo>
                  <a:lnTo>
                    <a:pt x="642" y="919"/>
                  </a:lnTo>
                  <a:lnTo>
                    <a:pt x="657" y="917"/>
                  </a:lnTo>
                  <a:lnTo>
                    <a:pt x="670" y="912"/>
                  </a:lnTo>
                  <a:lnTo>
                    <a:pt x="683" y="906"/>
                  </a:lnTo>
                  <a:lnTo>
                    <a:pt x="695" y="900"/>
                  </a:lnTo>
                  <a:lnTo>
                    <a:pt x="707" y="892"/>
                  </a:lnTo>
                  <a:lnTo>
                    <a:pt x="718" y="882"/>
                  </a:lnTo>
                  <a:lnTo>
                    <a:pt x="728" y="871"/>
                  </a:lnTo>
                  <a:lnTo>
                    <a:pt x="737" y="859"/>
                  </a:lnTo>
                  <a:lnTo>
                    <a:pt x="745" y="846"/>
                  </a:lnTo>
                  <a:lnTo>
                    <a:pt x="752" y="832"/>
                  </a:lnTo>
                  <a:lnTo>
                    <a:pt x="757" y="817"/>
                  </a:lnTo>
                  <a:lnTo>
                    <a:pt x="762" y="802"/>
                  </a:lnTo>
                  <a:lnTo>
                    <a:pt x="766" y="786"/>
                  </a:lnTo>
                  <a:lnTo>
                    <a:pt x="768" y="769"/>
                  </a:lnTo>
                  <a:lnTo>
                    <a:pt x="768" y="752"/>
                  </a:lnTo>
                  <a:lnTo>
                    <a:pt x="768" y="752"/>
                  </a:lnTo>
                  <a:lnTo>
                    <a:pt x="768" y="742"/>
                  </a:lnTo>
                  <a:lnTo>
                    <a:pt x="767" y="731"/>
                  </a:lnTo>
                  <a:lnTo>
                    <a:pt x="764" y="712"/>
                  </a:lnTo>
                  <a:lnTo>
                    <a:pt x="758" y="691"/>
                  </a:lnTo>
                  <a:lnTo>
                    <a:pt x="751" y="673"/>
                  </a:lnTo>
                  <a:lnTo>
                    <a:pt x="918" y="520"/>
                  </a:lnTo>
                  <a:lnTo>
                    <a:pt x="918" y="520"/>
                  </a:lnTo>
                  <a:lnTo>
                    <a:pt x="931" y="545"/>
                  </a:lnTo>
                  <a:lnTo>
                    <a:pt x="943" y="571"/>
                  </a:lnTo>
                  <a:lnTo>
                    <a:pt x="953" y="600"/>
                  </a:lnTo>
                  <a:lnTo>
                    <a:pt x="962" y="629"/>
                  </a:lnTo>
                  <a:lnTo>
                    <a:pt x="969" y="659"/>
                  </a:lnTo>
                  <a:lnTo>
                    <a:pt x="973" y="689"/>
                  </a:lnTo>
                  <a:lnTo>
                    <a:pt x="976" y="720"/>
                  </a:lnTo>
                  <a:lnTo>
                    <a:pt x="977" y="752"/>
                  </a:lnTo>
                  <a:lnTo>
                    <a:pt x="977" y="752"/>
                  </a:lnTo>
                  <a:lnTo>
                    <a:pt x="977" y="774"/>
                  </a:lnTo>
                  <a:lnTo>
                    <a:pt x="976" y="796"/>
                  </a:lnTo>
                  <a:lnTo>
                    <a:pt x="973" y="816"/>
                  </a:lnTo>
                  <a:lnTo>
                    <a:pt x="970" y="836"/>
                  </a:lnTo>
                  <a:lnTo>
                    <a:pt x="966" y="857"/>
                  </a:lnTo>
                  <a:lnTo>
                    <a:pt x="962" y="877"/>
                  </a:lnTo>
                  <a:lnTo>
                    <a:pt x="956" y="896"/>
                  </a:lnTo>
                  <a:lnTo>
                    <a:pt x="950" y="916"/>
                  </a:lnTo>
                  <a:lnTo>
                    <a:pt x="943" y="934"/>
                  </a:lnTo>
                  <a:lnTo>
                    <a:pt x="935" y="952"/>
                  </a:lnTo>
                  <a:lnTo>
                    <a:pt x="927" y="970"/>
                  </a:lnTo>
                  <a:lnTo>
                    <a:pt x="918" y="986"/>
                  </a:lnTo>
                  <a:lnTo>
                    <a:pt x="908" y="1002"/>
                  </a:lnTo>
                  <a:lnTo>
                    <a:pt x="898" y="1019"/>
                  </a:lnTo>
                  <a:lnTo>
                    <a:pt x="887" y="1033"/>
                  </a:lnTo>
                  <a:lnTo>
                    <a:pt x="875" y="1048"/>
                  </a:lnTo>
                  <a:lnTo>
                    <a:pt x="863" y="1062"/>
                  </a:lnTo>
                  <a:lnTo>
                    <a:pt x="851" y="1075"/>
                  </a:lnTo>
                  <a:lnTo>
                    <a:pt x="837" y="1087"/>
                  </a:lnTo>
                  <a:lnTo>
                    <a:pt x="824" y="1099"/>
                  </a:lnTo>
                  <a:lnTo>
                    <a:pt x="810" y="1110"/>
                  </a:lnTo>
                  <a:lnTo>
                    <a:pt x="795" y="1120"/>
                  </a:lnTo>
                  <a:lnTo>
                    <a:pt x="780" y="1129"/>
                  </a:lnTo>
                  <a:lnTo>
                    <a:pt x="765" y="1138"/>
                  </a:lnTo>
                  <a:lnTo>
                    <a:pt x="749" y="1145"/>
                  </a:lnTo>
                  <a:lnTo>
                    <a:pt x="733" y="1152"/>
                  </a:lnTo>
                  <a:lnTo>
                    <a:pt x="716" y="1157"/>
                  </a:lnTo>
                  <a:lnTo>
                    <a:pt x="699" y="1162"/>
                  </a:lnTo>
                  <a:lnTo>
                    <a:pt x="682" y="1165"/>
                  </a:lnTo>
                  <a:lnTo>
                    <a:pt x="665" y="1169"/>
                  </a:lnTo>
                  <a:lnTo>
                    <a:pt x="646" y="1170"/>
                  </a:lnTo>
                  <a:lnTo>
                    <a:pt x="628" y="1170"/>
                  </a:lnTo>
                  <a:lnTo>
                    <a:pt x="628" y="1170"/>
                  </a:lnTo>
                  <a:lnTo>
                    <a:pt x="610" y="1170"/>
                  </a:lnTo>
                  <a:lnTo>
                    <a:pt x="593" y="1169"/>
                  </a:lnTo>
                  <a:lnTo>
                    <a:pt x="575" y="1165"/>
                  </a:lnTo>
                  <a:lnTo>
                    <a:pt x="558" y="1162"/>
                  </a:lnTo>
                  <a:lnTo>
                    <a:pt x="541" y="1157"/>
                  </a:lnTo>
                  <a:lnTo>
                    <a:pt x="525" y="1152"/>
                  </a:lnTo>
                  <a:lnTo>
                    <a:pt x="508" y="1145"/>
                  </a:lnTo>
                  <a:lnTo>
                    <a:pt x="493" y="1138"/>
                  </a:lnTo>
                  <a:lnTo>
                    <a:pt x="477" y="1129"/>
                  </a:lnTo>
                  <a:lnTo>
                    <a:pt x="462" y="1120"/>
                  </a:lnTo>
                  <a:lnTo>
                    <a:pt x="448" y="1110"/>
                  </a:lnTo>
                  <a:lnTo>
                    <a:pt x="433" y="1099"/>
                  </a:lnTo>
                  <a:lnTo>
                    <a:pt x="420" y="1087"/>
                  </a:lnTo>
                  <a:lnTo>
                    <a:pt x="407" y="1075"/>
                  </a:lnTo>
                  <a:lnTo>
                    <a:pt x="394" y="1062"/>
                  </a:lnTo>
                  <a:lnTo>
                    <a:pt x="382" y="1048"/>
                  </a:lnTo>
                  <a:lnTo>
                    <a:pt x="370" y="1033"/>
                  </a:lnTo>
                  <a:lnTo>
                    <a:pt x="359" y="1019"/>
                  </a:lnTo>
                  <a:lnTo>
                    <a:pt x="349" y="1002"/>
                  </a:lnTo>
                  <a:lnTo>
                    <a:pt x="339" y="986"/>
                  </a:lnTo>
                  <a:lnTo>
                    <a:pt x="330" y="970"/>
                  </a:lnTo>
                  <a:lnTo>
                    <a:pt x="322" y="952"/>
                  </a:lnTo>
                  <a:lnTo>
                    <a:pt x="314" y="934"/>
                  </a:lnTo>
                  <a:lnTo>
                    <a:pt x="307" y="916"/>
                  </a:lnTo>
                  <a:lnTo>
                    <a:pt x="301" y="896"/>
                  </a:lnTo>
                  <a:lnTo>
                    <a:pt x="295" y="877"/>
                  </a:lnTo>
                  <a:lnTo>
                    <a:pt x="291" y="857"/>
                  </a:lnTo>
                  <a:lnTo>
                    <a:pt x="287" y="836"/>
                  </a:lnTo>
                  <a:lnTo>
                    <a:pt x="284" y="816"/>
                  </a:lnTo>
                  <a:lnTo>
                    <a:pt x="282" y="796"/>
                  </a:lnTo>
                  <a:lnTo>
                    <a:pt x="280" y="774"/>
                  </a:lnTo>
                  <a:lnTo>
                    <a:pt x="280" y="752"/>
                  </a:lnTo>
                  <a:lnTo>
                    <a:pt x="280" y="752"/>
                  </a:lnTo>
                  <a:lnTo>
                    <a:pt x="280" y="731"/>
                  </a:lnTo>
                  <a:lnTo>
                    <a:pt x="282" y="710"/>
                  </a:lnTo>
                  <a:lnTo>
                    <a:pt x="284" y="689"/>
                  </a:lnTo>
                  <a:lnTo>
                    <a:pt x="287" y="668"/>
                  </a:lnTo>
                  <a:lnTo>
                    <a:pt x="291" y="648"/>
                  </a:lnTo>
                  <a:lnTo>
                    <a:pt x="295" y="629"/>
                  </a:lnTo>
                  <a:lnTo>
                    <a:pt x="301" y="608"/>
                  </a:lnTo>
                  <a:lnTo>
                    <a:pt x="307" y="590"/>
                  </a:lnTo>
                  <a:lnTo>
                    <a:pt x="314" y="571"/>
                  </a:lnTo>
                  <a:lnTo>
                    <a:pt x="322" y="553"/>
                  </a:lnTo>
                  <a:lnTo>
                    <a:pt x="330" y="536"/>
                  </a:lnTo>
                  <a:lnTo>
                    <a:pt x="339" y="518"/>
                  </a:lnTo>
                  <a:lnTo>
                    <a:pt x="349" y="503"/>
                  </a:lnTo>
                  <a:lnTo>
                    <a:pt x="359" y="487"/>
                  </a:lnTo>
                  <a:lnTo>
                    <a:pt x="370" y="472"/>
                  </a:lnTo>
                  <a:lnTo>
                    <a:pt x="382" y="457"/>
                  </a:lnTo>
                  <a:lnTo>
                    <a:pt x="394" y="443"/>
                  </a:lnTo>
                  <a:lnTo>
                    <a:pt x="407" y="430"/>
                  </a:lnTo>
                  <a:lnTo>
                    <a:pt x="420" y="418"/>
                  </a:lnTo>
                  <a:lnTo>
                    <a:pt x="433" y="406"/>
                  </a:lnTo>
                  <a:lnTo>
                    <a:pt x="448" y="395"/>
                  </a:lnTo>
                  <a:lnTo>
                    <a:pt x="462" y="385"/>
                  </a:lnTo>
                  <a:lnTo>
                    <a:pt x="477" y="376"/>
                  </a:lnTo>
                  <a:lnTo>
                    <a:pt x="493" y="367"/>
                  </a:lnTo>
                  <a:lnTo>
                    <a:pt x="508" y="360"/>
                  </a:lnTo>
                  <a:lnTo>
                    <a:pt x="525" y="353"/>
                  </a:lnTo>
                  <a:lnTo>
                    <a:pt x="541" y="348"/>
                  </a:lnTo>
                  <a:lnTo>
                    <a:pt x="558" y="343"/>
                  </a:lnTo>
                  <a:lnTo>
                    <a:pt x="575" y="340"/>
                  </a:lnTo>
                  <a:lnTo>
                    <a:pt x="593" y="337"/>
                  </a:lnTo>
                  <a:lnTo>
                    <a:pt x="610" y="335"/>
                  </a:lnTo>
                  <a:lnTo>
                    <a:pt x="628" y="335"/>
                  </a:lnTo>
                  <a:lnTo>
                    <a:pt x="628" y="335"/>
                  </a:lnTo>
                  <a:lnTo>
                    <a:pt x="646" y="335"/>
                  </a:lnTo>
                  <a:lnTo>
                    <a:pt x="664" y="336"/>
                  </a:lnTo>
                  <a:lnTo>
                    <a:pt x="682" y="340"/>
                  </a:lnTo>
                  <a:lnTo>
                    <a:pt x="699" y="343"/>
                  </a:lnTo>
                  <a:lnTo>
                    <a:pt x="715" y="348"/>
                  </a:lnTo>
                  <a:lnTo>
                    <a:pt x="732" y="353"/>
                  </a:lnTo>
                  <a:lnTo>
                    <a:pt x="748" y="360"/>
                  </a:lnTo>
                  <a:lnTo>
                    <a:pt x="763" y="367"/>
                  </a:lnTo>
                  <a:lnTo>
                    <a:pt x="779" y="376"/>
                  </a:lnTo>
                  <a:lnTo>
                    <a:pt x="794" y="384"/>
                  </a:lnTo>
                  <a:lnTo>
                    <a:pt x="808" y="394"/>
                  </a:lnTo>
                  <a:lnTo>
                    <a:pt x="822" y="404"/>
                  </a:lnTo>
                  <a:lnTo>
                    <a:pt x="836" y="416"/>
                  </a:lnTo>
                  <a:lnTo>
                    <a:pt x="849" y="428"/>
                  </a:lnTo>
                  <a:lnTo>
                    <a:pt x="861" y="442"/>
                  </a:lnTo>
                  <a:lnTo>
                    <a:pt x="873" y="455"/>
                  </a:lnTo>
                  <a:lnTo>
                    <a:pt x="704" y="612"/>
                  </a:lnTo>
                  <a:close/>
                  <a:moveTo>
                    <a:pt x="768" y="2341"/>
                  </a:moveTo>
                  <a:lnTo>
                    <a:pt x="768" y="2341"/>
                  </a:lnTo>
                  <a:lnTo>
                    <a:pt x="768" y="2358"/>
                  </a:lnTo>
                  <a:lnTo>
                    <a:pt x="766" y="2375"/>
                  </a:lnTo>
                  <a:lnTo>
                    <a:pt x="762" y="2390"/>
                  </a:lnTo>
                  <a:lnTo>
                    <a:pt x="757" y="2406"/>
                  </a:lnTo>
                  <a:lnTo>
                    <a:pt x="752" y="2420"/>
                  </a:lnTo>
                  <a:lnTo>
                    <a:pt x="745" y="2435"/>
                  </a:lnTo>
                  <a:lnTo>
                    <a:pt x="737" y="2448"/>
                  </a:lnTo>
                  <a:lnTo>
                    <a:pt x="728" y="2459"/>
                  </a:lnTo>
                  <a:lnTo>
                    <a:pt x="718" y="2470"/>
                  </a:lnTo>
                  <a:lnTo>
                    <a:pt x="707" y="2479"/>
                  </a:lnTo>
                  <a:lnTo>
                    <a:pt x="695" y="2488"/>
                  </a:lnTo>
                  <a:lnTo>
                    <a:pt x="683" y="2495"/>
                  </a:lnTo>
                  <a:lnTo>
                    <a:pt x="670" y="2501"/>
                  </a:lnTo>
                  <a:lnTo>
                    <a:pt x="657" y="2504"/>
                  </a:lnTo>
                  <a:lnTo>
                    <a:pt x="642" y="2508"/>
                  </a:lnTo>
                  <a:lnTo>
                    <a:pt x="628" y="2508"/>
                  </a:lnTo>
                  <a:lnTo>
                    <a:pt x="628" y="2508"/>
                  </a:lnTo>
                  <a:lnTo>
                    <a:pt x="614" y="2508"/>
                  </a:lnTo>
                  <a:lnTo>
                    <a:pt x="600" y="2504"/>
                  </a:lnTo>
                  <a:lnTo>
                    <a:pt x="587" y="2501"/>
                  </a:lnTo>
                  <a:lnTo>
                    <a:pt x="574" y="2495"/>
                  </a:lnTo>
                  <a:lnTo>
                    <a:pt x="562" y="2488"/>
                  </a:lnTo>
                  <a:lnTo>
                    <a:pt x="550" y="2479"/>
                  </a:lnTo>
                  <a:lnTo>
                    <a:pt x="539" y="2470"/>
                  </a:lnTo>
                  <a:lnTo>
                    <a:pt x="530" y="2459"/>
                  </a:lnTo>
                  <a:lnTo>
                    <a:pt x="521" y="2448"/>
                  </a:lnTo>
                  <a:lnTo>
                    <a:pt x="513" y="2435"/>
                  </a:lnTo>
                  <a:lnTo>
                    <a:pt x="506" y="2420"/>
                  </a:lnTo>
                  <a:lnTo>
                    <a:pt x="500" y="2406"/>
                  </a:lnTo>
                  <a:lnTo>
                    <a:pt x="495" y="2390"/>
                  </a:lnTo>
                  <a:lnTo>
                    <a:pt x="492" y="2375"/>
                  </a:lnTo>
                  <a:lnTo>
                    <a:pt x="489" y="2358"/>
                  </a:lnTo>
                  <a:lnTo>
                    <a:pt x="489" y="2341"/>
                  </a:lnTo>
                  <a:lnTo>
                    <a:pt x="489" y="1840"/>
                  </a:lnTo>
                  <a:lnTo>
                    <a:pt x="768" y="1840"/>
                  </a:lnTo>
                  <a:lnTo>
                    <a:pt x="768" y="2341"/>
                  </a:lnTo>
                  <a:close/>
                  <a:moveTo>
                    <a:pt x="768" y="1756"/>
                  </a:moveTo>
                  <a:lnTo>
                    <a:pt x="489" y="1756"/>
                  </a:lnTo>
                  <a:lnTo>
                    <a:pt x="489" y="1673"/>
                  </a:lnTo>
                  <a:lnTo>
                    <a:pt x="768" y="1673"/>
                  </a:lnTo>
                  <a:lnTo>
                    <a:pt x="768" y="1756"/>
                  </a:lnTo>
                  <a:close/>
                  <a:moveTo>
                    <a:pt x="768" y="1589"/>
                  </a:moveTo>
                  <a:lnTo>
                    <a:pt x="489" y="1589"/>
                  </a:lnTo>
                  <a:lnTo>
                    <a:pt x="489" y="1486"/>
                  </a:lnTo>
                  <a:lnTo>
                    <a:pt x="489" y="1486"/>
                  </a:lnTo>
                  <a:lnTo>
                    <a:pt x="523" y="1494"/>
                  </a:lnTo>
                  <a:lnTo>
                    <a:pt x="557" y="1500"/>
                  </a:lnTo>
                  <a:lnTo>
                    <a:pt x="592" y="1504"/>
                  </a:lnTo>
                  <a:lnTo>
                    <a:pt x="628" y="1505"/>
                  </a:lnTo>
                  <a:lnTo>
                    <a:pt x="628" y="1505"/>
                  </a:lnTo>
                  <a:lnTo>
                    <a:pt x="665" y="1504"/>
                  </a:lnTo>
                  <a:lnTo>
                    <a:pt x="700" y="1500"/>
                  </a:lnTo>
                  <a:lnTo>
                    <a:pt x="734" y="1494"/>
                  </a:lnTo>
                  <a:lnTo>
                    <a:pt x="768" y="1486"/>
                  </a:lnTo>
                  <a:lnTo>
                    <a:pt x="768" y="158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19" name="Freeform 1042">
              <a:extLst>
                <a:ext uri="{FF2B5EF4-FFF2-40B4-BE49-F238E27FC236}">
                  <a16:creationId xmlns:a16="http://schemas.microsoft.com/office/drawing/2014/main" id="{E5964EBC-8423-42F3-B92B-36A46AED2463}"/>
                </a:ext>
              </a:extLst>
            </p:cNvPr>
            <p:cNvSpPr>
              <a:spLocks noEditPoints="1"/>
            </p:cNvSpPr>
            <p:nvPr/>
          </p:nvSpPr>
          <p:spPr bwMode="auto">
            <a:xfrm>
              <a:off x="8890000" y="5988051"/>
              <a:ext cx="331788" cy="442913"/>
            </a:xfrm>
            <a:custGeom>
              <a:avLst/>
              <a:gdLst>
                <a:gd name="T0" fmla="*/ 0 w 1047"/>
                <a:gd name="T1" fmla="*/ 401 h 1673"/>
                <a:gd name="T2" fmla="*/ 0 w 1047"/>
                <a:gd name="T3" fmla="*/ 1673 h 1673"/>
                <a:gd name="T4" fmla="*/ 1047 w 1047"/>
                <a:gd name="T5" fmla="*/ 1673 h 1673"/>
                <a:gd name="T6" fmla="*/ 1047 w 1047"/>
                <a:gd name="T7" fmla="*/ 0 h 1673"/>
                <a:gd name="T8" fmla="*/ 334 w 1047"/>
                <a:gd name="T9" fmla="*/ 0 h 1673"/>
                <a:gd name="T10" fmla="*/ 0 w 1047"/>
                <a:gd name="T11" fmla="*/ 401 h 1673"/>
                <a:gd name="T12" fmla="*/ 313 w 1047"/>
                <a:gd name="T13" fmla="*/ 143 h 1673"/>
                <a:gd name="T14" fmla="*/ 313 w 1047"/>
                <a:gd name="T15" fmla="*/ 377 h 1673"/>
                <a:gd name="T16" fmla="*/ 119 w 1047"/>
                <a:gd name="T17" fmla="*/ 377 h 1673"/>
                <a:gd name="T18" fmla="*/ 313 w 1047"/>
                <a:gd name="T19" fmla="*/ 143 h 1673"/>
                <a:gd name="T20" fmla="*/ 977 w 1047"/>
                <a:gd name="T21" fmla="*/ 1589 h 1673"/>
                <a:gd name="T22" fmla="*/ 70 w 1047"/>
                <a:gd name="T23" fmla="*/ 1589 h 1673"/>
                <a:gd name="T24" fmla="*/ 70 w 1047"/>
                <a:gd name="T25" fmla="*/ 461 h 1673"/>
                <a:gd name="T26" fmla="*/ 383 w 1047"/>
                <a:gd name="T27" fmla="*/ 461 h 1673"/>
                <a:gd name="T28" fmla="*/ 383 w 1047"/>
                <a:gd name="T29" fmla="*/ 84 h 1673"/>
                <a:gd name="T30" fmla="*/ 977 w 1047"/>
                <a:gd name="T31" fmla="*/ 84 h 1673"/>
                <a:gd name="T32" fmla="*/ 977 w 1047"/>
                <a:gd name="T33" fmla="*/ 1589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7" h="1673">
                  <a:moveTo>
                    <a:pt x="0" y="401"/>
                  </a:moveTo>
                  <a:lnTo>
                    <a:pt x="0" y="1673"/>
                  </a:lnTo>
                  <a:lnTo>
                    <a:pt x="1047" y="1673"/>
                  </a:lnTo>
                  <a:lnTo>
                    <a:pt x="1047" y="0"/>
                  </a:lnTo>
                  <a:lnTo>
                    <a:pt x="334" y="0"/>
                  </a:lnTo>
                  <a:lnTo>
                    <a:pt x="0" y="401"/>
                  </a:lnTo>
                  <a:close/>
                  <a:moveTo>
                    <a:pt x="313" y="143"/>
                  </a:moveTo>
                  <a:lnTo>
                    <a:pt x="313" y="377"/>
                  </a:lnTo>
                  <a:lnTo>
                    <a:pt x="119" y="377"/>
                  </a:lnTo>
                  <a:lnTo>
                    <a:pt x="313" y="143"/>
                  </a:lnTo>
                  <a:close/>
                  <a:moveTo>
                    <a:pt x="977" y="1589"/>
                  </a:moveTo>
                  <a:lnTo>
                    <a:pt x="70" y="1589"/>
                  </a:lnTo>
                  <a:lnTo>
                    <a:pt x="70" y="461"/>
                  </a:lnTo>
                  <a:lnTo>
                    <a:pt x="383" y="461"/>
                  </a:lnTo>
                  <a:lnTo>
                    <a:pt x="383" y="84"/>
                  </a:lnTo>
                  <a:lnTo>
                    <a:pt x="977" y="84"/>
                  </a:lnTo>
                  <a:lnTo>
                    <a:pt x="977" y="1589"/>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0" name="Rectangle 1043">
              <a:extLst>
                <a:ext uri="{FF2B5EF4-FFF2-40B4-BE49-F238E27FC236}">
                  <a16:creationId xmlns:a16="http://schemas.microsoft.com/office/drawing/2014/main" id="{3EA557E0-D13E-458B-81E2-D9146CA09119}"/>
                </a:ext>
              </a:extLst>
            </p:cNvPr>
            <p:cNvSpPr>
              <a:spLocks noChangeArrowheads="1"/>
            </p:cNvSpPr>
            <p:nvPr/>
          </p:nvSpPr>
          <p:spPr bwMode="auto">
            <a:xfrm>
              <a:off x="9032875" y="6032501"/>
              <a:ext cx="22225" cy="22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1" name="Rectangle 1044">
              <a:extLst>
                <a:ext uri="{FF2B5EF4-FFF2-40B4-BE49-F238E27FC236}">
                  <a16:creationId xmlns:a16="http://schemas.microsoft.com/office/drawing/2014/main" id="{AEC6312F-C2D1-4017-AF4B-2830D61DD523}"/>
                </a:ext>
              </a:extLst>
            </p:cNvPr>
            <p:cNvSpPr>
              <a:spLocks noChangeArrowheads="1"/>
            </p:cNvSpPr>
            <p:nvPr/>
          </p:nvSpPr>
          <p:spPr bwMode="auto">
            <a:xfrm>
              <a:off x="9077325" y="6032501"/>
              <a:ext cx="100013" cy="22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2" name="Rectangle 1045">
              <a:extLst>
                <a:ext uri="{FF2B5EF4-FFF2-40B4-BE49-F238E27FC236}">
                  <a16:creationId xmlns:a16="http://schemas.microsoft.com/office/drawing/2014/main" id="{056F77C9-6EA6-46D5-B383-B3E8D6AF0E6F}"/>
                </a:ext>
              </a:extLst>
            </p:cNvPr>
            <p:cNvSpPr>
              <a:spLocks noChangeArrowheads="1"/>
            </p:cNvSpPr>
            <p:nvPr/>
          </p:nvSpPr>
          <p:spPr bwMode="auto">
            <a:xfrm>
              <a:off x="9032875" y="6076951"/>
              <a:ext cx="144463" cy="22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3" name="Rectangle 1046">
              <a:extLst>
                <a:ext uri="{FF2B5EF4-FFF2-40B4-BE49-F238E27FC236}">
                  <a16:creationId xmlns:a16="http://schemas.microsoft.com/office/drawing/2014/main" id="{F8D160A3-2F30-4DB9-828E-5F0B72DDDEA8}"/>
                </a:ext>
              </a:extLst>
            </p:cNvPr>
            <p:cNvSpPr>
              <a:spLocks noChangeArrowheads="1"/>
            </p:cNvSpPr>
            <p:nvPr/>
          </p:nvSpPr>
          <p:spPr bwMode="auto">
            <a:xfrm>
              <a:off x="9032875" y="6121401"/>
              <a:ext cx="144463" cy="22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4" name="Rectangle 1047">
              <a:extLst>
                <a:ext uri="{FF2B5EF4-FFF2-40B4-BE49-F238E27FC236}">
                  <a16:creationId xmlns:a16="http://schemas.microsoft.com/office/drawing/2014/main" id="{47E0C92F-F7F9-4B67-ACFB-BA55D2BD21BC}"/>
                </a:ext>
              </a:extLst>
            </p:cNvPr>
            <p:cNvSpPr>
              <a:spLocks noChangeArrowheads="1"/>
            </p:cNvSpPr>
            <p:nvPr/>
          </p:nvSpPr>
          <p:spPr bwMode="auto">
            <a:xfrm>
              <a:off x="8932863" y="6165851"/>
              <a:ext cx="244475" cy="22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5" name="Rectangle 1048">
              <a:extLst>
                <a:ext uri="{FF2B5EF4-FFF2-40B4-BE49-F238E27FC236}">
                  <a16:creationId xmlns:a16="http://schemas.microsoft.com/office/drawing/2014/main" id="{15BE39BC-5FD7-4983-AC15-82D0B0E730BF}"/>
                </a:ext>
              </a:extLst>
            </p:cNvPr>
            <p:cNvSpPr>
              <a:spLocks noChangeArrowheads="1"/>
            </p:cNvSpPr>
            <p:nvPr/>
          </p:nvSpPr>
          <p:spPr bwMode="auto">
            <a:xfrm>
              <a:off x="8932863" y="6210301"/>
              <a:ext cx="200025" cy="22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6" name="Rectangle 1049">
              <a:extLst>
                <a:ext uri="{FF2B5EF4-FFF2-40B4-BE49-F238E27FC236}">
                  <a16:creationId xmlns:a16="http://schemas.microsoft.com/office/drawing/2014/main" id="{4342D902-BEA7-4D49-8D81-3A1FC6D15BB4}"/>
                </a:ext>
              </a:extLst>
            </p:cNvPr>
            <p:cNvSpPr>
              <a:spLocks noChangeArrowheads="1"/>
            </p:cNvSpPr>
            <p:nvPr/>
          </p:nvSpPr>
          <p:spPr bwMode="auto">
            <a:xfrm>
              <a:off x="9155113" y="6210301"/>
              <a:ext cx="22225" cy="222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27" name="Group 126">
            <a:extLst>
              <a:ext uri="{FF2B5EF4-FFF2-40B4-BE49-F238E27FC236}">
                <a16:creationId xmlns:a16="http://schemas.microsoft.com/office/drawing/2014/main" id="{A226E688-890F-402B-BF1E-4F90F0C74C01}"/>
              </a:ext>
            </a:extLst>
          </p:cNvPr>
          <p:cNvGrpSpPr/>
          <p:nvPr/>
        </p:nvGrpSpPr>
        <p:grpSpPr>
          <a:xfrm>
            <a:off x="958373" y="3537960"/>
            <a:ext cx="306000" cy="306000"/>
            <a:chOff x="309563" y="3871913"/>
            <a:chExt cx="685801" cy="684212"/>
          </a:xfrm>
        </p:grpSpPr>
        <p:sp>
          <p:nvSpPr>
            <p:cNvPr id="128" name="Freeform 69">
              <a:extLst>
                <a:ext uri="{FF2B5EF4-FFF2-40B4-BE49-F238E27FC236}">
                  <a16:creationId xmlns:a16="http://schemas.microsoft.com/office/drawing/2014/main" id="{D60D9792-F4C6-43A6-AA4A-7A950EE13744}"/>
                </a:ext>
              </a:extLst>
            </p:cNvPr>
            <p:cNvSpPr>
              <a:spLocks/>
            </p:cNvSpPr>
            <p:nvPr/>
          </p:nvSpPr>
          <p:spPr bwMode="auto">
            <a:xfrm>
              <a:off x="388938" y="4084638"/>
              <a:ext cx="55563" cy="117475"/>
            </a:xfrm>
            <a:custGeom>
              <a:avLst/>
              <a:gdLst>
                <a:gd name="T0" fmla="*/ 209 w 209"/>
                <a:gd name="T1" fmla="*/ 270 h 374"/>
                <a:gd name="T2" fmla="*/ 209 w 209"/>
                <a:gd name="T3" fmla="*/ 154 h 374"/>
                <a:gd name="T4" fmla="*/ 120 w 209"/>
                <a:gd name="T5" fmla="*/ 81 h 374"/>
                <a:gd name="T6" fmla="*/ 120 w 209"/>
                <a:gd name="T7" fmla="*/ 81 h 374"/>
                <a:gd name="T8" fmla="*/ 108 w 209"/>
                <a:gd name="T9" fmla="*/ 69 h 374"/>
                <a:gd name="T10" fmla="*/ 98 w 209"/>
                <a:gd name="T11" fmla="*/ 56 h 374"/>
                <a:gd name="T12" fmla="*/ 91 w 209"/>
                <a:gd name="T13" fmla="*/ 42 h 374"/>
                <a:gd name="T14" fmla="*/ 86 w 209"/>
                <a:gd name="T15" fmla="*/ 27 h 374"/>
                <a:gd name="T16" fmla="*/ 84 w 209"/>
                <a:gd name="T17" fmla="*/ 27 h 374"/>
                <a:gd name="T18" fmla="*/ 84 w 209"/>
                <a:gd name="T19" fmla="*/ 27 h 374"/>
                <a:gd name="T20" fmla="*/ 72 w 209"/>
                <a:gd name="T21" fmla="*/ 26 h 374"/>
                <a:gd name="T22" fmla="*/ 60 w 209"/>
                <a:gd name="T23" fmla="*/ 25 h 374"/>
                <a:gd name="T24" fmla="*/ 49 w 209"/>
                <a:gd name="T25" fmla="*/ 23 h 374"/>
                <a:gd name="T26" fmla="*/ 38 w 209"/>
                <a:gd name="T27" fmla="*/ 20 h 374"/>
                <a:gd name="T28" fmla="*/ 27 w 209"/>
                <a:gd name="T29" fmla="*/ 16 h 374"/>
                <a:gd name="T30" fmla="*/ 18 w 209"/>
                <a:gd name="T31" fmla="*/ 11 h 374"/>
                <a:gd name="T32" fmla="*/ 8 w 209"/>
                <a:gd name="T33" fmla="*/ 6 h 374"/>
                <a:gd name="T34" fmla="*/ 0 w 209"/>
                <a:gd name="T35" fmla="*/ 0 h 374"/>
                <a:gd name="T36" fmla="*/ 0 w 209"/>
                <a:gd name="T37" fmla="*/ 374 h 374"/>
                <a:gd name="T38" fmla="*/ 209 w 209"/>
                <a:gd name="T39" fmla="*/ 305 h 374"/>
                <a:gd name="T40" fmla="*/ 209 w 209"/>
                <a:gd name="T41" fmla="*/ 27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9" h="374">
                  <a:moveTo>
                    <a:pt x="209" y="270"/>
                  </a:moveTo>
                  <a:lnTo>
                    <a:pt x="209" y="154"/>
                  </a:lnTo>
                  <a:lnTo>
                    <a:pt x="120" y="81"/>
                  </a:lnTo>
                  <a:lnTo>
                    <a:pt x="120" y="81"/>
                  </a:lnTo>
                  <a:lnTo>
                    <a:pt x="108" y="69"/>
                  </a:lnTo>
                  <a:lnTo>
                    <a:pt x="98" y="56"/>
                  </a:lnTo>
                  <a:lnTo>
                    <a:pt x="91" y="42"/>
                  </a:lnTo>
                  <a:lnTo>
                    <a:pt x="86" y="27"/>
                  </a:lnTo>
                  <a:lnTo>
                    <a:pt x="84" y="27"/>
                  </a:lnTo>
                  <a:lnTo>
                    <a:pt x="84" y="27"/>
                  </a:lnTo>
                  <a:lnTo>
                    <a:pt x="72" y="26"/>
                  </a:lnTo>
                  <a:lnTo>
                    <a:pt x="60" y="25"/>
                  </a:lnTo>
                  <a:lnTo>
                    <a:pt x="49" y="23"/>
                  </a:lnTo>
                  <a:lnTo>
                    <a:pt x="38" y="20"/>
                  </a:lnTo>
                  <a:lnTo>
                    <a:pt x="27" y="16"/>
                  </a:lnTo>
                  <a:lnTo>
                    <a:pt x="18" y="11"/>
                  </a:lnTo>
                  <a:lnTo>
                    <a:pt x="8" y="6"/>
                  </a:lnTo>
                  <a:lnTo>
                    <a:pt x="0" y="0"/>
                  </a:lnTo>
                  <a:lnTo>
                    <a:pt x="0" y="374"/>
                  </a:lnTo>
                  <a:lnTo>
                    <a:pt x="209" y="305"/>
                  </a:lnTo>
                  <a:lnTo>
                    <a:pt x="209" y="270"/>
                  </a:lnTo>
                  <a:close/>
                </a:path>
              </a:pathLst>
            </a:cu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29" name="Freeform 70">
              <a:extLst>
                <a:ext uri="{FF2B5EF4-FFF2-40B4-BE49-F238E27FC236}">
                  <a16:creationId xmlns:a16="http://schemas.microsoft.com/office/drawing/2014/main" id="{B4D10115-E1F1-4E4F-A5C1-8394A8ECE6B5}"/>
                </a:ext>
              </a:extLst>
            </p:cNvPr>
            <p:cNvSpPr>
              <a:spLocks/>
            </p:cNvSpPr>
            <p:nvPr/>
          </p:nvSpPr>
          <p:spPr bwMode="auto">
            <a:xfrm>
              <a:off x="554038" y="4084638"/>
              <a:ext cx="55563" cy="117475"/>
            </a:xfrm>
            <a:custGeom>
              <a:avLst/>
              <a:gdLst>
                <a:gd name="T0" fmla="*/ 126 w 209"/>
                <a:gd name="T1" fmla="*/ 27 h 374"/>
                <a:gd name="T2" fmla="*/ 124 w 209"/>
                <a:gd name="T3" fmla="*/ 27 h 374"/>
                <a:gd name="T4" fmla="*/ 124 w 209"/>
                <a:gd name="T5" fmla="*/ 27 h 374"/>
                <a:gd name="T6" fmla="*/ 119 w 209"/>
                <a:gd name="T7" fmla="*/ 42 h 374"/>
                <a:gd name="T8" fmla="*/ 110 w 209"/>
                <a:gd name="T9" fmla="*/ 56 h 374"/>
                <a:gd name="T10" fmla="*/ 101 w 209"/>
                <a:gd name="T11" fmla="*/ 69 h 374"/>
                <a:gd name="T12" fmla="*/ 89 w 209"/>
                <a:gd name="T13" fmla="*/ 81 h 374"/>
                <a:gd name="T14" fmla="*/ 0 w 209"/>
                <a:gd name="T15" fmla="*/ 154 h 374"/>
                <a:gd name="T16" fmla="*/ 0 w 209"/>
                <a:gd name="T17" fmla="*/ 270 h 374"/>
                <a:gd name="T18" fmla="*/ 0 w 209"/>
                <a:gd name="T19" fmla="*/ 305 h 374"/>
                <a:gd name="T20" fmla="*/ 209 w 209"/>
                <a:gd name="T21" fmla="*/ 374 h 374"/>
                <a:gd name="T22" fmla="*/ 209 w 209"/>
                <a:gd name="T23" fmla="*/ 0 h 374"/>
                <a:gd name="T24" fmla="*/ 209 w 209"/>
                <a:gd name="T25" fmla="*/ 0 h 374"/>
                <a:gd name="T26" fmla="*/ 200 w 209"/>
                <a:gd name="T27" fmla="*/ 6 h 374"/>
                <a:gd name="T28" fmla="*/ 191 w 209"/>
                <a:gd name="T29" fmla="*/ 11 h 374"/>
                <a:gd name="T30" fmla="*/ 181 w 209"/>
                <a:gd name="T31" fmla="*/ 16 h 374"/>
                <a:gd name="T32" fmla="*/ 170 w 209"/>
                <a:gd name="T33" fmla="*/ 19 h 374"/>
                <a:gd name="T34" fmla="*/ 160 w 209"/>
                <a:gd name="T35" fmla="*/ 23 h 374"/>
                <a:gd name="T36" fmla="*/ 149 w 209"/>
                <a:gd name="T37" fmla="*/ 25 h 374"/>
                <a:gd name="T38" fmla="*/ 137 w 209"/>
                <a:gd name="T39" fmla="*/ 26 h 374"/>
                <a:gd name="T40" fmla="*/ 126 w 209"/>
                <a:gd name="T41" fmla="*/ 27 h 374"/>
                <a:gd name="T42" fmla="*/ 126 w 209"/>
                <a:gd name="T43" fmla="*/ 2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9" h="374">
                  <a:moveTo>
                    <a:pt x="126" y="27"/>
                  </a:moveTo>
                  <a:lnTo>
                    <a:pt x="124" y="27"/>
                  </a:lnTo>
                  <a:lnTo>
                    <a:pt x="124" y="27"/>
                  </a:lnTo>
                  <a:lnTo>
                    <a:pt x="119" y="42"/>
                  </a:lnTo>
                  <a:lnTo>
                    <a:pt x="110" y="56"/>
                  </a:lnTo>
                  <a:lnTo>
                    <a:pt x="101" y="69"/>
                  </a:lnTo>
                  <a:lnTo>
                    <a:pt x="89" y="81"/>
                  </a:lnTo>
                  <a:lnTo>
                    <a:pt x="0" y="154"/>
                  </a:lnTo>
                  <a:lnTo>
                    <a:pt x="0" y="270"/>
                  </a:lnTo>
                  <a:lnTo>
                    <a:pt x="0" y="305"/>
                  </a:lnTo>
                  <a:lnTo>
                    <a:pt x="209" y="374"/>
                  </a:lnTo>
                  <a:lnTo>
                    <a:pt x="209" y="0"/>
                  </a:lnTo>
                  <a:lnTo>
                    <a:pt x="209" y="0"/>
                  </a:lnTo>
                  <a:lnTo>
                    <a:pt x="200" y="6"/>
                  </a:lnTo>
                  <a:lnTo>
                    <a:pt x="191" y="11"/>
                  </a:lnTo>
                  <a:lnTo>
                    <a:pt x="181" y="16"/>
                  </a:lnTo>
                  <a:lnTo>
                    <a:pt x="170" y="19"/>
                  </a:lnTo>
                  <a:lnTo>
                    <a:pt x="160" y="23"/>
                  </a:lnTo>
                  <a:lnTo>
                    <a:pt x="149" y="25"/>
                  </a:lnTo>
                  <a:lnTo>
                    <a:pt x="137" y="26"/>
                  </a:lnTo>
                  <a:lnTo>
                    <a:pt x="126" y="27"/>
                  </a:lnTo>
                  <a:lnTo>
                    <a:pt x="126" y="27"/>
                  </a:lnTo>
                  <a:close/>
                </a:path>
              </a:pathLst>
            </a:cu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0" name="Freeform 71">
              <a:extLst>
                <a:ext uri="{FF2B5EF4-FFF2-40B4-BE49-F238E27FC236}">
                  <a16:creationId xmlns:a16="http://schemas.microsoft.com/office/drawing/2014/main" id="{0B3DF28A-5270-4C89-865D-92148CE326AA}"/>
                </a:ext>
              </a:extLst>
            </p:cNvPr>
            <p:cNvSpPr>
              <a:spLocks/>
            </p:cNvSpPr>
            <p:nvPr/>
          </p:nvSpPr>
          <p:spPr bwMode="auto">
            <a:xfrm>
              <a:off x="388938" y="3883025"/>
              <a:ext cx="220663" cy="152400"/>
            </a:xfrm>
            <a:custGeom>
              <a:avLst/>
              <a:gdLst>
                <a:gd name="T0" fmla="*/ 350 w 834"/>
                <a:gd name="T1" fmla="*/ 451 h 480"/>
                <a:gd name="T2" fmla="*/ 367 w 834"/>
                <a:gd name="T3" fmla="*/ 451 h 480"/>
                <a:gd name="T4" fmla="*/ 402 w 834"/>
                <a:gd name="T5" fmla="*/ 447 h 480"/>
                <a:gd name="T6" fmla="*/ 435 w 834"/>
                <a:gd name="T7" fmla="*/ 440 h 480"/>
                <a:gd name="T8" fmla="*/ 468 w 834"/>
                <a:gd name="T9" fmla="*/ 430 h 480"/>
                <a:gd name="T10" fmla="*/ 498 w 834"/>
                <a:gd name="T11" fmla="*/ 417 h 480"/>
                <a:gd name="T12" fmla="*/ 525 w 834"/>
                <a:gd name="T13" fmla="*/ 400 h 480"/>
                <a:gd name="T14" fmla="*/ 551 w 834"/>
                <a:gd name="T15" fmla="*/ 381 h 480"/>
                <a:gd name="T16" fmla="*/ 573 w 834"/>
                <a:gd name="T17" fmla="*/ 359 h 480"/>
                <a:gd name="T18" fmla="*/ 625 w 834"/>
                <a:gd name="T19" fmla="*/ 398 h 480"/>
                <a:gd name="T20" fmla="*/ 636 w 834"/>
                <a:gd name="T21" fmla="*/ 410 h 480"/>
                <a:gd name="T22" fmla="*/ 661 w 834"/>
                <a:gd name="T23" fmla="*/ 430 h 480"/>
                <a:gd name="T24" fmla="*/ 692 w 834"/>
                <a:gd name="T25" fmla="*/ 443 h 480"/>
                <a:gd name="T26" fmla="*/ 726 w 834"/>
                <a:gd name="T27" fmla="*/ 450 h 480"/>
                <a:gd name="T28" fmla="*/ 744 w 834"/>
                <a:gd name="T29" fmla="*/ 451 h 480"/>
                <a:gd name="T30" fmla="*/ 769 w 834"/>
                <a:gd name="T31" fmla="*/ 453 h 480"/>
                <a:gd name="T32" fmla="*/ 792 w 834"/>
                <a:gd name="T33" fmla="*/ 459 h 480"/>
                <a:gd name="T34" fmla="*/ 815 w 834"/>
                <a:gd name="T35" fmla="*/ 468 h 480"/>
                <a:gd name="T36" fmla="*/ 834 w 834"/>
                <a:gd name="T37" fmla="*/ 480 h 480"/>
                <a:gd name="T38" fmla="*/ 834 w 834"/>
                <a:gd name="T39" fmla="*/ 243 h 480"/>
                <a:gd name="T40" fmla="*/ 831 w 834"/>
                <a:gd name="T41" fmla="*/ 222 h 480"/>
                <a:gd name="T42" fmla="*/ 824 w 834"/>
                <a:gd name="T43" fmla="*/ 202 h 480"/>
                <a:gd name="T44" fmla="*/ 812 w 834"/>
                <a:gd name="T45" fmla="*/ 185 h 480"/>
                <a:gd name="T46" fmla="*/ 798 w 834"/>
                <a:gd name="T47" fmla="*/ 169 h 480"/>
                <a:gd name="T48" fmla="*/ 779 w 834"/>
                <a:gd name="T49" fmla="*/ 157 h 480"/>
                <a:gd name="T50" fmla="*/ 757 w 834"/>
                <a:gd name="T51" fmla="*/ 147 h 480"/>
                <a:gd name="T52" fmla="*/ 734 w 834"/>
                <a:gd name="T53" fmla="*/ 141 h 480"/>
                <a:gd name="T54" fmla="*/ 709 w 834"/>
                <a:gd name="T55" fmla="*/ 139 h 480"/>
                <a:gd name="T56" fmla="*/ 698 w 834"/>
                <a:gd name="T57" fmla="*/ 123 h 480"/>
                <a:gd name="T58" fmla="*/ 674 w 834"/>
                <a:gd name="T59" fmla="*/ 94 h 480"/>
                <a:gd name="T60" fmla="*/ 647 w 834"/>
                <a:gd name="T61" fmla="*/ 69 h 480"/>
                <a:gd name="T62" fmla="*/ 614 w 834"/>
                <a:gd name="T63" fmla="*/ 47 h 480"/>
                <a:gd name="T64" fmla="*/ 579 w 834"/>
                <a:gd name="T65" fmla="*/ 29 h 480"/>
                <a:gd name="T66" fmla="*/ 542 w 834"/>
                <a:gd name="T67" fmla="*/ 15 h 480"/>
                <a:gd name="T68" fmla="*/ 501 w 834"/>
                <a:gd name="T69" fmla="*/ 5 h 480"/>
                <a:gd name="T70" fmla="*/ 461 w 834"/>
                <a:gd name="T71" fmla="*/ 0 h 480"/>
                <a:gd name="T72" fmla="*/ 439 w 834"/>
                <a:gd name="T73" fmla="*/ 0 h 480"/>
                <a:gd name="T74" fmla="*/ 416 w 834"/>
                <a:gd name="T75" fmla="*/ 0 h 480"/>
                <a:gd name="T76" fmla="*/ 372 w 834"/>
                <a:gd name="T77" fmla="*/ 4 h 480"/>
                <a:gd name="T78" fmla="*/ 330 w 834"/>
                <a:gd name="T79" fmla="*/ 11 h 480"/>
                <a:gd name="T80" fmla="*/ 288 w 834"/>
                <a:gd name="T81" fmla="*/ 22 h 480"/>
                <a:gd name="T82" fmla="*/ 248 w 834"/>
                <a:gd name="T83" fmla="*/ 36 h 480"/>
                <a:gd name="T84" fmla="*/ 211 w 834"/>
                <a:gd name="T85" fmla="*/ 53 h 480"/>
                <a:gd name="T86" fmla="*/ 176 w 834"/>
                <a:gd name="T87" fmla="*/ 72 h 480"/>
                <a:gd name="T88" fmla="*/ 144 w 834"/>
                <a:gd name="T89" fmla="*/ 95 h 480"/>
                <a:gd name="T90" fmla="*/ 114 w 834"/>
                <a:gd name="T91" fmla="*/ 120 h 480"/>
                <a:gd name="T92" fmla="*/ 87 w 834"/>
                <a:gd name="T93" fmla="*/ 147 h 480"/>
                <a:gd name="T94" fmla="*/ 63 w 834"/>
                <a:gd name="T95" fmla="*/ 176 h 480"/>
                <a:gd name="T96" fmla="*/ 43 w 834"/>
                <a:gd name="T97" fmla="*/ 207 h 480"/>
                <a:gd name="T98" fmla="*/ 26 w 834"/>
                <a:gd name="T99" fmla="*/ 240 h 480"/>
                <a:gd name="T100" fmla="*/ 14 w 834"/>
                <a:gd name="T101" fmla="*/ 274 h 480"/>
                <a:gd name="T102" fmla="*/ 5 w 834"/>
                <a:gd name="T103" fmla="*/ 310 h 480"/>
                <a:gd name="T104" fmla="*/ 1 w 834"/>
                <a:gd name="T105" fmla="*/ 347 h 480"/>
                <a:gd name="T106" fmla="*/ 0 w 834"/>
                <a:gd name="T107" fmla="*/ 480 h 480"/>
                <a:gd name="T108" fmla="*/ 9 w 834"/>
                <a:gd name="T109" fmla="*/ 474 h 480"/>
                <a:gd name="T110" fmla="*/ 30 w 834"/>
                <a:gd name="T111" fmla="*/ 463 h 480"/>
                <a:gd name="T112" fmla="*/ 54 w 834"/>
                <a:gd name="T113" fmla="*/ 456 h 480"/>
                <a:gd name="T114" fmla="*/ 78 w 834"/>
                <a:gd name="T115" fmla="*/ 452 h 480"/>
                <a:gd name="T116" fmla="*/ 91 w 834"/>
                <a:gd name="T117" fmla="*/ 451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4" h="480">
                  <a:moveTo>
                    <a:pt x="91" y="451"/>
                  </a:moveTo>
                  <a:lnTo>
                    <a:pt x="350" y="451"/>
                  </a:lnTo>
                  <a:lnTo>
                    <a:pt x="350" y="451"/>
                  </a:lnTo>
                  <a:lnTo>
                    <a:pt x="367" y="451"/>
                  </a:lnTo>
                  <a:lnTo>
                    <a:pt x="385" y="450"/>
                  </a:lnTo>
                  <a:lnTo>
                    <a:pt x="402" y="447"/>
                  </a:lnTo>
                  <a:lnTo>
                    <a:pt x="419" y="444"/>
                  </a:lnTo>
                  <a:lnTo>
                    <a:pt x="435" y="440"/>
                  </a:lnTo>
                  <a:lnTo>
                    <a:pt x="451" y="436"/>
                  </a:lnTo>
                  <a:lnTo>
                    <a:pt x="468" y="430"/>
                  </a:lnTo>
                  <a:lnTo>
                    <a:pt x="482" y="424"/>
                  </a:lnTo>
                  <a:lnTo>
                    <a:pt x="498" y="417"/>
                  </a:lnTo>
                  <a:lnTo>
                    <a:pt x="512" y="409"/>
                  </a:lnTo>
                  <a:lnTo>
                    <a:pt x="525" y="400"/>
                  </a:lnTo>
                  <a:lnTo>
                    <a:pt x="539" y="391"/>
                  </a:lnTo>
                  <a:lnTo>
                    <a:pt x="551" y="381"/>
                  </a:lnTo>
                  <a:lnTo>
                    <a:pt x="563" y="370"/>
                  </a:lnTo>
                  <a:lnTo>
                    <a:pt x="573" y="359"/>
                  </a:lnTo>
                  <a:lnTo>
                    <a:pt x="584" y="347"/>
                  </a:lnTo>
                  <a:lnTo>
                    <a:pt x="625" y="398"/>
                  </a:lnTo>
                  <a:lnTo>
                    <a:pt x="625" y="398"/>
                  </a:lnTo>
                  <a:lnTo>
                    <a:pt x="636" y="410"/>
                  </a:lnTo>
                  <a:lnTo>
                    <a:pt x="648" y="421"/>
                  </a:lnTo>
                  <a:lnTo>
                    <a:pt x="661" y="430"/>
                  </a:lnTo>
                  <a:lnTo>
                    <a:pt x="677" y="437"/>
                  </a:lnTo>
                  <a:lnTo>
                    <a:pt x="692" y="443"/>
                  </a:lnTo>
                  <a:lnTo>
                    <a:pt x="709" y="448"/>
                  </a:lnTo>
                  <a:lnTo>
                    <a:pt x="726" y="450"/>
                  </a:lnTo>
                  <a:lnTo>
                    <a:pt x="744" y="451"/>
                  </a:lnTo>
                  <a:lnTo>
                    <a:pt x="744" y="451"/>
                  </a:lnTo>
                  <a:lnTo>
                    <a:pt x="756" y="452"/>
                  </a:lnTo>
                  <a:lnTo>
                    <a:pt x="769" y="453"/>
                  </a:lnTo>
                  <a:lnTo>
                    <a:pt x="781" y="456"/>
                  </a:lnTo>
                  <a:lnTo>
                    <a:pt x="792" y="459"/>
                  </a:lnTo>
                  <a:lnTo>
                    <a:pt x="804" y="463"/>
                  </a:lnTo>
                  <a:lnTo>
                    <a:pt x="815" y="468"/>
                  </a:lnTo>
                  <a:lnTo>
                    <a:pt x="824" y="474"/>
                  </a:lnTo>
                  <a:lnTo>
                    <a:pt x="834" y="480"/>
                  </a:lnTo>
                  <a:lnTo>
                    <a:pt x="834" y="243"/>
                  </a:lnTo>
                  <a:lnTo>
                    <a:pt x="834" y="243"/>
                  </a:lnTo>
                  <a:lnTo>
                    <a:pt x="834" y="232"/>
                  </a:lnTo>
                  <a:lnTo>
                    <a:pt x="831" y="222"/>
                  </a:lnTo>
                  <a:lnTo>
                    <a:pt x="828" y="212"/>
                  </a:lnTo>
                  <a:lnTo>
                    <a:pt x="824" y="202"/>
                  </a:lnTo>
                  <a:lnTo>
                    <a:pt x="818" y="193"/>
                  </a:lnTo>
                  <a:lnTo>
                    <a:pt x="812" y="185"/>
                  </a:lnTo>
                  <a:lnTo>
                    <a:pt x="805" y="177"/>
                  </a:lnTo>
                  <a:lnTo>
                    <a:pt x="798" y="169"/>
                  </a:lnTo>
                  <a:lnTo>
                    <a:pt x="788" y="163"/>
                  </a:lnTo>
                  <a:lnTo>
                    <a:pt x="779" y="157"/>
                  </a:lnTo>
                  <a:lnTo>
                    <a:pt x="768" y="151"/>
                  </a:lnTo>
                  <a:lnTo>
                    <a:pt x="757" y="147"/>
                  </a:lnTo>
                  <a:lnTo>
                    <a:pt x="746" y="143"/>
                  </a:lnTo>
                  <a:lnTo>
                    <a:pt x="734" y="141"/>
                  </a:lnTo>
                  <a:lnTo>
                    <a:pt x="721" y="139"/>
                  </a:lnTo>
                  <a:lnTo>
                    <a:pt x="709" y="139"/>
                  </a:lnTo>
                  <a:lnTo>
                    <a:pt x="709" y="139"/>
                  </a:lnTo>
                  <a:lnTo>
                    <a:pt x="698" y="123"/>
                  </a:lnTo>
                  <a:lnTo>
                    <a:pt x="687" y="108"/>
                  </a:lnTo>
                  <a:lnTo>
                    <a:pt x="674" y="94"/>
                  </a:lnTo>
                  <a:lnTo>
                    <a:pt x="661" y="81"/>
                  </a:lnTo>
                  <a:lnTo>
                    <a:pt x="647" y="69"/>
                  </a:lnTo>
                  <a:lnTo>
                    <a:pt x="631" y="57"/>
                  </a:lnTo>
                  <a:lnTo>
                    <a:pt x="614" y="47"/>
                  </a:lnTo>
                  <a:lnTo>
                    <a:pt x="597" y="37"/>
                  </a:lnTo>
                  <a:lnTo>
                    <a:pt x="579" y="29"/>
                  </a:lnTo>
                  <a:lnTo>
                    <a:pt x="561" y="21"/>
                  </a:lnTo>
                  <a:lnTo>
                    <a:pt x="542" y="15"/>
                  </a:lnTo>
                  <a:lnTo>
                    <a:pt x="522" y="9"/>
                  </a:lnTo>
                  <a:lnTo>
                    <a:pt x="501" y="5"/>
                  </a:lnTo>
                  <a:lnTo>
                    <a:pt x="481" y="2"/>
                  </a:lnTo>
                  <a:lnTo>
                    <a:pt x="461" y="0"/>
                  </a:lnTo>
                  <a:lnTo>
                    <a:pt x="439" y="0"/>
                  </a:lnTo>
                  <a:lnTo>
                    <a:pt x="439" y="0"/>
                  </a:lnTo>
                  <a:lnTo>
                    <a:pt x="439" y="0"/>
                  </a:lnTo>
                  <a:lnTo>
                    <a:pt x="416" y="0"/>
                  </a:lnTo>
                  <a:lnTo>
                    <a:pt x="395" y="2"/>
                  </a:lnTo>
                  <a:lnTo>
                    <a:pt x="372" y="4"/>
                  </a:lnTo>
                  <a:lnTo>
                    <a:pt x="350" y="7"/>
                  </a:lnTo>
                  <a:lnTo>
                    <a:pt x="330" y="11"/>
                  </a:lnTo>
                  <a:lnTo>
                    <a:pt x="308" y="16"/>
                  </a:lnTo>
                  <a:lnTo>
                    <a:pt x="288" y="22"/>
                  </a:lnTo>
                  <a:lnTo>
                    <a:pt x="269" y="28"/>
                  </a:lnTo>
                  <a:lnTo>
                    <a:pt x="248" y="36"/>
                  </a:lnTo>
                  <a:lnTo>
                    <a:pt x="230" y="44"/>
                  </a:lnTo>
                  <a:lnTo>
                    <a:pt x="211" y="53"/>
                  </a:lnTo>
                  <a:lnTo>
                    <a:pt x="193" y="62"/>
                  </a:lnTo>
                  <a:lnTo>
                    <a:pt x="176" y="72"/>
                  </a:lnTo>
                  <a:lnTo>
                    <a:pt x="159" y="83"/>
                  </a:lnTo>
                  <a:lnTo>
                    <a:pt x="144" y="95"/>
                  </a:lnTo>
                  <a:lnTo>
                    <a:pt x="128" y="107"/>
                  </a:lnTo>
                  <a:lnTo>
                    <a:pt x="114" y="120"/>
                  </a:lnTo>
                  <a:lnTo>
                    <a:pt x="101" y="133"/>
                  </a:lnTo>
                  <a:lnTo>
                    <a:pt x="87" y="147"/>
                  </a:lnTo>
                  <a:lnTo>
                    <a:pt x="75" y="161"/>
                  </a:lnTo>
                  <a:lnTo>
                    <a:pt x="63" y="176"/>
                  </a:lnTo>
                  <a:lnTo>
                    <a:pt x="53" y="191"/>
                  </a:lnTo>
                  <a:lnTo>
                    <a:pt x="43" y="207"/>
                  </a:lnTo>
                  <a:lnTo>
                    <a:pt x="35" y="223"/>
                  </a:lnTo>
                  <a:lnTo>
                    <a:pt x="26" y="240"/>
                  </a:lnTo>
                  <a:lnTo>
                    <a:pt x="20" y="257"/>
                  </a:lnTo>
                  <a:lnTo>
                    <a:pt x="14" y="274"/>
                  </a:lnTo>
                  <a:lnTo>
                    <a:pt x="9" y="292"/>
                  </a:lnTo>
                  <a:lnTo>
                    <a:pt x="5" y="310"/>
                  </a:lnTo>
                  <a:lnTo>
                    <a:pt x="2" y="328"/>
                  </a:lnTo>
                  <a:lnTo>
                    <a:pt x="1" y="347"/>
                  </a:lnTo>
                  <a:lnTo>
                    <a:pt x="0" y="366"/>
                  </a:lnTo>
                  <a:lnTo>
                    <a:pt x="0" y="480"/>
                  </a:lnTo>
                  <a:lnTo>
                    <a:pt x="0" y="480"/>
                  </a:lnTo>
                  <a:lnTo>
                    <a:pt x="9" y="474"/>
                  </a:lnTo>
                  <a:lnTo>
                    <a:pt x="19" y="468"/>
                  </a:lnTo>
                  <a:lnTo>
                    <a:pt x="30" y="463"/>
                  </a:lnTo>
                  <a:lnTo>
                    <a:pt x="42" y="459"/>
                  </a:lnTo>
                  <a:lnTo>
                    <a:pt x="54" y="456"/>
                  </a:lnTo>
                  <a:lnTo>
                    <a:pt x="66" y="453"/>
                  </a:lnTo>
                  <a:lnTo>
                    <a:pt x="78" y="452"/>
                  </a:lnTo>
                  <a:lnTo>
                    <a:pt x="91" y="451"/>
                  </a:lnTo>
                  <a:lnTo>
                    <a:pt x="91" y="451"/>
                  </a:lnTo>
                  <a:close/>
                </a:path>
              </a:pathLst>
            </a:cu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1" name="Freeform 72">
              <a:extLst>
                <a:ext uri="{FF2B5EF4-FFF2-40B4-BE49-F238E27FC236}">
                  <a16:creationId xmlns:a16="http://schemas.microsoft.com/office/drawing/2014/main" id="{423D15F3-FD4B-4083-B230-0257A2DD07A8}"/>
                </a:ext>
              </a:extLst>
            </p:cNvPr>
            <p:cNvSpPr>
              <a:spLocks noEditPoints="1"/>
            </p:cNvSpPr>
            <p:nvPr/>
          </p:nvSpPr>
          <p:spPr bwMode="auto">
            <a:xfrm>
              <a:off x="719138" y="3883025"/>
              <a:ext cx="265113" cy="265112"/>
            </a:xfrm>
            <a:custGeom>
              <a:avLst/>
              <a:gdLst>
                <a:gd name="T0" fmla="*/ 903 w 1001"/>
                <a:gd name="T1" fmla="*/ 323 h 834"/>
                <a:gd name="T2" fmla="*/ 886 w 1001"/>
                <a:gd name="T3" fmla="*/ 284 h 834"/>
                <a:gd name="T4" fmla="*/ 921 w 1001"/>
                <a:gd name="T5" fmla="*/ 177 h 834"/>
                <a:gd name="T6" fmla="*/ 706 w 1001"/>
                <a:gd name="T7" fmla="*/ 114 h 834"/>
                <a:gd name="T8" fmla="*/ 637 w 1001"/>
                <a:gd name="T9" fmla="*/ 89 h 834"/>
                <a:gd name="T10" fmla="*/ 407 w 1001"/>
                <a:gd name="T11" fmla="*/ 0 h 834"/>
                <a:gd name="T12" fmla="*/ 365 w 1001"/>
                <a:gd name="T13" fmla="*/ 89 h 834"/>
                <a:gd name="T14" fmla="*/ 297 w 1001"/>
                <a:gd name="T15" fmla="*/ 114 h 834"/>
                <a:gd name="T16" fmla="*/ 138 w 1001"/>
                <a:gd name="T17" fmla="*/ 246 h 834"/>
                <a:gd name="T18" fmla="*/ 117 w 1001"/>
                <a:gd name="T19" fmla="*/ 284 h 834"/>
                <a:gd name="T20" fmla="*/ 0 w 1001"/>
                <a:gd name="T21" fmla="*/ 338 h 834"/>
                <a:gd name="T22" fmla="*/ 100 w 1001"/>
                <a:gd name="T23" fmla="*/ 510 h 834"/>
                <a:gd name="T24" fmla="*/ 126 w 1001"/>
                <a:gd name="T25" fmla="*/ 569 h 834"/>
                <a:gd name="T26" fmla="*/ 214 w 1001"/>
                <a:gd name="T27" fmla="*/ 767 h 834"/>
                <a:gd name="T28" fmla="*/ 318 w 1001"/>
                <a:gd name="T29" fmla="*/ 729 h 834"/>
                <a:gd name="T30" fmla="*/ 389 w 1001"/>
                <a:gd name="T31" fmla="*/ 751 h 834"/>
                <a:gd name="T32" fmla="*/ 613 w 1001"/>
                <a:gd name="T33" fmla="*/ 751 h 834"/>
                <a:gd name="T34" fmla="*/ 660 w 1001"/>
                <a:gd name="T35" fmla="*/ 737 h 834"/>
                <a:gd name="T36" fmla="*/ 789 w 1001"/>
                <a:gd name="T37" fmla="*/ 767 h 834"/>
                <a:gd name="T38" fmla="*/ 864 w 1001"/>
                <a:gd name="T39" fmla="*/ 587 h 834"/>
                <a:gd name="T40" fmla="*/ 894 w 1001"/>
                <a:gd name="T41" fmla="*/ 530 h 834"/>
                <a:gd name="T42" fmla="*/ 501 w 1001"/>
                <a:gd name="T43" fmla="*/ 625 h 834"/>
                <a:gd name="T44" fmla="*/ 450 w 1001"/>
                <a:gd name="T45" fmla="*/ 621 h 834"/>
                <a:gd name="T46" fmla="*/ 382 w 1001"/>
                <a:gd name="T47" fmla="*/ 600 h 834"/>
                <a:gd name="T48" fmla="*/ 324 w 1001"/>
                <a:gd name="T49" fmla="*/ 564 h 834"/>
                <a:gd name="T50" fmla="*/ 281 w 1001"/>
                <a:gd name="T51" fmla="*/ 516 h 834"/>
                <a:gd name="T52" fmla="*/ 256 w 1001"/>
                <a:gd name="T53" fmla="*/ 459 h 834"/>
                <a:gd name="T54" fmla="*/ 251 w 1001"/>
                <a:gd name="T55" fmla="*/ 417 h 834"/>
                <a:gd name="T56" fmla="*/ 262 w 1001"/>
                <a:gd name="T57" fmla="*/ 355 h 834"/>
                <a:gd name="T58" fmla="*/ 294 w 1001"/>
                <a:gd name="T59" fmla="*/ 300 h 834"/>
                <a:gd name="T60" fmla="*/ 342 w 1001"/>
                <a:gd name="T61" fmla="*/ 256 h 834"/>
                <a:gd name="T62" fmla="*/ 403 w 1001"/>
                <a:gd name="T63" fmla="*/ 225 h 834"/>
                <a:gd name="T64" fmla="*/ 475 w 1001"/>
                <a:gd name="T65" fmla="*/ 209 h 834"/>
                <a:gd name="T66" fmla="*/ 527 w 1001"/>
                <a:gd name="T67" fmla="*/ 209 h 834"/>
                <a:gd name="T68" fmla="*/ 598 w 1001"/>
                <a:gd name="T69" fmla="*/ 225 h 834"/>
                <a:gd name="T70" fmla="*/ 660 w 1001"/>
                <a:gd name="T71" fmla="*/ 256 h 834"/>
                <a:gd name="T72" fmla="*/ 708 w 1001"/>
                <a:gd name="T73" fmla="*/ 300 h 834"/>
                <a:gd name="T74" fmla="*/ 739 w 1001"/>
                <a:gd name="T75" fmla="*/ 355 h 834"/>
                <a:gd name="T76" fmla="*/ 751 w 1001"/>
                <a:gd name="T77" fmla="*/ 417 h 834"/>
                <a:gd name="T78" fmla="*/ 747 w 1001"/>
                <a:gd name="T79" fmla="*/ 459 h 834"/>
                <a:gd name="T80" fmla="*/ 721 w 1001"/>
                <a:gd name="T81" fmla="*/ 516 h 834"/>
                <a:gd name="T82" fmla="*/ 678 w 1001"/>
                <a:gd name="T83" fmla="*/ 564 h 834"/>
                <a:gd name="T84" fmla="*/ 621 w 1001"/>
                <a:gd name="T85" fmla="*/ 600 h 834"/>
                <a:gd name="T86" fmla="*/ 551 w 1001"/>
                <a:gd name="T87" fmla="*/ 621 h 834"/>
                <a:gd name="T88" fmla="*/ 501 w 1001"/>
                <a:gd name="T89" fmla="*/ 625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01" h="834">
                  <a:moveTo>
                    <a:pt x="1001" y="495"/>
                  </a:moveTo>
                  <a:lnTo>
                    <a:pt x="1001" y="338"/>
                  </a:lnTo>
                  <a:lnTo>
                    <a:pt x="903" y="323"/>
                  </a:lnTo>
                  <a:lnTo>
                    <a:pt x="903" y="323"/>
                  </a:lnTo>
                  <a:lnTo>
                    <a:pt x="894" y="303"/>
                  </a:lnTo>
                  <a:lnTo>
                    <a:pt x="886" y="284"/>
                  </a:lnTo>
                  <a:lnTo>
                    <a:pt x="876" y="265"/>
                  </a:lnTo>
                  <a:lnTo>
                    <a:pt x="864" y="246"/>
                  </a:lnTo>
                  <a:lnTo>
                    <a:pt x="921" y="177"/>
                  </a:lnTo>
                  <a:lnTo>
                    <a:pt x="789" y="67"/>
                  </a:lnTo>
                  <a:lnTo>
                    <a:pt x="706" y="114"/>
                  </a:lnTo>
                  <a:lnTo>
                    <a:pt x="706" y="114"/>
                  </a:lnTo>
                  <a:lnTo>
                    <a:pt x="683" y="104"/>
                  </a:lnTo>
                  <a:lnTo>
                    <a:pt x="660" y="96"/>
                  </a:lnTo>
                  <a:lnTo>
                    <a:pt x="637" y="89"/>
                  </a:lnTo>
                  <a:lnTo>
                    <a:pt x="613" y="82"/>
                  </a:lnTo>
                  <a:lnTo>
                    <a:pt x="595" y="0"/>
                  </a:lnTo>
                  <a:lnTo>
                    <a:pt x="407" y="0"/>
                  </a:lnTo>
                  <a:lnTo>
                    <a:pt x="389" y="82"/>
                  </a:lnTo>
                  <a:lnTo>
                    <a:pt x="389" y="82"/>
                  </a:lnTo>
                  <a:lnTo>
                    <a:pt x="365" y="89"/>
                  </a:lnTo>
                  <a:lnTo>
                    <a:pt x="341" y="96"/>
                  </a:lnTo>
                  <a:lnTo>
                    <a:pt x="318" y="104"/>
                  </a:lnTo>
                  <a:lnTo>
                    <a:pt x="297" y="114"/>
                  </a:lnTo>
                  <a:lnTo>
                    <a:pt x="214" y="67"/>
                  </a:lnTo>
                  <a:lnTo>
                    <a:pt x="81" y="177"/>
                  </a:lnTo>
                  <a:lnTo>
                    <a:pt x="138" y="246"/>
                  </a:lnTo>
                  <a:lnTo>
                    <a:pt x="138" y="246"/>
                  </a:lnTo>
                  <a:lnTo>
                    <a:pt x="126" y="265"/>
                  </a:lnTo>
                  <a:lnTo>
                    <a:pt x="117" y="284"/>
                  </a:lnTo>
                  <a:lnTo>
                    <a:pt x="107" y="303"/>
                  </a:lnTo>
                  <a:lnTo>
                    <a:pt x="100" y="323"/>
                  </a:lnTo>
                  <a:lnTo>
                    <a:pt x="0" y="338"/>
                  </a:lnTo>
                  <a:lnTo>
                    <a:pt x="0" y="495"/>
                  </a:lnTo>
                  <a:lnTo>
                    <a:pt x="100" y="510"/>
                  </a:lnTo>
                  <a:lnTo>
                    <a:pt x="100" y="510"/>
                  </a:lnTo>
                  <a:lnTo>
                    <a:pt x="107" y="530"/>
                  </a:lnTo>
                  <a:lnTo>
                    <a:pt x="117" y="550"/>
                  </a:lnTo>
                  <a:lnTo>
                    <a:pt x="126" y="569"/>
                  </a:lnTo>
                  <a:lnTo>
                    <a:pt x="138" y="587"/>
                  </a:lnTo>
                  <a:lnTo>
                    <a:pt x="81" y="656"/>
                  </a:lnTo>
                  <a:lnTo>
                    <a:pt x="214" y="767"/>
                  </a:lnTo>
                  <a:lnTo>
                    <a:pt x="297" y="719"/>
                  </a:lnTo>
                  <a:lnTo>
                    <a:pt x="297" y="719"/>
                  </a:lnTo>
                  <a:lnTo>
                    <a:pt x="318" y="729"/>
                  </a:lnTo>
                  <a:lnTo>
                    <a:pt x="341" y="737"/>
                  </a:lnTo>
                  <a:lnTo>
                    <a:pt x="365" y="745"/>
                  </a:lnTo>
                  <a:lnTo>
                    <a:pt x="389" y="751"/>
                  </a:lnTo>
                  <a:lnTo>
                    <a:pt x="407" y="834"/>
                  </a:lnTo>
                  <a:lnTo>
                    <a:pt x="595" y="834"/>
                  </a:lnTo>
                  <a:lnTo>
                    <a:pt x="613" y="751"/>
                  </a:lnTo>
                  <a:lnTo>
                    <a:pt x="613" y="751"/>
                  </a:lnTo>
                  <a:lnTo>
                    <a:pt x="637" y="745"/>
                  </a:lnTo>
                  <a:lnTo>
                    <a:pt x="660" y="737"/>
                  </a:lnTo>
                  <a:lnTo>
                    <a:pt x="683" y="729"/>
                  </a:lnTo>
                  <a:lnTo>
                    <a:pt x="706" y="719"/>
                  </a:lnTo>
                  <a:lnTo>
                    <a:pt x="789" y="767"/>
                  </a:lnTo>
                  <a:lnTo>
                    <a:pt x="921" y="656"/>
                  </a:lnTo>
                  <a:lnTo>
                    <a:pt x="864" y="587"/>
                  </a:lnTo>
                  <a:lnTo>
                    <a:pt x="864" y="587"/>
                  </a:lnTo>
                  <a:lnTo>
                    <a:pt x="876" y="569"/>
                  </a:lnTo>
                  <a:lnTo>
                    <a:pt x="886" y="550"/>
                  </a:lnTo>
                  <a:lnTo>
                    <a:pt x="894" y="530"/>
                  </a:lnTo>
                  <a:lnTo>
                    <a:pt x="903" y="510"/>
                  </a:lnTo>
                  <a:lnTo>
                    <a:pt x="1001" y="495"/>
                  </a:lnTo>
                  <a:close/>
                  <a:moveTo>
                    <a:pt x="501" y="625"/>
                  </a:moveTo>
                  <a:lnTo>
                    <a:pt x="501" y="625"/>
                  </a:lnTo>
                  <a:lnTo>
                    <a:pt x="475" y="624"/>
                  </a:lnTo>
                  <a:lnTo>
                    <a:pt x="450" y="621"/>
                  </a:lnTo>
                  <a:lnTo>
                    <a:pt x="426" y="616"/>
                  </a:lnTo>
                  <a:lnTo>
                    <a:pt x="403" y="609"/>
                  </a:lnTo>
                  <a:lnTo>
                    <a:pt x="382" y="600"/>
                  </a:lnTo>
                  <a:lnTo>
                    <a:pt x="361" y="590"/>
                  </a:lnTo>
                  <a:lnTo>
                    <a:pt x="342" y="578"/>
                  </a:lnTo>
                  <a:lnTo>
                    <a:pt x="324" y="564"/>
                  </a:lnTo>
                  <a:lnTo>
                    <a:pt x="309" y="549"/>
                  </a:lnTo>
                  <a:lnTo>
                    <a:pt x="294" y="533"/>
                  </a:lnTo>
                  <a:lnTo>
                    <a:pt x="281" y="516"/>
                  </a:lnTo>
                  <a:lnTo>
                    <a:pt x="270" y="498"/>
                  </a:lnTo>
                  <a:lnTo>
                    <a:pt x="262" y="479"/>
                  </a:lnTo>
                  <a:lnTo>
                    <a:pt x="256" y="459"/>
                  </a:lnTo>
                  <a:lnTo>
                    <a:pt x="252" y="438"/>
                  </a:lnTo>
                  <a:lnTo>
                    <a:pt x="251" y="417"/>
                  </a:lnTo>
                  <a:lnTo>
                    <a:pt x="251" y="417"/>
                  </a:lnTo>
                  <a:lnTo>
                    <a:pt x="252" y="395"/>
                  </a:lnTo>
                  <a:lnTo>
                    <a:pt x="256" y="375"/>
                  </a:lnTo>
                  <a:lnTo>
                    <a:pt x="262" y="355"/>
                  </a:lnTo>
                  <a:lnTo>
                    <a:pt x="270" y="336"/>
                  </a:lnTo>
                  <a:lnTo>
                    <a:pt x="281" y="317"/>
                  </a:lnTo>
                  <a:lnTo>
                    <a:pt x="294" y="300"/>
                  </a:lnTo>
                  <a:lnTo>
                    <a:pt x="309" y="284"/>
                  </a:lnTo>
                  <a:lnTo>
                    <a:pt x="324" y="269"/>
                  </a:lnTo>
                  <a:lnTo>
                    <a:pt x="342" y="256"/>
                  </a:lnTo>
                  <a:lnTo>
                    <a:pt x="361" y="244"/>
                  </a:lnTo>
                  <a:lnTo>
                    <a:pt x="382" y="233"/>
                  </a:lnTo>
                  <a:lnTo>
                    <a:pt x="403" y="225"/>
                  </a:lnTo>
                  <a:lnTo>
                    <a:pt x="426" y="218"/>
                  </a:lnTo>
                  <a:lnTo>
                    <a:pt x="450" y="212"/>
                  </a:lnTo>
                  <a:lnTo>
                    <a:pt x="475" y="209"/>
                  </a:lnTo>
                  <a:lnTo>
                    <a:pt x="501" y="208"/>
                  </a:lnTo>
                  <a:lnTo>
                    <a:pt x="501" y="208"/>
                  </a:lnTo>
                  <a:lnTo>
                    <a:pt x="527" y="209"/>
                  </a:lnTo>
                  <a:lnTo>
                    <a:pt x="551" y="212"/>
                  </a:lnTo>
                  <a:lnTo>
                    <a:pt x="575" y="218"/>
                  </a:lnTo>
                  <a:lnTo>
                    <a:pt x="598" y="225"/>
                  </a:lnTo>
                  <a:lnTo>
                    <a:pt x="621" y="233"/>
                  </a:lnTo>
                  <a:lnTo>
                    <a:pt x="641" y="244"/>
                  </a:lnTo>
                  <a:lnTo>
                    <a:pt x="660" y="256"/>
                  </a:lnTo>
                  <a:lnTo>
                    <a:pt x="678" y="269"/>
                  </a:lnTo>
                  <a:lnTo>
                    <a:pt x="694" y="284"/>
                  </a:lnTo>
                  <a:lnTo>
                    <a:pt x="708" y="300"/>
                  </a:lnTo>
                  <a:lnTo>
                    <a:pt x="721" y="317"/>
                  </a:lnTo>
                  <a:lnTo>
                    <a:pt x="731" y="336"/>
                  </a:lnTo>
                  <a:lnTo>
                    <a:pt x="739" y="355"/>
                  </a:lnTo>
                  <a:lnTo>
                    <a:pt x="747" y="375"/>
                  </a:lnTo>
                  <a:lnTo>
                    <a:pt x="750" y="395"/>
                  </a:lnTo>
                  <a:lnTo>
                    <a:pt x="751" y="417"/>
                  </a:lnTo>
                  <a:lnTo>
                    <a:pt x="751" y="417"/>
                  </a:lnTo>
                  <a:lnTo>
                    <a:pt x="750" y="438"/>
                  </a:lnTo>
                  <a:lnTo>
                    <a:pt x="747" y="459"/>
                  </a:lnTo>
                  <a:lnTo>
                    <a:pt x="739" y="479"/>
                  </a:lnTo>
                  <a:lnTo>
                    <a:pt x="731" y="498"/>
                  </a:lnTo>
                  <a:lnTo>
                    <a:pt x="721" y="516"/>
                  </a:lnTo>
                  <a:lnTo>
                    <a:pt x="708" y="533"/>
                  </a:lnTo>
                  <a:lnTo>
                    <a:pt x="694" y="549"/>
                  </a:lnTo>
                  <a:lnTo>
                    <a:pt x="678" y="564"/>
                  </a:lnTo>
                  <a:lnTo>
                    <a:pt x="660" y="578"/>
                  </a:lnTo>
                  <a:lnTo>
                    <a:pt x="641" y="590"/>
                  </a:lnTo>
                  <a:lnTo>
                    <a:pt x="621" y="600"/>
                  </a:lnTo>
                  <a:lnTo>
                    <a:pt x="598" y="609"/>
                  </a:lnTo>
                  <a:lnTo>
                    <a:pt x="575" y="616"/>
                  </a:lnTo>
                  <a:lnTo>
                    <a:pt x="551" y="621"/>
                  </a:lnTo>
                  <a:lnTo>
                    <a:pt x="527" y="624"/>
                  </a:lnTo>
                  <a:lnTo>
                    <a:pt x="501" y="625"/>
                  </a:lnTo>
                  <a:lnTo>
                    <a:pt x="501" y="625"/>
                  </a:lnTo>
                  <a:close/>
                </a:path>
              </a:pathLst>
            </a:cu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2" name="Rectangle 73">
              <a:extLst>
                <a:ext uri="{FF2B5EF4-FFF2-40B4-BE49-F238E27FC236}">
                  <a16:creationId xmlns:a16="http://schemas.microsoft.com/office/drawing/2014/main" id="{4354A7A2-8EE7-4D0E-AA85-EA364812331E}"/>
                </a:ext>
              </a:extLst>
            </p:cNvPr>
            <p:cNvSpPr>
              <a:spLocks noChangeArrowheads="1"/>
            </p:cNvSpPr>
            <p:nvPr/>
          </p:nvSpPr>
          <p:spPr bwMode="auto">
            <a:xfrm>
              <a:off x="763588" y="4235450"/>
              <a:ext cx="44450" cy="66675"/>
            </a:xfrm>
            <a:prstGeom prst="rect">
              <a:avLst/>
            </a:pr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3" name="Rectangle 74">
              <a:extLst>
                <a:ext uri="{FF2B5EF4-FFF2-40B4-BE49-F238E27FC236}">
                  <a16:creationId xmlns:a16="http://schemas.microsoft.com/office/drawing/2014/main" id="{4BABF084-86D9-4A14-A726-500F07D27956}"/>
                </a:ext>
              </a:extLst>
            </p:cNvPr>
            <p:cNvSpPr>
              <a:spLocks noChangeArrowheads="1"/>
            </p:cNvSpPr>
            <p:nvPr/>
          </p:nvSpPr>
          <p:spPr bwMode="auto">
            <a:xfrm>
              <a:off x="895351" y="4435475"/>
              <a:ext cx="44450" cy="65087"/>
            </a:xfrm>
            <a:prstGeom prst="rect">
              <a:avLst/>
            </a:pr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4" name="Rectangle 75">
              <a:extLst>
                <a:ext uri="{FF2B5EF4-FFF2-40B4-BE49-F238E27FC236}">
                  <a16:creationId xmlns:a16="http://schemas.microsoft.com/office/drawing/2014/main" id="{C46C3209-D7A2-45D7-AB09-B3EAA7BCC59D}"/>
                </a:ext>
              </a:extLst>
            </p:cNvPr>
            <p:cNvSpPr>
              <a:spLocks noChangeArrowheads="1"/>
            </p:cNvSpPr>
            <p:nvPr/>
          </p:nvSpPr>
          <p:spPr bwMode="auto">
            <a:xfrm>
              <a:off x="841376" y="4235450"/>
              <a:ext cx="109538" cy="22225"/>
            </a:xfrm>
            <a:prstGeom prst="rect">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5" name="Rectangle 76">
              <a:extLst>
                <a:ext uri="{FF2B5EF4-FFF2-40B4-BE49-F238E27FC236}">
                  <a16:creationId xmlns:a16="http://schemas.microsoft.com/office/drawing/2014/main" id="{BE165F31-A7CA-4991-97D5-364EEAC8C6AD}"/>
                </a:ext>
              </a:extLst>
            </p:cNvPr>
            <p:cNvSpPr>
              <a:spLocks noChangeArrowheads="1"/>
            </p:cNvSpPr>
            <p:nvPr/>
          </p:nvSpPr>
          <p:spPr bwMode="auto">
            <a:xfrm>
              <a:off x="841376" y="4279900"/>
              <a:ext cx="22225" cy="22225"/>
            </a:xfrm>
            <a:prstGeom prst="rect">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6" name="Rectangle 77">
              <a:extLst>
                <a:ext uri="{FF2B5EF4-FFF2-40B4-BE49-F238E27FC236}">
                  <a16:creationId xmlns:a16="http://schemas.microsoft.com/office/drawing/2014/main" id="{532AF5CF-4AE6-49BE-BA31-B160B67F07A1}"/>
                </a:ext>
              </a:extLst>
            </p:cNvPr>
            <p:cNvSpPr>
              <a:spLocks noChangeArrowheads="1"/>
            </p:cNvSpPr>
            <p:nvPr/>
          </p:nvSpPr>
          <p:spPr bwMode="auto">
            <a:xfrm>
              <a:off x="885826" y="4279900"/>
              <a:ext cx="65088" cy="22225"/>
            </a:xfrm>
            <a:prstGeom prst="rect">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7" name="Rectangle 78">
              <a:extLst>
                <a:ext uri="{FF2B5EF4-FFF2-40B4-BE49-F238E27FC236}">
                  <a16:creationId xmlns:a16="http://schemas.microsoft.com/office/drawing/2014/main" id="{9793F9C4-F637-4D9C-B353-BB77D7E1DAD4}"/>
                </a:ext>
              </a:extLst>
            </p:cNvPr>
            <p:cNvSpPr>
              <a:spLocks noChangeArrowheads="1"/>
            </p:cNvSpPr>
            <p:nvPr/>
          </p:nvSpPr>
          <p:spPr bwMode="auto">
            <a:xfrm>
              <a:off x="752476" y="4335463"/>
              <a:ext cx="198438" cy="22225"/>
            </a:xfrm>
            <a:prstGeom prst="rect">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8" name="Rectangle 79">
              <a:extLst>
                <a:ext uri="{FF2B5EF4-FFF2-40B4-BE49-F238E27FC236}">
                  <a16:creationId xmlns:a16="http://schemas.microsoft.com/office/drawing/2014/main" id="{41C514DF-6EFE-49C1-88E4-5899E390D68D}"/>
                </a:ext>
              </a:extLst>
            </p:cNvPr>
            <p:cNvSpPr>
              <a:spLocks noChangeArrowheads="1"/>
            </p:cNvSpPr>
            <p:nvPr/>
          </p:nvSpPr>
          <p:spPr bwMode="auto">
            <a:xfrm>
              <a:off x="752476" y="4379913"/>
              <a:ext cx="198438" cy="22225"/>
            </a:xfrm>
            <a:prstGeom prst="rect">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9" name="Rectangle 80">
              <a:extLst>
                <a:ext uri="{FF2B5EF4-FFF2-40B4-BE49-F238E27FC236}">
                  <a16:creationId xmlns:a16="http://schemas.microsoft.com/office/drawing/2014/main" id="{B31C065F-00FB-4FDA-9A94-BA331E7DE090}"/>
                </a:ext>
              </a:extLst>
            </p:cNvPr>
            <p:cNvSpPr>
              <a:spLocks noChangeArrowheads="1"/>
            </p:cNvSpPr>
            <p:nvPr/>
          </p:nvSpPr>
          <p:spPr bwMode="auto">
            <a:xfrm>
              <a:off x="752476" y="4435475"/>
              <a:ext cx="22225" cy="20637"/>
            </a:xfrm>
            <a:prstGeom prst="rect">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0" name="Rectangle 81">
              <a:extLst>
                <a:ext uri="{FF2B5EF4-FFF2-40B4-BE49-F238E27FC236}">
                  <a16:creationId xmlns:a16="http://schemas.microsoft.com/office/drawing/2014/main" id="{DB9FA70D-1100-47D7-9219-1CA6C535F402}"/>
                </a:ext>
              </a:extLst>
            </p:cNvPr>
            <p:cNvSpPr>
              <a:spLocks noChangeArrowheads="1"/>
            </p:cNvSpPr>
            <p:nvPr/>
          </p:nvSpPr>
          <p:spPr bwMode="auto">
            <a:xfrm>
              <a:off x="796926" y="4435475"/>
              <a:ext cx="66675" cy="20637"/>
            </a:xfrm>
            <a:prstGeom prst="rect">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1" name="Rectangle 82">
              <a:extLst>
                <a:ext uri="{FF2B5EF4-FFF2-40B4-BE49-F238E27FC236}">
                  <a16:creationId xmlns:a16="http://schemas.microsoft.com/office/drawing/2014/main" id="{9822F327-0431-47B1-A009-CBCCAF64BE21}"/>
                </a:ext>
              </a:extLst>
            </p:cNvPr>
            <p:cNvSpPr>
              <a:spLocks noChangeArrowheads="1"/>
            </p:cNvSpPr>
            <p:nvPr/>
          </p:nvSpPr>
          <p:spPr bwMode="auto">
            <a:xfrm>
              <a:off x="752476" y="4478338"/>
              <a:ext cx="111125" cy="22225"/>
            </a:xfrm>
            <a:prstGeom prst="rect">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2" name="Freeform 83">
              <a:extLst>
                <a:ext uri="{FF2B5EF4-FFF2-40B4-BE49-F238E27FC236}">
                  <a16:creationId xmlns:a16="http://schemas.microsoft.com/office/drawing/2014/main" id="{4D000B0D-7896-4584-9986-42EDAF6847F0}"/>
                </a:ext>
              </a:extLst>
            </p:cNvPr>
            <p:cNvSpPr>
              <a:spLocks noEditPoints="1"/>
            </p:cNvSpPr>
            <p:nvPr/>
          </p:nvSpPr>
          <p:spPr bwMode="auto">
            <a:xfrm>
              <a:off x="309563" y="3871913"/>
              <a:ext cx="379413" cy="485775"/>
            </a:xfrm>
            <a:custGeom>
              <a:avLst/>
              <a:gdLst>
                <a:gd name="T0" fmla="*/ 1207 w 1432"/>
                <a:gd name="T1" fmla="*/ 636 h 1530"/>
                <a:gd name="T2" fmla="*/ 1208 w 1432"/>
                <a:gd name="T3" fmla="*/ 549 h 1530"/>
                <a:gd name="T4" fmla="*/ 1174 w 1432"/>
                <a:gd name="T5" fmla="*/ 265 h 1530"/>
                <a:gd name="T6" fmla="*/ 1124 w 1432"/>
                <a:gd name="T7" fmla="*/ 178 h 1530"/>
                <a:gd name="T8" fmla="*/ 1033 w 1432"/>
                <a:gd name="T9" fmla="*/ 141 h 1530"/>
                <a:gd name="T10" fmla="*/ 908 w 1432"/>
                <a:gd name="T11" fmla="*/ 38 h 1530"/>
                <a:gd name="T12" fmla="*/ 738 w 1432"/>
                <a:gd name="T13" fmla="*/ 0 h 1530"/>
                <a:gd name="T14" fmla="*/ 572 w 1432"/>
                <a:gd name="T15" fmla="*/ 24 h 1530"/>
                <a:gd name="T16" fmla="*/ 415 w 1432"/>
                <a:gd name="T17" fmla="*/ 104 h 1530"/>
                <a:gd name="T18" fmla="*/ 305 w 1432"/>
                <a:gd name="T19" fmla="*/ 227 h 1530"/>
                <a:gd name="T20" fmla="*/ 258 w 1432"/>
                <a:gd name="T21" fmla="*/ 380 h 1530"/>
                <a:gd name="T22" fmla="*/ 223 w 1432"/>
                <a:gd name="T23" fmla="*/ 549 h 1530"/>
                <a:gd name="T24" fmla="*/ 224 w 1432"/>
                <a:gd name="T25" fmla="*/ 636 h 1530"/>
                <a:gd name="T26" fmla="*/ 220 w 1432"/>
                <a:gd name="T27" fmla="*/ 1033 h 1530"/>
                <a:gd name="T28" fmla="*/ 102 w 1432"/>
                <a:gd name="T29" fmla="*/ 1124 h 1530"/>
                <a:gd name="T30" fmla="*/ 1432 w 1432"/>
                <a:gd name="T31" fmla="*/ 1530 h 1530"/>
                <a:gd name="T32" fmla="*/ 1330 w 1432"/>
                <a:gd name="T33" fmla="*/ 1124 h 1530"/>
                <a:gd name="T34" fmla="*/ 1212 w 1432"/>
                <a:gd name="T35" fmla="*/ 1032 h 1530"/>
                <a:gd name="T36" fmla="*/ 884 w 1432"/>
                <a:gd name="T37" fmla="*/ 997 h 1530"/>
                <a:gd name="T38" fmla="*/ 551 w 1432"/>
                <a:gd name="T39" fmla="*/ 1050 h 1530"/>
                <a:gd name="T40" fmla="*/ 466 w 1432"/>
                <a:gd name="T41" fmla="*/ 949 h 1530"/>
                <a:gd name="T42" fmla="*/ 378 w 1432"/>
                <a:gd name="T43" fmla="*/ 763 h 1530"/>
                <a:gd name="T44" fmla="*/ 602 w 1432"/>
                <a:gd name="T45" fmla="*/ 934 h 1530"/>
                <a:gd name="T46" fmla="*/ 829 w 1432"/>
                <a:gd name="T47" fmla="*/ 934 h 1530"/>
                <a:gd name="T48" fmla="*/ 1054 w 1432"/>
                <a:gd name="T49" fmla="*/ 763 h 1530"/>
                <a:gd name="T50" fmla="*/ 1110 w 1432"/>
                <a:gd name="T51" fmla="*/ 638 h 1530"/>
                <a:gd name="T52" fmla="*/ 1115 w 1432"/>
                <a:gd name="T53" fmla="*/ 549 h 1530"/>
                <a:gd name="T54" fmla="*/ 1132 w 1432"/>
                <a:gd name="T55" fmla="*/ 601 h 1530"/>
                <a:gd name="T56" fmla="*/ 424 w 1432"/>
                <a:gd name="T57" fmla="*/ 521 h 1530"/>
                <a:gd name="T58" fmla="*/ 744 w 1432"/>
                <a:gd name="T59" fmla="*/ 509 h 1530"/>
                <a:gd name="T60" fmla="*/ 856 w 1432"/>
                <a:gd name="T61" fmla="*/ 459 h 1530"/>
                <a:gd name="T62" fmla="*/ 941 w 1432"/>
                <a:gd name="T63" fmla="*/ 496 h 1530"/>
                <a:gd name="T64" fmla="*/ 1006 w 1432"/>
                <a:gd name="T65" fmla="*/ 689 h 1530"/>
                <a:gd name="T66" fmla="*/ 822 w 1432"/>
                <a:gd name="T67" fmla="*/ 858 h 1530"/>
                <a:gd name="T68" fmla="*/ 623 w 1432"/>
                <a:gd name="T69" fmla="*/ 866 h 1530"/>
                <a:gd name="T70" fmla="*/ 431 w 1432"/>
                <a:gd name="T71" fmla="*/ 701 h 1530"/>
                <a:gd name="T72" fmla="*/ 341 w 1432"/>
                <a:gd name="T73" fmla="*/ 650 h 1530"/>
                <a:gd name="T74" fmla="*/ 301 w 1432"/>
                <a:gd name="T75" fmla="*/ 608 h 1530"/>
                <a:gd name="T76" fmla="*/ 312 w 1432"/>
                <a:gd name="T77" fmla="*/ 555 h 1530"/>
                <a:gd name="T78" fmla="*/ 756 w 1432"/>
                <a:gd name="T79" fmla="*/ 70 h 1530"/>
                <a:gd name="T80" fmla="*/ 889 w 1432"/>
                <a:gd name="T81" fmla="*/ 110 h 1530"/>
                <a:gd name="T82" fmla="*/ 982 w 1432"/>
                <a:gd name="T83" fmla="*/ 208 h 1530"/>
                <a:gd name="T84" fmla="*/ 1055 w 1432"/>
                <a:gd name="T85" fmla="*/ 220 h 1530"/>
                <a:gd name="T86" fmla="*/ 1090 w 1432"/>
                <a:gd name="T87" fmla="*/ 264 h 1530"/>
                <a:gd name="T88" fmla="*/ 1043 w 1432"/>
                <a:gd name="T89" fmla="*/ 452 h 1530"/>
                <a:gd name="T90" fmla="*/ 966 w 1432"/>
                <a:gd name="T91" fmla="*/ 423 h 1530"/>
                <a:gd name="T92" fmla="*/ 810 w 1432"/>
                <a:gd name="T93" fmla="*/ 400 h 1530"/>
                <a:gd name="T94" fmla="*/ 708 w 1432"/>
                <a:gd name="T95" fmla="*/ 446 h 1530"/>
                <a:gd name="T96" fmla="*/ 365 w 1432"/>
                <a:gd name="T97" fmla="*/ 453 h 1530"/>
                <a:gd name="T98" fmla="*/ 349 w 1432"/>
                <a:gd name="T99" fmla="*/ 334 h 1530"/>
                <a:gd name="T100" fmla="*/ 409 w 1432"/>
                <a:gd name="T101" fmla="*/ 216 h 1530"/>
                <a:gd name="T102" fmla="*/ 516 w 1432"/>
                <a:gd name="T103" fmla="*/ 126 h 1530"/>
                <a:gd name="T104" fmla="*/ 658 w 1432"/>
                <a:gd name="T105" fmla="*/ 76 h 1530"/>
                <a:gd name="T106" fmla="*/ 144 w 1432"/>
                <a:gd name="T107" fmla="*/ 1219 h 1530"/>
                <a:gd name="T108" fmla="*/ 200 w 1432"/>
                <a:gd name="T109" fmla="*/ 1132 h 1530"/>
                <a:gd name="T110" fmla="*/ 437 w 1432"/>
                <a:gd name="T111" fmla="*/ 1034 h 1530"/>
                <a:gd name="T112" fmla="*/ 142 w 1432"/>
                <a:gd name="T113" fmla="*/ 1232 h 1530"/>
                <a:gd name="T114" fmla="*/ 1146 w 1432"/>
                <a:gd name="T115" fmla="*/ 1085 h 1530"/>
                <a:gd name="T116" fmla="*/ 1231 w 1432"/>
                <a:gd name="T117" fmla="*/ 1132 h 1530"/>
                <a:gd name="T118" fmla="*/ 1288 w 1432"/>
                <a:gd name="T119" fmla="*/ 1219 h 1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32" h="1530">
                  <a:moveTo>
                    <a:pt x="1175" y="1019"/>
                  </a:moveTo>
                  <a:lnTo>
                    <a:pt x="1175" y="1019"/>
                  </a:lnTo>
                  <a:lnTo>
                    <a:pt x="1175" y="682"/>
                  </a:lnTo>
                  <a:lnTo>
                    <a:pt x="1175" y="682"/>
                  </a:lnTo>
                  <a:lnTo>
                    <a:pt x="1184" y="671"/>
                  </a:lnTo>
                  <a:lnTo>
                    <a:pt x="1194" y="660"/>
                  </a:lnTo>
                  <a:lnTo>
                    <a:pt x="1201" y="648"/>
                  </a:lnTo>
                  <a:lnTo>
                    <a:pt x="1207" y="636"/>
                  </a:lnTo>
                  <a:lnTo>
                    <a:pt x="1212" y="623"/>
                  </a:lnTo>
                  <a:lnTo>
                    <a:pt x="1214" y="610"/>
                  </a:lnTo>
                  <a:lnTo>
                    <a:pt x="1216" y="597"/>
                  </a:lnTo>
                  <a:lnTo>
                    <a:pt x="1216" y="583"/>
                  </a:lnTo>
                  <a:lnTo>
                    <a:pt x="1216" y="583"/>
                  </a:lnTo>
                  <a:lnTo>
                    <a:pt x="1214" y="572"/>
                  </a:lnTo>
                  <a:lnTo>
                    <a:pt x="1212" y="560"/>
                  </a:lnTo>
                  <a:lnTo>
                    <a:pt x="1208" y="549"/>
                  </a:lnTo>
                  <a:lnTo>
                    <a:pt x="1204" y="539"/>
                  </a:lnTo>
                  <a:lnTo>
                    <a:pt x="1198" y="529"/>
                  </a:lnTo>
                  <a:lnTo>
                    <a:pt x="1190" y="519"/>
                  </a:lnTo>
                  <a:lnTo>
                    <a:pt x="1183" y="510"/>
                  </a:lnTo>
                  <a:lnTo>
                    <a:pt x="1175" y="501"/>
                  </a:lnTo>
                  <a:lnTo>
                    <a:pt x="1175" y="278"/>
                  </a:lnTo>
                  <a:lnTo>
                    <a:pt x="1175" y="278"/>
                  </a:lnTo>
                  <a:lnTo>
                    <a:pt x="1174" y="265"/>
                  </a:lnTo>
                  <a:lnTo>
                    <a:pt x="1171" y="253"/>
                  </a:lnTo>
                  <a:lnTo>
                    <a:pt x="1169" y="240"/>
                  </a:lnTo>
                  <a:lnTo>
                    <a:pt x="1164" y="229"/>
                  </a:lnTo>
                  <a:lnTo>
                    <a:pt x="1158" y="217"/>
                  </a:lnTo>
                  <a:lnTo>
                    <a:pt x="1151" y="207"/>
                  </a:lnTo>
                  <a:lnTo>
                    <a:pt x="1142" y="197"/>
                  </a:lnTo>
                  <a:lnTo>
                    <a:pt x="1134" y="187"/>
                  </a:lnTo>
                  <a:lnTo>
                    <a:pt x="1124" y="178"/>
                  </a:lnTo>
                  <a:lnTo>
                    <a:pt x="1114" y="170"/>
                  </a:lnTo>
                  <a:lnTo>
                    <a:pt x="1102" y="163"/>
                  </a:lnTo>
                  <a:lnTo>
                    <a:pt x="1090" y="157"/>
                  </a:lnTo>
                  <a:lnTo>
                    <a:pt x="1076" y="151"/>
                  </a:lnTo>
                  <a:lnTo>
                    <a:pt x="1062" y="147"/>
                  </a:lnTo>
                  <a:lnTo>
                    <a:pt x="1049" y="143"/>
                  </a:lnTo>
                  <a:lnTo>
                    <a:pt x="1033" y="141"/>
                  </a:lnTo>
                  <a:lnTo>
                    <a:pt x="1033" y="141"/>
                  </a:lnTo>
                  <a:lnTo>
                    <a:pt x="1021" y="125"/>
                  </a:lnTo>
                  <a:lnTo>
                    <a:pt x="1008" y="110"/>
                  </a:lnTo>
                  <a:lnTo>
                    <a:pt x="994" y="95"/>
                  </a:lnTo>
                  <a:lnTo>
                    <a:pt x="979" y="82"/>
                  </a:lnTo>
                  <a:lnTo>
                    <a:pt x="962" y="69"/>
                  </a:lnTo>
                  <a:lnTo>
                    <a:pt x="946" y="58"/>
                  </a:lnTo>
                  <a:lnTo>
                    <a:pt x="928" y="47"/>
                  </a:lnTo>
                  <a:lnTo>
                    <a:pt x="908" y="38"/>
                  </a:lnTo>
                  <a:lnTo>
                    <a:pt x="889" y="29"/>
                  </a:lnTo>
                  <a:lnTo>
                    <a:pt x="869" y="21"/>
                  </a:lnTo>
                  <a:lnTo>
                    <a:pt x="848" y="15"/>
                  </a:lnTo>
                  <a:lnTo>
                    <a:pt x="827" y="10"/>
                  </a:lnTo>
                  <a:lnTo>
                    <a:pt x="805" y="6"/>
                  </a:lnTo>
                  <a:lnTo>
                    <a:pt x="784" y="2"/>
                  </a:lnTo>
                  <a:lnTo>
                    <a:pt x="761" y="1"/>
                  </a:lnTo>
                  <a:lnTo>
                    <a:pt x="738" y="0"/>
                  </a:lnTo>
                  <a:lnTo>
                    <a:pt x="738" y="0"/>
                  </a:lnTo>
                  <a:lnTo>
                    <a:pt x="713" y="1"/>
                  </a:lnTo>
                  <a:lnTo>
                    <a:pt x="689" y="2"/>
                  </a:lnTo>
                  <a:lnTo>
                    <a:pt x="665" y="5"/>
                  </a:lnTo>
                  <a:lnTo>
                    <a:pt x="641" y="8"/>
                  </a:lnTo>
                  <a:lnTo>
                    <a:pt x="618" y="13"/>
                  </a:lnTo>
                  <a:lnTo>
                    <a:pt x="595" y="18"/>
                  </a:lnTo>
                  <a:lnTo>
                    <a:pt x="572" y="24"/>
                  </a:lnTo>
                  <a:lnTo>
                    <a:pt x="551" y="32"/>
                  </a:lnTo>
                  <a:lnTo>
                    <a:pt x="529" y="40"/>
                  </a:lnTo>
                  <a:lnTo>
                    <a:pt x="509" y="48"/>
                  </a:lnTo>
                  <a:lnTo>
                    <a:pt x="488" y="58"/>
                  </a:lnTo>
                  <a:lnTo>
                    <a:pt x="469" y="68"/>
                  </a:lnTo>
                  <a:lnTo>
                    <a:pt x="450" y="80"/>
                  </a:lnTo>
                  <a:lnTo>
                    <a:pt x="432" y="92"/>
                  </a:lnTo>
                  <a:lnTo>
                    <a:pt x="415" y="104"/>
                  </a:lnTo>
                  <a:lnTo>
                    <a:pt x="398" y="117"/>
                  </a:lnTo>
                  <a:lnTo>
                    <a:pt x="383" y="131"/>
                  </a:lnTo>
                  <a:lnTo>
                    <a:pt x="367" y="146"/>
                  </a:lnTo>
                  <a:lnTo>
                    <a:pt x="353" y="161"/>
                  </a:lnTo>
                  <a:lnTo>
                    <a:pt x="340" y="177"/>
                  </a:lnTo>
                  <a:lnTo>
                    <a:pt x="328" y="193"/>
                  </a:lnTo>
                  <a:lnTo>
                    <a:pt x="316" y="210"/>
                  </a:lnTo>
                  <a:lnTo>
                    <a:pt x="305" y="227"/>
                  </a:lnTo>
                  <a:lnTo>
                    <a:pt x="295" y="245"/>
                  </a:lnTo>
                  <a:lnTo>
                    <a:pt x="287" y="263"/>
                  </a:lnTo>
                  <a:lnTo>
                    <a:pt x="278" y="282"/>
                  </a:lnTo>
                  <a:lnTo>
                    <a:pt x="272" y="301"/>
                  </a:lnTo>
                  <a:lnTo>
                    <a:pt x="268" y="320"/>
                  </a:lnTo>
                  <a:lnTo>
                    <a:pt x="263" y="340"/>
                  </a:lnTo>
                  <a:lnTo>
                    <a:pt x="260" y="360"/>
                  </a:lnTo>
                  <a:lnTo>
                    <a:pt x="258" y="380"/>
                  </a:lnTo>
                  <a:lnTo>
                    <a:pt x="257" y="401"/>
                  </a:lnTo>
                  <a:lnTo>
                    <a:pt x="257" y="501"/>
                  </a:lnTo>
                  <a:lnTo>
                    <a:pt x="257" y="501"/>
                  </a:lnTo>
                  <a:lnTo>
                    <a:pt x="248" y="510"/>
                  </a:lnTo>
                  <a:lnTo>
                    <a:pt x="241" y="519"/>
                  </a:lnTo>
                  <a:lnTo>
                    <a:pt x="234" y="529"/>
                  </a:lnTo>
                  <a:lnTo>
                    <a:pt x="228" y="539"/>
                  </a:lnTo>
                  <a:lnTo>
                    <a:pt x="223" y="549"/>
                  </a:lnTo>
                  <a:lnTo>
                    <a:pt x="220" y="560"/>
                  </a:lnTo>
                  <a:lnTo>
                    <a:pt x="217" y="572"/>
                  </a:lnTo>
                  <a:lnTo>
                    <a:pt x="216" y="583"/>
                  </a:lnTo>
                  <a:lnTo>
                    <a:pt x="216" y="583"/>
                  </a:lnTo>
                  <a:lnTo>
                    <a:pt x="216" y="597"/>
                  </a:lnTo>
                  <a:lnTo>
                    <a:pt x="217" y="610"/>
                  </a:lnTo>
                  <a:lnTo>
                    <a:pt x="221" y="623"/>
                  </a:lnTo>
                  <a:lnTo>
                    <a:pt x="224" y="636"/>
                  </a:lnTo>
                  <a:lnTo>
                    <a:pt x="230" y="648"/>
                  </a:lnTo>
                  <a:lnTo>
                    <a:pt x="239" y="660"/>
                  </a:lnTo>
                  <a:lnTo>
                    <a:pt x="247" y="671"/>
                  </a:lnTo>
                  <a:lnTo>
                    <a:pt x="257" y="682"/>
                  </a:lnTo>
                  <a:lnTo>
                    <a:pt x="257" y="1019"/>
                  </a:lnTo>
                  <a:lnTo>
                    <a:pt x="257" y="1019"/>
                  </a:lnTo>
                  <a:lnTo>
                    <a:pt x="238" y="1025"/>
                  </a:lnTo>
                  <a:lnTo>
                    <a:pt x="220" y="1033"/>
                  </a:lnTo>
                  <a:lnTo>
                    <a:pt x="202" y="1041"/>
                  </a:lnTo>
                  <a:lnTo>
                    <a:pt x="185" y="1050"/>
                  </a:lnTo>
                  <a:lnTo>
                    <a:pt x="169" y="1060"/>
                  </a:lnTo>
                  <a:lnTo>
                    <a:pt x="154" y="1071"/>
                  </a:lnTo>
                  <a:lnTo>
                    <a:pt x="139" y="1084"/>
                  </a:lnTo>
                  <a:lnTo>
                    <a:pt x="126" y="1097"/>
                  </a:lnTo>
                  <a:lnTo>
                    <a:pt x="114" y="1110"/>
                  </a:lnTo>
                  <a:lnTo>
                    <a:pt x="102" y="1124"/>
                  </a:lnTo>
                  <a:lnTo>
                    <a:pt x="92" y="1139"/>
                  </a:lnTo>
                  <a:lnTo>
                    <a:pt x="83" y="1155"/>
                  </a:lnTo>
                  <a:lnTo>
                    <a:pt x="76" y="1171"/>
                  </a:lnTo>
                  <a:lnTo>
                    <a:pt x="68" y="1187"/>
                  </a:lnTo>
                  <a:lnTo>
                    <a:pt x="64" y="1204"/>
                  </a:lnTo>
                  <a:lnTo>
                    <a:pt x="59" y="1221"/>
                  </a:lnTo>
                  <a:lnTo>
                    <a:pt x="0" y="1530"/>
                  </a:lnTo>
                  <a:lnTo>
                    <a:pt x="1432" y="1530"/>
                  </a:lnTo>
                  <a:lnTo>
                    <a:pt x="1373" y="1221"/>
                  </a:lnTo>
                  <a:lnTo>
                    <a:pt x="1373" y="1221"/>
                  </a:lnTo>
                  <a:lnTo>
                    <a:pt x="1368" y="1204"/>
                  </a:lnTo>
                  <a:lnTo>
                    <a:pt x="1363" y="1187"/>
                  </a:lnTo>
                  <a:lnTo>
                    <a:pt x="1356" y="1170"/>
                  </a:lnTo>
                  <a:lnTo>
                    <a:pt x="1349" y="1154"/>
                  </a:lnTo>
                  <a:lnTo>
                    <a:pt x="1339" y="1139"/>
                  </a:lnTo>
                  <a:lnTo>
                    <a:pt x="1330" y="1124"/>
                  </a:lnTo>
                  <a:lnTo>
                    <a:pt x="1318" y="1110"/>
                  </a:lnTo>
                  <a:lnTo>
                    <a:pt x="1306" y="1097"/>
                  </a:lnTo>
                  <a:lnTo>
                    <a:pt x="1292" y="1084"/>
                  </a:lnTo>
                  <a:lnTo>
                    <a:pt x="1278" y="1071"/>
                  </a:lnTo>
                  <a:lnTo>
                    <a:pt x="1262" y="1060"/>
                  </a:lnTo>
                  <a:lnTo>
                    <a:pt x="1247" y="1050"/>
                  </a:lnTo>
                  <a:lnTo>
                    <a:pt x="1230" y="1041"/>
                  </a:lnTo>
                  <a:lnTo>
                    <a:pt x="1212" y="1032"/>
                  </a:lnTo>
                  <a:lnTo>
                    <a:pt x="1194" y="1025"/>
                  </a:lnTo>
                  <a:lnTo>
                    <a:pt x="1175" y="1019"/>
                  </a:lnTo>
                  <a:lnTo>
                    <a:pt x="1175" y="1019"/>
                  </a:lnTo>
                  <a:close/>
                  <a:moveTo>
                    <a:pt x="966" y="949"/>
                  </a:moveTo>
                  <a:lnTo>
                    <a:pt x="966" y="938"/>
                  </a:lnTo>
                  <a:lnTo>
                    <a:pt x="883" y="938"/>
                  </a:lnTo>
                  <a:lnTo>
                    <a:pt x="883" y="996"/>
                  </a:lnTo>
                  <a:lnTo>
                    <a:pt x="884" y="997"/>
                  </a:lnTo>
                  <a:lnTo>
                    <a:pt x="883" y="997"/>
                  </a:lnTo>
                  <a:lnTo>
                    <a:pt x="1000" y="1209"/>
                  </a:lnTo>
                  <a:lnTo>
                    <a:pt x="790" y="1385"/>
                  </a:lnTo>
                  <a:lnTo>
                    <a:pt x="882" y="1050"/>
                  </a:lnTo>
                  <a:lnTo>
                    <a:pt x="800" y="1034"/>
                  </a:lnTo>
                  <a:lnTo>
                    <a:pt x="716" y="1340"/>
                  </a:lnTo>
                  <a:lnTo>
                    <a:pt x="631" y="1034"/>
                  </a:lnTo>
                  <a:lnTo>
                    <a:pt x="551" y="1050"/>
                  </a:lnTo>
                  <a:lnTo>
                    <a:pt x="643" y="1385"/>
                  </a:lnTo>
                  <a:lnTo>
                    <a:pt x="432" y="1209"/>
                  </a:lnTo>
                  <a:lnTo>
                    <a:pt x="548" y="997"/>
                  </a:lnTo>
                  <a:lnTo>
                    <a:pt x="548" y="997"/>
                  </a:lnTo>
                  <a:lnTo>
                    <a:pt x="550" y="996"/>
                  </a:lnTo>
                  <a:lnTo>
                    <a:pt x="550" y="938"/>
                  </a:lnTo>
                  <a:lnTo>
                    <a:pt x="466" y="938"/>
                  </a:lnTo>
                  <a:lnTo>
                    <a:pt x="466" y="949"/>
                  </a:lnTo>
                  <a:lnTo>
                    <a:pt x="341" y="991"/>
                  </a:lnTo>
                  <a:lnTo>
                    <a:pt x="341" y="725"/>
                  </a:lnTo>
                  <a:lnTo>
                    <a:pt x="341" y="725"/>
                  </a:lnTo>
                  <a:lnTo>
                    <a:pt x="353" y="727"/>
                  </a:lnTo>
                  <a:lnTo>
                    <a:pt x="353" y="727"/>
                  </a:lnTo>
                  <a:lnTo>
                    <a:pt x="360" y="740"/>
                  </a:lnTo>
                  <a:lnTo>
                    <a:pt x="368" y="751"/>
                  </a:lnTo>
                  <a:lnTo>
                    <a:pt x="378" y="763"/>
                  </a:lnTo>
                  <a:lnTo>
                    <a:pt x="390" y="773"/>
                  </a:lnTo>
                  <a:lnTo>
                    <a:pt x="551" y="908"/>
                  </a:lnTo>
                  <a:lnTo>
                    <a:pt x="551" y="908"/>
                  </a:lnTo>
                  <a:lnTo>
                    <a:pt x="560" y="914"/>
                  </a:lnTo>
                  <a:lnTo>
                    <a:pt x="570" y="921"/>
                  </a:lnTo>
                  <a:lnTo>
                    <a:pt x="581" y="926"/>
                  </a:lnTo>
                  <a:lnTo>
                    <a:pt x="592" y="930"/>
                  </a:lnTo>
                  <a:lnTo>
                    <a:pt x="602" y="934"/>
                  </a:lnTo>
                  <a:lnTo>
                    <a:pt x="614" y="936"/>
                  </a:lnTo>
                  <a:lnTo>
                    <a:pt x="626" y="938"/>
                  </a:lnTo>
                  <a:lnTo>
                    <a:pt x="640" y="938"/>
                  </a:lnTo>
                  <a:lnTo>
                    <a:pt x="793" y="938"/>
                  </a:lnTo>
                  <a:lnTo>
                    <a:pt x="793" y="938"/>
                  </a:lnTo>
                  <a:lnTo>
                    <a:pt x="805" y="938"/>
                  </a:lnTo>
                  <a:lnTo>
                    <a:pt x="817" y="936"/>
                  </a:lnTo>
                  <a:lnTo>
                    <a:pt x="829" y="934"/>
                  </a:lnTo>
                  <a:lnTo>
                    <a:pt x="840" y="930"/>
                  </a:lnTo>
                  <a:lnTo>
                    <a:pt x="852" y="926"/>
                  </a:lnTo>
                  <a:lnTo>
                    <a:pt x="862" y="921"/>
                  </a:lnTo>
                  <a:lnTo>
                    <a:pt x="872" y="914"/>
                  </a:lnTo>
                  <a:lnTo>
                    <a:pt x="881" y="907"/>
                  </a:lnTo>
                  <a:lnTo>
                    <a:pt x="1043" y="773"/>
                  </a:lnTo>
                  <a:lnTo>
                    <a:pt x="1043" y="773"/>
                  </a:lnTo>
                  <a:lnTo>
                    <a:pt x="1054" y="763"/>
                  </a:lnTo>
                  <a:lnTo>
                    <a:pt x="1063" y="751"/>
                  </a:lnTo>
                  <a:lnTo>
                    <a:pt x="1072" y="740"/>
                  </a:lnTo>
                  <a:lnTo>
                    <a:pt x="1079" y="727"/>
                  </a:lnTo>
                  <a:lnTo>
                    <a:pt x="1079" y="727"/>
                  </a:lnTo>
                  <a:lnTo>
                    <a:pt x="1091" y="725"/>
                  </a:lnTo>
                  <a:lnTo>
                    <a:pt x="1091" y="991"/>
                  </a:lnTo>
                  <a:lnTo>
                    <a:pt x="966" y="949"/>
                  </a:lnTo>
                  <a:close/>
                  <a:moveTo>
                    <a:pt x="1110" y="638"/>
                  </a:moveTo>
                  <a:lnTo>
                    <a:pt x="1110" y="638"/>
                  </a:lnTo>
                  <a:lnTo>
                    <a:pt x="1100" y="645"/>
                  </a:lnTo>
                  <a:lnTo>
                    <a:pt x="1091" y="650"/>
                  </a:lnTo>
                  <a:lnTo>
                    <a:pt x="1091" y="532"/>
                  </a:lnTo>
                  <a:lnTo>
                    <a:pt x="1091" y="532"/>
                  </a:lnTo>
                  <a:lnTo>
                    <a:pt x="1099" y="537"/>
                  </a:lnTo>
                  <a:lnTo>
                    <a:pt x="1108" y="543"/>
                  </a:lnTo>
                  <a:lnTo>
                    <a:pt x="1115" y="549"/>
                  </a:lnTo>
                  <a:lnTo>
                    <a:pt x="1121" y="555"/>
                  </a:lnTo>
                  <a:lnTo>
                    <a:pt x="1126" y="563"/>
                  </a:lnTo>
                  <a:lnTo>
                    <a:pt x="1129" y="570"/>
                  </a:lnTo>
                  <a:lnTo>
                    <a:pt x="1132" y="578"/>
                  </a:lnTo>
                  <a:lnTo>
                    <a:pt x="1133" y="587"/>
                  </a:lnTo>
                  <a:lnTo>
                    <a:pt x="1133" y="587"/>
                  </a:lnTo>
                  <a:lnTo>
                    <a:pt x="1133" y="594"/>
                  </a:lnTo>
                  <a:lnTo>
                    <a:pt x="1132" y="601"/>
                  </a:lnTo>
                  <a:lnTo>
                    <a:pt x="1130" y="608"/>
                  </a:lnTo>
                  <a:lnTo>
                    <a:pt x="1128" y="615"/>
                  </a:lnTo>
                  <a:lnTo>
                    <a:pt x="1124" y="621"/>
                  </a:lnTo>
                  <a:lnTo>
                    <a:pt x="1121" y="627"/>
                  </a:lnTo>
                  <a:lnTo>
                    <a:pt x="1116" y="633"/>
                  </a:lnTo>
                  <a:lnTo>
                    <a:pt x="1110" y="638"/>
                  </a:lnTo>
                  <a:lnTo>
                    <a:pt x="1110" y="638"/>
                  </a:lnTo>
                  <a:close/>
                  <a:moveTo>
                    <a:pt x="424" y="521"/>
                  </a:moveTo>
                  <a:lnTo>
                    <a:pt x="649" y="521"/>
                  </a:lnTo>
                  <a:lnTo>
                    <a:pt x="649" y="521"/>
                  </a:lnTo>
                  <a:lnTo>
                    <a:pt x="666" y="521"/>
                  </a:lnTo>
                  <a:lnTo>
                    <a:pt x="682" y="520"/>
                  </a:lnTo>
                  <a:lnTo>
                    <a:pt x="697" y="518"/>
                  </a:lnTo>
                  <a:lnTo>
                    <a:pt x="714" y="516"/>
                  </a:lnTo>
                  <a:lnTo>
                    <a:pt x="730" y="513"/>
                  </a:lnTo>
                  <a:lnTo>
                    <a:pt x="744" y="509"/>
                  </a:lnTo>
                  <a:lnTo>
                    <a:pt x="760" y="505"/>
                  </a:lnTo>
                  <a:lnTo>
                    <a:pt x="774" y="500"/>
                  </a:lnTo>
                  <a:lnTo>
                    <a:pt x="790" y="495"/>
                  </a:lnTo>
                  <a:lnTo>
                    <a:pt x="803" y="489"/>
                  </a:lnTo>
                  <a:lnTo>
                    <a:pt x="817" y="482"/>
                  </a:lnTo>
                  <a:lnTo>
                    <a:pt x="830" y="475"/>
                  </a:lnTo>
                  <a:lnTo>
                    <a:pt x="844" y="467"/>
                  </a:lnTo>
                  <a:lnTo>
                    <a:pt x="856" y="459"/>
                  </a:lnTo>
                  <a:lnTo>
                    <a:pt x="868" y="450"/>
                  </a:lnTo>
                  <a:lnTo>
                    <a:pt x="880" y="441"/>
                  </a:lnTo>
                  <a:lnTo>
                    <a:pt x="889" y="453"/>
                  </a:lnTo>
                  <a:lnTo>
                    <a:pt x="889" y="453"/>
                  </a:lnTo>
                  <a:lnTo>
                    <a:pt x="900" y="465"/>
                  </a:lnTo>
                  <a:lnTo>
                    <a:pt x="912" y="477"/>
                  </a:lnTo>
                  <a:lnTo>
                    <a:pt x="926" y="487"/>
                  </a:lnTo>
                  <a:lnTo>
                    <a:pt x="941" y="496"/>
                  </a:lnTo>
                  <a:lnTo>
                    <a:pt x="956" y="503"/>
                  </a:lnTo>
                  <a:lnTo>
                    <a:pt x="973" y="510"/>
                  </a:lnTo>
                  <a:lnTo>
                    <a:pt x="990" y="515"/>
                  </a:lnTo>
                  <a:lnTo>
                    <a:pt x="1008" y="518"/>
                  </a:lnTo>
                  <a:lnTo>
                    <a:pt x="1008" y="675"/>
                  </a:lnTo>
                  <a:lnTo>
                    <a:pt x="1008" y="675"/>
                  </a:lnTo>
                  <a:lnTo>
                    <a:pt x="1007" y="682"/>
                  </a:lnTo>
                  <a:lnTo>
                    <a:pt x="1006" y="689"/>
                  </a:lnTo>
                  <a:lnTo>
                    <a:pt x="1004" y="695"/>
                  </a:lnTo>
                  <a:lnTo>
                    <a:pt x="1002" y="701"/>
                  </a:lnTo>
                  <a:lnTo>
                    <a:pt x="998" y="708"/>
                  </a:lnTo>
                  <a:lnTo>
                    <a:pt x="994" y="713"/>
                  </a:lnTo>
                  <a:lnTo>
                    <a:pt x="989" y="719"/>
                  </a:lnTo>
                  <a:lnTo>
                    <a:pt x="983" y="724"/>
                  </a:lnTo>
                  <a:lnTo>
                    <a:pt x="822" y="858"/>
                  </a:lnTo>
                  <a:lnTo>
                    <a:pt x="822" y="858"/>
                  </a:lnTo>
                  <a:lnTo>
                    <a:pt x="816" y="863"/>
                  </a:lnTo>
                  <a:lnTo>
                    <a:pt x="809" y="866"/>
                  </a:lnTo>
                  <a:lnTo>
                    <a:pt x="800" y="868"/>
                  </a:lnTo>
                  <a:lnTo>
                    <a:pt x="792" y="869"/>
                  </a:lnTo>
                  <a:lnTo>
                    <a:pt x="640" y="869"/>
                  </a:lnTo>
                  <a:lnTo>
                    <a:pt x="640" y="869"/>
                  </a:lnTo>
                  <a:lnTo>
                    <a:pt x="631" y="868"/>
                  </a:lnTo>
                  <a:lnTo>
                    <a:pt x="623" y="866"/>
                  </a:lnTo>
                  <a:lnTo>
                    <a:pt x="616" y="863"/>
                  </a:lnTo>
                  <a:lnTo>
                    <a:pt x="610" y="858"/>
                  </a:lnTo>
                  <a:lnTo>
                    <a:pt x="449" y="724"/>
                  </a:lnTo>
                  <a:lnTo>
                    <a:pt x="449" y="724"/>
                  </a:lnTo>
                  <a:lnTo>
                    <a:pt x="443" y="719"/>
                  </a:lnTo>
                  <a:lnTo>
                    <a:pt x="438" y="713"/>
                  </a:lnTo>
                  <a:lnTo>
                    <a:pt x="434" y="708"/>
                  </a:lnTo>
                  <a:lnTo>
                    <a:pt x="431" y="701"/>
                  </a:lnTo>
                  <a:lnTo>
                    <a:pt x="427" y="695"/>
                  </a:lnTo>
                  <a:lnTo>
                    <a:pt x="426" y="688"/>
                  </a:lnTo>
                  <a:lnTo>
                    <a:pt x="425" y="682"/>
                  </a:lnTo>
                  <a:lnTo>
                    <a:pt x="424" y="675"/>
                  </a:lnTo>
                  <a:lnTo>
                    <a:pt x="424" y="521"/>
                  </a:lnTo>
                  <a:close/>
                  <a:moveTo>
                    <a:pt x="341" y="532"/>
                  </a:moveTo>
                  <a:lnTo>
                    <a:pt x="341" y="650"/>
                  </a:lnTo>
                  <a:lnTo>
                    <a:pt x="341" y="650"/>
                  </a:lnTo>
                  <a:lnTo>
                    <a:pt x="331" y="645"/>
                  </a:lnTo>
                  <a:lnTo>
                    <a:pt x="322" y="638"/>
                  </a:lnTo>
                  <a:lnTo>
                    <a:pt x="322" y="638"/>
                  </a:lnTo>
                  <a:lnTo>
                    <a:pt x="317" y="633"/>
                  </a:lnTo>
                  <a:lnTo>
                    <a:pt x="312" y="627"/>
                  </a:lnTo>
                  <a:lnTo>
                    <a:pt x="307" y="621"/>
                  </a:lnTo>
                  <a:lnTo>
                    <a:pt x="304" y="615"/>
                  </a:lnTo>
                  <a:lnTo>
                    <a:pt x="301" y="608"/>
                  </a:lnTo>
                  <a:lnTo>
                    <a:pt x="300" y="601"/>
                  </a:lnTo>
                  <a:lnTo>
                    <a:pt x="299" y="594"/>
                  </a:lnTo>
                  <a:lnTo>
                    <a:pt x="299" y="587"/>
                  </a:lnTo>
                  <a:lnTo>
                    <a:pt x="299" y="587"/>
                  </a:lnTo>
                  <a:lnTo>
                    <a:pt x="300" y="578"/>
                  </a:lnTo>
                  <a:lnTo>
                    <a:pt x="302" y="570"/>
                  </a:lnTo>
                  <a:lnTo>
                    <a:pt x="307" y="563"/>
                  </a:lnTo>
                  <a:lnTo>
                    <a:pt x="312" y="555"/>
                  </a:lnTo>
                  <a:lnTo>
                    <a:pt x="318" y="549"/>
                  </a:lnTo>
                  <a:lnTo>
                    <a:pt x="324" y="543"/>
                  </a:lnTo>
                  <a:lnTo>
                    <a:pt x="332" y="537"/>
                  </a:lnTo>
                  <a:lnTo>
                    <a:pt x="341" y="532"/>
                  </a:lnTo>
                  <a:lnTo>
                    <a:pt x="341" y="532"/>
                  </a:lnTo>
                  <a:close/>
                  <a:moveTo>
                    <a:pt x="738" y="69"/>
                  </a:moveTo>
                  <a:lnTo>
                    <a:pt x="738" y="69"/>
                  </a:lnTo>
                  <a:lnTo>
                    <a:pt x="756" y="70"/>
                  </a:lnTo>
                  <a:lnTo>
                    <a:pt x="774" y="72"/>
                  </a:lnTo>
                  <a:lnTo>
                    <a:pt x="792" y="74"/>
                  </a:lnTo>
                  <a:lnTo>
                    <a:pt x="810" y="78"/>
                  </a:lnTo>
                  <a:lnTo>
                    <a:pt x="827" y="82"/>
                  </a:lnTo>
                  <a:lnTo>
                    <a:pt x="844" y="88"/>
                  </a:lnTo>
                  <a:lnTo>
                    <a:pt x="859" y="94"/>
                  </a:lnTo>
                  <a:lnTo>
                    <a:pt x="875" y="102"/>
                  </a:lnTo>
                  <a:lnTo>
                    <a:pt x="889" y="110"/>
                  </a:lnTo>
                  <a:lnTo>
                    <a:pt x="904" y="119"/>
                  </a:lnTo>
                  <a:lnTo>
                    <a:pt x="917" y="129"/>
                  </a:lnTo>
                  <a:lnTo>
                    <a:pt x="929" y="139"/>
                  </a:lnTo>
                  <a:lnTo>
                    <a:pt x="941" y="151"/>
                  </a:lnTo>
                  <a:lnTo>
                    <a:pt x="952" y="163"/>
                  </a:lnTo>
                  <a:lnTo>
                    <a:pt x="961" y="176"/>
                  </a:lnTo>
                  <a:lnTo>
                    <a:pt x="971" y="189"/>
                  </a:lnTo>
                  <a:lnTo>
                    <a:pt x="982" y="208"/>
                  </a:lnTo>
                  <a:lnTo>
                    <a:pt x="1008" y="208"/>
                  </a:lnTo>
                  <a:lnTo>
                    <a:pt x="1008" y="208"/>
                  </a:lnTo>
                  <a:lnTo>
                    <a:pt x="1016" y="209"/>
                  </a:lnTo>
                  <a:lnTo>
                    <a:pt x="1025" y="210"/>
                  </a:lnTo>
                  <a:lnTo>
                    <a:pt x="1032" y="212"/>
                  </a:lnTo>
                  <a:lnTo>
                    <a:pt x="1040" y="214"/>
                  </a:lnTo>
                  <a:lnTo>
                    <a:pt x="1048" y="217"/>
                  </a:lnTo>
                  <a:lnTo>
                    <a:pt x="1055" y="220"/>
                  </a:lnTo>
                  <a:lnTo>
                    <a:pt x="1061" y="224"/>
                  </a:lnTo>
                  <a:lnTo>
                    <a:pt x="1067" y="229"/>
                  </a:lnTo>
                  <a:lnTo>
                    <a:pt x="1072" y="234"/>
                  </a:lnTo>
                  <a:lnTo>
                    <a:pt x="1076" y="239"/>
                  </a:lnTo>
                  <a:lnTo>
                    <a:pt x="1081" y="245"/>
                  </a:lnTo>
                  <a:lnTo>
                    <a:pt x="1085" y="251"/>
                  </a:lnTo>
                  <a:lnTo>
                    <a:pt x="1087" y="257"/>
                  </a:lnTo>
                  <a:lnTo>
                    <a:pt x="1090" y="264"/>
                  </a:lnTo>
                  <a:lnTo>
                    <a:pt x="1091" y="271"/>
                  </a:lnTo>
                  <a:lnTo>
                    <a:pt x="1091" y="278"/>
                  </a:lnTo>
                  <a:lnTo>
                    <a:pt x="1091" y="458"/>
                  </a:lnTo>
                  <a:lnTo>
                    <a:pt x="1091" y="458"/>
                  </a:lnTo>
                  <a:lnTo>
                    <a:pt x="1079" y="455"/>
                  </a:lnTo>
                  <a:lnTo>
                    <a:pt x="1067" y="453"/>
                  </a:lnTo>
                  <a:lnTo>
                    <a:pt x="1055" y="452"/>
                  </a:lnTo>
                  <a:lnTo>
                    <a:pt x="1043" y="452"/>
                  </a:lnTo>
                  <a:lnTo>
                    <a:pt x="1043" y="452"/>
                  </a:lnTo>
                  <a:lnTo>
                    <a:pt x="1030" y="451"/>
                  </a:lnTo>
                  <a:lnTo>
                    <a:pt x="1018" y="449"/>
                  </a:lnTo>
                  <a:lnTo>
                    <a:pt x="1006" y="446"/>
                  </a:lnTo>
                  <a:lnTo>
                    <a:pt x="995" y="442"/>
                  </a:lnTo>
                  <a:lnTo>
                    <a:pt x="984" y="436"/>
                  </a:lnTo>
                  <a:lnTo>
                    <a:pt x="974" y="430"/>
                  </a:lnTo>
                  <a:lnTo>
                    <a:pt x="966" y="423"/>
                  </a:lnTo>
                  <a:lnTo>
                    <a:pt x="959" y="414"/>
                  </a:lnTo>
                  <a:lnTo>
                    <a:pt x="883" y="320"/>
                  </a:lnTo>
                  <a:lnTo>
                    <a:pt x="848" y="363"/>
                  </a:lnTo>
                  <a:lnTo>
                    <a:pt x="848" y="363"/>
                  </a:lnTo>
                  <a:lnTo>
                    <a:pt x="839" y="373"/>
                  </a:lnTo>
                  <a:lnTo>
                    <a:pt x="830" y="383"/>
                  </a:lnTo>
                  <a:lnTo>
                    <a:pt x="820" y="392"/>
                  </a:lnTo>
                  <a:lnTo>
                    <a:pt x="810" y="400"/>
                  </a:lnTo>
                  <a:lnTo>
                    <a:pt x="798" y="408"/>
                  </a:lnTo>
                  <a:lnTo>
                    <a:pt x="787" y="415"/>
                  </a:lnTo>
                  <a:lnTo>
                    <a:pt x="774" y="422"/>
                  </a:lnTo>
                  <a:lnTo>
                    <a:pt x="762" y="428"/>
                  </a:lnTo>
                  <a:lnTo>
                    <a:pt x="749" y="433"/>
                  </a:lnTo>
                  <a:lnTo>
                    <a:pt x="736" y="438"/>
                  </a:lnTo>
                  <a:lnTo>
                    <a:pt x="721" y="442"/>
                  </a:lnTo>
                  <a:lnTo>
                    <a:pt x="708" y="446"/>
                  </a:lnTo>
                  <a:lnTo>
                    <a:pt x="694" y="448"/>
                  </a:lnTo>
                  <a:lnTo>
                    <a:pt x="679" y="450"/>
                  </a:lnTo>
                  <a:lnTo>
                    <a:pt x="664" y="451"/>
                  </a:lnTo>
                  <a:lnTo>
                    <a:pt x="649" y="452"/>
                  </a:lnTo>
                  <a:lnTo>
                    <a:pt x="390" y="452"/>
                  </a:lnTo>
                  <a:lnTo>
                    <a:pt x="390" y="452"/>
                  </a:lnTo>
                  <a:lnTo>
                    <a:pt x="377" y="452"/>
                  </a:lnTo>
                  <a:lnTo>
                    <a:pt x="365" y="453"/>
                  </a:lnTo>
                  <a:lnTo>
                    <a:pt x="353" y="455"/>
                  </a:lnTo>
                  <a:lnTo>
                    <a:pt x="341" y="458"/>
                  </a:lnTo>
                  <a:lnTo>
                    <a:pt x="341" y="401"/>
                  </a:lnTo>
                  <a:lnTo>
                    <a:pt x="341" y="401"/>
                  </a:lnTo>
                  <a:lnTo>
                    <a:pt x="341" y="384"/>
                  </a:lnTo>
                  <a:lnTo>
                    <a:pt x="343" y="367"/>
                  </a:lnTo>
                  <a:lnTo>
                    <a:pt x="346" y="350"/>
                  </a:lnTo>
                  <a:lnTo>
                    <a:pt x="349" y="334"/>
                  </a:lnTo>
                  <a:lnTo>
                    <a:pt x="353" y="318"/>
                  </a:lnTo>
                  <a:lnTo>
                    <a:pt x="359" y="302"/>
                  </a:lnTo>
                  <a:lnTo>
                    <a:pt x="365" y="287"/>
                  </a:lnTo>
                  <a:lnTo>
                    <a:pt x="372" y="272"/>
                  </a:lnTo>
                  <a:lnTo>
                    <a:pt x="380" y="257"/>
                  </a:lnTo>
                  <a:lnTo>
                    <a:pt x="389" y="243"/>
                  </a:lnTo>
                  <a:lnTo>
                    <a:pt x="398" y="229"/>
                  </a:lnTo>
                  <a:lnTo>
                    <a:pt x="409" y="216"/>
                  </a:lnTo>
                  <a:lnTo>
                    <a:pt x="420" y="203"/>
                  </a:lnTo>
                  <a:lnTo>
                    <a:pt x="432" y="190"/>
                  </a:lnTo>
                  <a:lnTo>
                    <a:pt x="444" y="178"/>
                  </a:lnTo>
                  <a:lnTo>
                    <a:pt x="457" y="167"/>
                  </a:lnTo>
                  <a:lnTo>
                    <a:pt x="472" y="156"/>
                  </a:lnTo>
                  <a:lnTo>
                    <a:pt x="486" y="145"/>
                  </a:lnTo>
                  <a:lnTo>
                    <a:pt x="500" y="135"/>
                  </a:lnTo>
                  <a:lnTo>
                    <a:pt x="516" y="126"/>
                  </a:lnTo>
                  <a:lnTo>
                    <a:pt x="532" y="117"/>
                  </a:lnTo>
                  <a:lnTo>
                    <a:pt x="548" y="109"/>
                  </a:lnTo>
                  <a:lnTo>
                    <a:pt x="566" y="102"/>
                  </a:lnTo>
                  <a:lnTo>
                    <a:pt x="583" y="96"/>
                  </a:lnTo>
                  <a:lnTo>
                    <a:pt x="601" y="90"/>
                  </a:lnTo>
                  <a:lnTo>
                    <a:pt x="620" y="84"/>
                  </a:lnTo>
                  <a:lnTo>
                    <a:pt x="638" y="80"/>
                  </a:lnTo>
                  <a:lnTo>
                    <a:pt x="658" y="76"/>
                  </a:lnTo>
                  <a:lnTo>
                    <a:pt x="678" y="73"/>
                  </a:lnTo>
                  <a:lnTo>
                    <a:pt x="697" y="71"/>
                  </a:lnTo>
                  <a:lnTo>
                    <a:pt x="718" y="70"/>
                  </a:lnTo>
                  <a:lnTo>
                    <a:pt x="738" y="69"/>
                  </a:lnTo>
                  <a:lnTo>
                    <a:pt x="738" y="69"/>
                  </a:lnTo>
                  <a:close/>
                  <a:moveTo>
                    <a:pt x="142" y="1232"/>
                  </a:moveTo>
                  <a:lnTo>
                    <a:pt x="142" y="1232"/>
                  </a:lnTo>
                  <a:lnTo>
                    <a:pt x="144" y="1219"/>
                  </a:lnTo>
                  <a:lnTo>
                    <a:pt x="149" y="1207"/>
                  </a:lnTo>
                  <a:lnTo>
                    <a:pt x="154" y="1195"/>
                  </a:lnTo>
                  <a:lnTo>
                    <a:pt x="160" y="1183"/>
                  </a:lnTo>
                  <a:lnTo>
                    <a:pt x="166" y="1172"/>
                  </a:lnTo>
                  <a:lnTo>
                    <a:pt x="173" y="1161"/>
                  </a:lnTo>
                  <a:lnTo>
                    <a:pt x="181" y="1151"/>
                  </a:lnTo>
                  <a:lnTo>
                    <a:pt x="191" y="1141"/>
                  </a:lnTo>
                  <a:lnTo>
                    <a:pt x="200" y="1132"/>
                  </a:lnTo>
                  <a:lnTo>
                    <a:pt x="211" y="1123"/>
                  </a:lnTo>
                  <a:lnTo>
                    <a:pt x="222" y="1115"/>
                  </a:lnTo>
                  <a:lnTo>
                    <a:pt x="234" y="1107"/>
                  </a:lnTo>
                  <a:lnTo>
                    <a:pt x="247" y="1101"/>
                  </a:lnTo>
                  <a:lnTo>
                    <a:pt x="260" y="1095"/>
                  </a:lnTo>
                  <a:lnTo>
                    <a:pt x="274" y="1089"/>
                  </a:lnTo>
                  <a:lnTo>
                    <a:pt x="288" y="1085"/>
                  </a:lnTo>
                  <a:lnTo>
                    <a:pt x="437" y="1034"/>
                  </a:lnTo>
                  <a:lnTo>
                    <a:pt x="332" y="1224"/>
                  </a:lnTo>
                  <a:lnTo>
                    <a:pt x="616" y="1460"/>
                  </a:lnTo>
                  <a:lnTo>
                    <a:pt x="325" y="1460"/>
                  </a:lnTo>
                  <a:lnTo>
                    <a:pt x="341" y="1324"/>
                  </a:lnTo>
                  <a:lnTo>
                    <a:pt x="258" y="1318"/>
                  </a:lnTo>
                  <a:lnTo>
                    <a:pt x="242" y="1460"/>
                  </a:lnTo>
                  <a:lnTo>
                    <a:pt x="98" y="1460"/>
                  </a:lnTo>
                  <a:lnTo>
                    <a:pt x="142" y="1232"/>
                  </a:lnTo>
                  <a:close/>
                  <a:moveTo>
                    <a:pt x="1190" y="1460"/>
                  </a:moveTo>
                  <a:lnTo>
                    <a:pt x="1175" y="1318"/>
                  </a:lnTo>
                  <a:lnTo>
                    <a:pt x="1091" y="1324"/>
                  </a:lnTo>
                  <a:lnTo>
                    <a:pt x="1106" y="1460"/>
                  </a:lnTo>
                  <a:lnTo>
                    <a:pt x="816" y="1460"/>
                  </a:lnTo>
                  <a:lnTo>
                    <a:pt x="1099" y="1224"/>
                  </a:lnTo>
                  <a:lnTo>
                    <a:pt x="995" y="1034"/>
                  </a:lnTo>
                  <a:lnTo>
                    <a:pt x="1146" y="1085"/>
                  </a:lnTo>
                  <a:lnTo>
                    <a:pt x="1146" y="1085"/>
                  </a:lnTo>
                  <a:lnTo>
                    <a:pt x="1159" y="1090"/>
                  </a:lnTo>
                  <a:lnTo>
                    <a:pt x="1174" y="1095"/>
                  </a:lnTo>
                  <a:lnTo>
                    <a:pt x="1186" y="1101"/>
                  </a:lnTo>
                  <a:lnTo>
                    <a:pt x="1199" y="1108"/>
                  </a:lnTo>
                  <a:lnTo>
                    <a:pt x="1211" y="1115"/>
                  </a:lnTo>
                  <a:lnTo>
                    <a:pt x="1222" y="1123"/>
                  </a:lnTo>
                  <a:lnTo>
                    <a:pt x="1231" y="1132"/>
                  </a:lnTo>
                  <a:lnTo>
                    <a:pt x="1242" y="1141"/>
                  </a:lnTo>
                  <a:lnTo>
                    <a:pt x="1250" y="1151"/>
                  </a:lnTo>
                  <a:lnTo>
                    <a:pt x="1259" y="1161"/>
                  </a:lnTo>
                  <a:lnTo>
                    <a:pt x="1266" y="1172"/>
                  </a:lnTo>
                  <a:lnTo>
                    <a:pt x="1273" y="1183"/>
                  </a:lnTo>
                  <a:lnTo>
                    <a:pt x="1278" y="1195"/>
                  </a:lnTo>
                  <a:lnTo>
                    <a:pt x="1283" y="1207"/>
                  </a:lnTo>
                  <a:lnTo>
                    <a:pt x="1288" y="1219"/>
                  </a:lnTo>
                  <a:lnTo>
                    <a:pt x="1290" y="1232"/>
                  </a:lnTo>
                  <a:lnTo>
                    <a:pt x="1334" y="1460"/>
                  </a:lnTo>
                  <a:lnTo>
                    <a:pt x="1190" y="1460"/>
                  </a:lnTo>
                  <a:close/>
                </a:path>
              </a:pathLst>
            </a:custGeom>
            <a:solidFill>
              <a:srgbClr val="3F3A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3" name="Freeform 84">
              <a:extLst>
                <a:ext uri="{FF2B5EF4-FFF2-40B4-BE49-F238E27FC236}">
                  <a16:creationId xmlns:a16="http://schemas.microsoft.com/office/drawing/2014/main" id="{3DCE717D-C151-4D8F-A2CA-DA19E9827AB5}"/>
                </a:ext>
              </a:extLst>
            </p:cNvPr>
            <p:cNvSpPr>
              <a:spLocks noEditPoints="1"/>
            </p:cNvSpPr>
            <p:nvPr/>
          </p:nvSpPr>
          <p:spPr bwMode="auto">
            <a:xfrm>
              <a:off x="708026" y="4181475"/>
              <a:ext cx="287338" cy="374650"/>
            </a:xfrm>
            <a:custGeom>
              <a:avLst/>
              <a:gdLst>
                <a:gd name="T0" fmla="*/ 0 w 1084"/>
                <a:gd name="T1" fmla="*/ 1182 h 1182"/>
                <a:gd name="T2" fmla="*/ 1084 w 1084"/>
                <a:gd name="T3" fmla="*/ 1182 h 1182"/>
                <a:gd name="T4" fmla="*/ 1084 w 1084"/>
                <a:gd name="T5" fmla="*/ 0 h 1182"/>
                <a:gd name="T6" fmla="*/ 0 w 1084"/>
                <a:gd name="T7" fmla="*/ 0 h 1182"/>
                <a:gd name="T8" fmla="*/ 0 w 1084"/>
                <a:gd name="T9" fmla="*/ 1182 h 1182"/>
                <a:gd name="T10" fmla="*/ 83 w 1084"/>
                <a:gd name="T11" fmla="*/ 69 h 1182"/>
                <a:gd name="T12" fmla="*/ 1001 w 1084"/>
                <a:gd name="T13" fmla="*/ 69 h 1182"/>
                <a:gd name="T14" fmla="*/ 1001 w 1084"/>
                <a:gd name="T15" fmla="*/ 1113 h 1182"/>
                <a:gd name="T16" fmla="*/ 83 w 1084"/>
                <a:gd name="T17" fmla="*/ 1113 h 1182"/>
                <a:gd name="T18" fmla="*/ 83 w 1084"/>
                <a:gd name="T19" fmla="*/ 69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4" h="1182">
                  <a:moveTo>
                    <a:pt x="0" y="1182"/>
                  </a:moveTo>
                  <a:lnTo>
                    <a:pt x="1084" y="1182"/>
                  </a:lnTo>
                  <a:lnTo>
                    <a:pt x="1084" y="0"/>
                  </a:lnTo>
                  <a:lnTo>
                    <a:pt x="0" y="0"/>
                  </a:lnTo>
                  <a:lnTo>
                    <a:pt x="0" y="1182"/>
                  </a:lnTo>
                  <a:close/>
                  <a:moveTo>
                    <a:pt x="83" y="69"/>
                  </a:moveTo>
                  <a:lnTo>
                    <a:pt x="1001" y="69"/>
                  </a:lnTo>
                  <a:lnTo>
                    <a:pt x="1001" y="1113"/>
                  </a:lnTo>
                  <a:lnTo>
                    <a:pt x="83" y="1113"/>
                  </a:lnTo>
                  <a:lnTo>
                    <a:pt x="83" y="69"/>
                  </a:lnTo>
                  <a:close/>
                </a:path>
              </a:pathLst>
            </a:custGeom>
            <a:solidFill>
              <a:srgbClr val="3F3A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4" name="Freeform 85">
              <a:extLst>
                <a:ext uri="{FF2B5EF4-FFF2-40B4-BE49-F238E27FC236}">
                  <a16:creationId xmlns:a16="http://schemas.microsoft.com/office/drawing/2014/main" id="{42002E27-2B42-45F9-8E04-1CB8271944E6}"/>
                </a:ext>
              </a:extLst>
            </p:cNvPr>
            <p:cNvSpPr>
              <a:spLocks noEditPoints="1"/>
            </p:cNvSpPr>
            <p:nvPr/>
          </p:nvSpPr>
          <p:spPr bwMode="auto">
            <a:xfrm>
              <a:off x="752476" y="4225925"/>
              <a:ext cx="66675" cy="87312"/>
            </a:xfrm>
            <a:custGeom>
              <a:avLst/>
              <a:gdLst>
                <a:gd name="T0" fmla="*/ 0 w 250"/>
                <a:gd name="T1" fmla="*/ 278 h 278"/>
                <a:gd name="T2" fmla="*/ 250 w 250"/>
                <a:gd name="T3" fmla="*/ 278 h 278"/>
                <a:gd name="T4" fmla="*/ 250 w 250"/>
                <a:gd name="T5" fmla="*/ 0 h 278"/>
                <a:gd name="T6" fmla="*/ 0 w 250"/>
                <a:gd name="T7" fmla="*/ 0 h 278"/>
                <a:gd name="T8" fmla="*/ 0 w 250"/>
                <a:gd name="T9" fmla="*/ 278 h 278"/>
                <a:gd name="T10" fmla="*/ 83 w 250"/>
                <a:gd name="T11" fmla="*/ 69 h 278"/>
                <a:gd name="T12" fmla="*/ 167 w 250"/>
                <a:gd name="T13" fmla="*/ 69 h 278"/>
                <a:gd name="T14" fmla="*/ 167 w 250"/>
                <a:gd name="T15" fmla="*/ 208 h 278"/>
                <a:gd name="T16" fmla="*/ 83 w 250"/>
                <a:gd name="T17" fmla="*/ 208 h 278"/>
                <a:gd name="T18" fmla="*/ 83 w 250"/>
                <a:gd name="T19" fmla="*/ 6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78">
                  <a:moveTo>
                    <a:pt x="0" y="278"/>
                  </a:moveTo>
                  <a:lnTo>
                    <a:pt x="250" y="278"/>
                  </a:lnTo>
                  <a:lnTo>
                    <a:pt x="250" y="0"/>
                  </a:lnTo>
                  <a:lnTo>
                    <a:pt x="0" y="0"/>
                  </a:lnTo>
                  <a:lnTo>
                    <a:pt x="0" y="278"/>
                  </a:lnTo>
                  <a:close/>
                  <a:moveTo>
                    <a:pt x="83" y="69"/>
                  </a:moveTo>
                  <a:lnTo>
                    <a:pt x="167" y="69"/>
                  </a:lnTo>
                  <a:lnTo>
                    <a:pt x="167" y="208"/>
                  </a:lnTo>
                  <a:lnTo>
                    <a:pt x="83" y="208"/>
                  </a:lnTo>
                  <a:lnTo>
                    <a:pt x="83" y="69"/>
                  </a:lnTo>
                  <a:close/>
                </a:path>
              </a:pathLst>
            </a:custGeom>
            <a:solidFill>
              <a:srgbClr val="3F3A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5" name="Freeform 86">
              <a:extLst>
                <a:ext uri="{FF2B5EF4-FFF2-40B4-BE49-F238E27FC236}">
                  <a16:creationId xmlns:a16="http://schemas.microsoft.com/office/drawing/2014/main" id="{E4C675F4-BA9F-4184-8C4D-CECF98B34EEF}"/>
                </a:ext>
              </a:extLst>
            </p:cNvPr>
            <p:cNvSpPr>
              <a:spLocks noEditPoints="1"/>
            </p:cNvSpPr>
            <p:nvPr/>
          </p:nvSpPr>
          <p:spPr bwMode="auto">
            <a:xfrm>
              <a:off x="885826" y="4424363"/>
              <a:ext cx="65088" cy="87312"/>
            </a:xfrm>
            <a:custGeom>
              <a:avLst/>
              <a:gdLst>
                <a:gd name="T0" fmla="*/ 0 w 249"/>
                <a:gd name="T1" fmla="*/ 278 h 278"/>
                <a:gd name="T2" fmla="*/ 249 w 249"/>
                <a:gd name="T3" fmla="*/ 278 h 278"/>
                <a:gd name="T4" fmla="*/ 249 w 249"/>
                <a:gd name="T5" fmla="*/ 0 h 278"/>
                <a:gd name="T6" fmla="*/ 0 w 249"/>
                <a:gd name="T7" fmla="*/ 0 h 278"/>
                <a:gd name="T8" fmla="*/ 0 w 249"/>
                <a:gd name="T9" fmla="*/ 278 h 278"/>
                <a:gd name="T10" fmla="*/ 82 w 249"/>
                <a:gd name="T11" fmla="*/ 70 h 278"/>
                <a:gd name="T12" fmla="*/ 166 w 249"/>
                <a:gd name="T13" fmla="*/ 70 h 278"/>
                <a:gd name="T14" fmla="*/ 166 w 249"/>
                <a:gd name="T15" fmla="*/ 209 h 278"/>
                <a:gd name="T16" fmla="*/ 82 w 249"/>
                <a:gd name="T17" fmla="*/ 209 h 278"/>
                <a:gd name="T18" fmla="*/ 82 w 249"/>
                <a:gd name="T19" fmla="*/ 7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9" h="278">
                  <a:moveTo>
                    <a:pt x="0" y="278"/>
                  </a:moveTo>
                  <a:lnTo>
                    <a:pt x="249" y="278"/>
                  </a:lnTo>
                  <a:lnTo>
                    <a:pt x="249" y="0"/>
                  </a:lnTo>
                  <a:lnTo>
                    <a:pt x="0" y="0"/>
                  </a:lnTo>
                  <a:lnTo>
                    <a:pt x="0" y="278"/>
                  </a:lnTo>
                  <a:close/>
                  <a:moveTo>
                    <a:pt x="82" y="70"/>
                  </a:moveTo>
                  <a:lnTo>
                    <a:pt x="166" y="70"/>
                  </a:lnTo>
                  <a:lnTo>
                    <a:pt x="166" y="209"/>
                  </a:lnTo>
                  <a:lnTo>
                    <a:pt x="82" y="209"/>
                  </a:lnTo>
                  <a:lnTo>
                    <a:pt x="82" y="70"/>
                  </a:lnTo>
                  <a:close/>
                </a:path>
              </a:pathLst>
            </a:custGeom>
            <a:solidFill>
              <a:srgbClr val="3F3A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6" name="Freeform 87">
              <a:extLst>
                <a:ext uri="{FF2B5EF4-FFF2-40B4-BE49-F238E27FC236}">
                  <a16:creationId xmlns:a16="http://schemas.microsoft.com/office/drawing/2014/main" id="{3152F0DE-7D94-4494-BE20-B1A08AA84669}"/>
                </a:ext>
              </a:extLst>
            </p:cNvPr>
            <p:cNvSpPr>
              <a:spLocks/>
            </p:cNvSpPr>
            <p:nvPr/>
          </p:nvSpPr>
          <p:spPr bwMode="auto">
            <a:xfrm>
              <a:off x="733426" y="3956050"/>
              <a:ext cx="261938" cy="203200"/>
            </a:xfrm>
            <a:custGeom>
              <a:avLst/>
              <a:gdLst>
                <a:gd name="T0" fmla="*/ 883 w 991"/>
                <a:gd name="T1" fmla="*/ 64 h 639"/>
                <a:gd name="T2" fmla="*/ 867 w 991"/>
                <a:gd name="T3" fmla="*/ 31 h 639"/>
                <a:gd name="T4" fmla="*/ 848 w 991"/>
                <a:gd name="T5" fmla="*/ 0 h 639"/>
                <a:gd name="T6" fmla="*/ 776 w 991"/>
                <a:gd name="T7" fmla="*/ 34 h 639"/>
                <a:gd name="T8" fmla="*/ 795 w 991"/>
                <a:gd name="T9" fmla="*/ 68 h 639"/>
                <a:gd name="T10" fmla="*/ 810 w 991"/>
                <a:gd name="T11" fmla="*/ 103 h 639"/>
                <a:gd name="T12" fmla="*/ 908 w 991"/>
                <a:gd name="T13" fmla="*/ 138 h 639"/>
                <a:gd name="T14" fmla="*/ 817 w 991"/>
                <a:gd name="T15" fmla="*/ 251 h 639"/>
                <a:gd name="T16" fmla="*/ 810 w 991"/>
                <a:gd name="T17" fmla="*/ 272 h 639"/>
                <a:gd name="T18" fmla="*/ 795 w 991"/>
                <a:gd name="T19" fmla="*/ 308 h 639"/>
                <a:gd name="T20" fmla="*/ 776 w 991"/>
                <a:gd name="T21" fmla="*/ 341 h 639"/>
                <a:gd name="T22" fmla="*/ 815 w 991"/>
                <a:gd name="T23" fmla="*/ 423 h 639"/>
                <a:gd name="T24" fmla="*/ 655 w 991"/>
                <a:gd name="T25" fmla="*/ 449 h 639"/>
                <a:gd name="T26" fmla="*/ 633 w 991"/>
                <a:gd name="T27" fmla="*/ 460 h 639"/>
                <a:gd name="T28" fmla="*/ 593 w 991"/>
                <a:gd name="T29" fmla="*/ 476 h 639"/>
                <a:gd name="T30" fmla="*/ 551 w 991"/>
                <a:gd name="T31" fmla="*/ 488 h 639"/>
                <a:gd name="T32" fmla="*/ 509 w 991"/>
                <a:gd name="T33" fmla="*/ 570 h 639"/>
                <a:gd name="T34" fmla="*/ 373 w 991"/>
                <a:gd name="T35" fmla="*/ 494 h 639"/>
                <a:gd name="T36" fmla="*/ 348 w 991"/>
                <a:gd name="T37" fmla="*/ 488 h 639"/>
                <a:gd name="T38" fmla="*/ 306 w 991"/>
                <a:gd name="T39" fmla="*/ 476 h 639"/>
                <a:gd name="T40" fmla="*/ 265 w 991"/>
                <a:gd name="T41" fmla="*/ 460 h 639"/>
                <a:gd name="T42" fmla="*/ 167 w 991"/>
                <a:gd name="T43" fmla="*/ 493 h 639"/>
                <a:gd name="T44" fmla="*/ 0 w 991"/>
                <a:gd name="T45" fmla="*/ 452 h 639"/>
                <a:gd name="T46" fmla="*/ 247 w 991"/>
                <a:gd name="T47" fmla="*/ 531 h 639"/>
                <a:gd name="T48" fmla="*/ 273 w 991"/>
                <a:gd name="T49" fmla="*/ 540 h 639"/>
                <a:gd name="T50" fmla="*/ 320 w 991"/>
                <a:gd name="T51" fmla="*/ 639 h 639"/>
                <a:gd name="T52" fmla="*/ 597 w 991"/>
                <a:gd name="T53" fmla="*/ 549 h 639"/>
                <a:gd name="T54" fmla="*/ 625 w 991"/>
                <a:gd name="T55" fmla="*/ 540 h 639"/>
                <a:gd name="T56" fmla="*/ 741 w 991"/>
                <a:gd name="T57" fmla="*/ 583 h 639"/>
                <a:gd name="T58" fmla="*/ 860 w 991"/>
                <a:gd name="T59" fmla="*/ 356 h 639"/>
                <a:gd name="T60" fmla="*/ 872 w 991"/>
                <a:gd name="T61" fmla="*/ 334 h 639"/>
                <a:gd name="T62" fmla="*/ 991 w 991"/>
                <a:gd name="T63" fmla="*/ 295 h 639"/>
                <a:gd name="T64" fmla="*/ 883 w 991"/>
                <a:gd name="T65" fmla="*/ 64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1" h="639">
                  <a:moveTo>
                    <a:pt x="883" y="64"/>
                  </a:moveTo>
                  <a:lnTo>
                    <a:pt x="883" y="64"/>
                  </a:lnTo>
                  <a:lnTo>
                    <a:pt x="876" y="47"/>
                  </a:lnTo>
                  <a:lnTo>
                    <a:pt x="867" y="31"/>
                  </a:lnTo>
                  <a:lnTo>
                    <a:pt x="858" y="16"/>
                  </a:lnTo>
                  <a:lnTo>
                    <a:pt x="848" y="0"/>
                  </a:lnTo>
                  <a:lnTo>
                    <a:pt x="776" y="34"/>
                  </a:lnTo>
                  <a:lnTo>
                    <a:pt x="776" y="34"/>
                  </a:lnTo>
                  <a:lnTo>
                    <a:pt x="786" y="51"/>
                  </a:lnTo>
                  <a:lnTo>
                    <a:pt x="795" y="68"/>
                  </a:lnTo>
                  <a:lnTo>
                    <a:pt x="804" y="85"/>
                  </a:lnTo>
                  <a:lnTo>
                    <a:pt x="810" y="103"/>
                  </a:lnTo>
                  <a:lnTo>
                    <a:pt x="817" y="124"/>
                  </a:lnTo>
                  <a:lnTo>
                    <a:pt x="908" y="138"/>
                  </a:lnTo>
                  <a:lnTo>
                    <a:pt x="908" y="237"/>
                  </a:lnTo>
                  <a:lnTo>
                    <a:pt x="817" y="251"/>
                  </a:lnTo>
                  <a:lnTo>
                    <a:pt x="810" y="272"/>
                  </a:lnTo>
                  <a:lnTo>
                    <a:pt x="810" y="272"/>
                  </a:lnTo>
                  <a:lnTo>
                    <a:pt x="804" y="290"/>
                  </a:lnTo>
                  <a:lnTo>
                    <a:pt x="795" y="308"/>
                  </a:lnTo>
                  <a:lnTo>
                    <a:pt x="786" y="324"/>
                  </a:lnTo>
                  <a:lnTo>
                    <a:pt x="776" y="341"/>
                  </a:lnTo>
                  <a:lnTo>
                    <a:pt x="763" y="360"/>
                  </a:lnTo>
                  <a:lnTo>
                    <a:pt x="815" y="423"/>
                  </a:lnTo>
                  <a:lnTo>
                    <a:pt x="732" y="493"/>
                  </a:lnTo>
                  <a:lnTo>
                    <a:pt x="655" y="449"/>
                  </a:lnTo>
                  <a:lnTo>
                    <a:pt x="633" y="460"/>
                  </a:lnTo>
                  <a:lnTo>
                    <a:pt x="633" y="460"/>
                  </a:lnTo>
                  <a:lnTo>
                    <a:pt x="613" y="469"/>
                  </a:lnTo>
                  <a:lnTo>
                    <a:pt x="593" y="476"/>
                  </a:lnTo>
                  <a:lnTo>
                    <a:pt x="572" y="483"/>
                  </a:lnTo>
                  <a:lnTo>
                    <a:pt x="551" y="488"/>
                  </a:lnTo>
                  <a:lnTo>
                    <a:pt x="525" y="494"/>
                  </a:lnTo>
                  <a:lnTo>
                    <a:pt x="509" y="570"/>
                  </a:lnTo>
                  <a:lnTo>
                    <a:pt x="390" y="570"/>
                  </a:lnTo>
                  <a:lnTo>
                    <a:pt x="373" y="494"/>
                  </a:lnTo>
                  <a:lnTo>
                    <a:pt x="348" y="488"/>
                  </a:lnTo>
                  <a:lnTo>
                    <a:pt x="348" y="488"/>
                  </a:lnTo>
                  <a:lnTo>
                    <a:pt x="326" y="483"/>
                  </a:lnTo>
                  <a:lnTo>
                    <a:pt x="306" y="476"/>
                  </a:lnTo>
                  <a:lnTo>
                    <a:pt x="285" y="469"/>
                  </a:lnTo>
                  <a:lnTo>
                    <a:pt x="265" y="460"/>
                  </a:lnTo>
                  <a:lnTo>
                    <a:pt x="242" y="449"/>
                  </a:lnTo>
                  <a:lnTo>
                    <a:pt x="167" y="493"/>
                  </a:lnTo>
                  <a:lnTo>
                    <a:pt x="59" y="403"/>
                  </a:lnTo>
                  <a:lnTo>
                    <a:pt x="0" y="452"/>
                  </a:lnTo>
                  <a:lnTo>
                    <a:pt x="157" y="583"/>
                  </a:lnTo>
                  <a:lnTo>
                    <a:pt x="247" y="531"/>
                  </a:lnTo>
                  <a:lnTo>
                    <a:pt x="247" y="531"/>
                  </a:lnTo>
                  <a:lnTo>
                    <a:pt x="273" y="540"/>
                  </a:lnTo>
                  <a:lnTo>
                    <a:pt x="300" y="549"/>
                  </a:lnTo>
                  <a:lnTo>
                    <a:pt x="320" y="639"/>
                  </a:lnTo>
                  <a:lnTo>
                    <a:pt x="577" y="639"/>
                  </a:lnTo>
                  <a:lnTo>
                    <a:pt x="597" y="549"/>
                  </a:lnTo>
                  <a:lnTo>
                    <a:pt x="597" y="549"/>
                  </a:lnTo>
                  <a:lnTo>
                    <a:pt x="625" y="540"/>
                  </a:lnTo>
                  <a:lnTo>
                    <a:pt x="650" y="531"/>
                  </a:lnTo>
                  <a:lnTo>
                    <a:pt x="741" y="583"/>
                  </a:lnTo>
                  <a:lnTo>
                    <a:pt x="923" y="431"/>
                  </a:lnTo>
                  <a:lnTo>
                    <a:pt x="860" y="356"/>
                  </a:lnTo>
                  <a:lnTo>
                    <a:pt x="860" y="356"/>
                  </a:lnTo>
                  <a:lnTo>
                    <a:pt x="872" y="334"/>
                  </a:lnTo>
                  <a:lnTo>
                    <a:pt x="883" y="312"/>
                  </a:lnTo>
                  <a:lnTo>
                    <a:pt x="991" y="295"/>
                  </a:lnTo>
                  <a:lnTo>
                    <a:pt x="991" y="81"/>
                  </a:lnTo>
                  <a:lnTo>
                    <a:pt x="883" y="64"/>
                  </a:lnTo>
                  <a:close/>
                </a:path>
              </a:pathLst>
            </a:custGeom>
            <a:solidFill>
              <a:srgbClr val="3F3A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7" name="Freeform 88">
              <a:extLst>
                <a:ext uri="{FF2B5EF4-FFF2-40B4-BE49-F238E27FC236}">
                  <a16:creationId xmlns:a16="http://schemas.microsoft.com/office/drawing/2014/main" id="{09DE522F-220F-4F53-B975-7834E488B269}"/>
                </a:ext>
              </a:extLst>
            </p:cNvPr>
            <p:cNvSpPr>
              <a:spLocks/>
            </p:cNvSpPr>
            <p:nvPr/>
          </p:nvSpPr>
          <p:spPr bwMode="auto">
            <a:xfrm>
              <a:off x="708026" y="3871913"/>
              <a:ext cx="263525" cy="203200"/>
            </a:xfrm>
            <a:custGeom>
              <a:avLst/>
              <a:gdLst>
                <a:gd name="T0" fmla="*/ 215 w 992"/>
                <a:gd name="T1" fmla="*/ 605 h 639"/>
                <a:gd name="T2" fmla="*/ 204 w 992"/>
                <a:gd name="T3" fmla="*/ 588 h 639"/>
                <a:gd name="T4" fmla="*/ 188 w 992"/>
                <a:gd name="T5" fmla="*/ 554 h 639"/>
                <a:gd name="T6" fmla="*/ 174 w 992"/>
                <a:gd name="T7" fmla="*/ 515 h 639"/>
                <a:gd name="T8" fmla="*/ 83 w 992"/>
                <a:gd name="T9" fmla="*/ 402 h 639"/>
                <a:gd name="T10" fmla="*/ 182 w 992"/>
                <a:gd name="T11" fmla="*/ 367 h 639"/>
                <a:gd name="T12" fmla="*/ 188 w 992"/>
                <a:gd name="T13" fmla="*/ 349 h 639"/>
                <a:gd name="T14" fmla="*/ 204 w 992"/>
                <a:gd name="T15" fmla="*/ 315 h 639"/>
                <a:gd name="T16" fmla="*/ 228 w 992"/>
                <a:gd name="T17" fmla="*/ 280 h 639"/>
                <a:gd name="T18" fmla="*/ 260 w 992"/>
                <a:gd name="T19" fmla="*/ 147 h 639"/>
                <a:gd name="T20" fmla="*/ 358 w 992"/>
                <a:gd name="T21" fmla="*/ 179 h 639"/>
                <a:gd name="T22" fmla="*/ 378 w 992"/>
                <a:gd name="T23" fmla="*/ 171 h 639"/>
                <a:gd name="T24" fmla="*/ 419 w 992"/>
                <a:gd name="T25" fmla="*/ 156 h 639"/>
                <a:gd name="T26" fmla="*/ 466 w 992"/>
                <a:gd name="T27" fmla="*/ 145 h 639"/>
                <a:gd name="T28" fmla="*/ 602 w 992"/>
                <a:gd name="T29" fmla="*/ 69 h 639"/>
                <a:gd name="T30" fmla="*/ 644 w 992"/>
                <a:gd name="T31" fmla="*/ 151 h 639"/>
                <a:gd name="T32" fmla="*/ 665 w 992"/>
                <a:gd name="T33" fmla="*/ 156 h 639"/>
                <a:gd name="T34" fmla="*/ 706 w 992"/>
                <a:gd name="T35" fmla="*/ 171 h 639"/>
                <a:gd name="T36" fmla="*/ 748 w 992"/>
                <a:gd name="T37" fmla="*/ 190 h 639"/>
                <a:gd name="T38" fmla="*/ 933 w 992"/>
                <a:gd name="T39" fmla="*/ 237 h 639"/>
                <a:gd name="T40" fmla="*/ 834 w 992"/>
                <a:gd name="T41" fmla="*/ 57 h 639"/>
                <a:gd name="T42" fmla="*/ 743 w 992"/>
                <a:gd name="T43" fmla="*/ 109 h 639"/>
                <a:gd name="T44" fmla="*/ 690 w 992"/>
                <a:gd name="T45" fmla="*/ 90 h 639"/>
                <a:gd name="T46" fmla="*/ 413 w 992"/>
                <a:gd name="T47" fmla="*/ 0 h 639"/>
                <a:gd name="T48" fmla="*/ 393 w 992"/>
                <a:gd name="T49" fmla="*/ 90 h 639"/>
                <a:gd name="T50" fmla="*/ 340 w 992"/>
                <a:gd name="T51" fmla="*/ 109 h 639"/>
                <a:gd name="T52" fmla="*/ 68 w 992"/>
                <a:gd name="T53" fmla="*/ 208 h 639"/>
                <a:gd name="T54" fmla="*/ 130 w 992"/>
                <a:gd name="T55" fmla="*/ 284 h 639"/>
                <a:gd name="T56" fmla="*/ 108 w 992"/>
                <a:gd name="T57" fmla="*/ 328 h 639"/>
                <a:gd name="T58" fmla="*/ 0 w 992"/>
                <a:gd name="T59" fmla="*/ 559 h 639"/>
                <a:gd name="T60" fmla="*/ 108 w 992"/>
                <a:gd name="T61" fmla="*/ 576 h 639"/>
                <a:gd name="T62" fmla="*/ 124 w 992"/>
                <a:gd name="T63" fmla="*/ 608 h 639"/>
                <a:gd name="T64" fmla="*/ 142 w 992"/>
                <a:gd name="T65" fmla="*/ 639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2" h="639">
                  <a:moveTo>
                    <a:pt x="142" y="639"/>
                  </a:moveTo>
                  <a:lnTo>
                    <a:pt x="215" y="605"/>
                  </a:lnTo>
                  <a:lnTo>
                    <a:pt x="215" y="605"/>
                  </a:lnTo>
                  <a:lnTo>
                    <a:pt x="204" y="588"/>
                  </a:lnTo>
                  <a:lnTo>
                    <a:pt x="196" y="572"/>
                  </a:lnTo>
                  <a:lnTo>
                    <a:pt x="188" y="554"/>
                  </a:lnTo>
                  <a:lnTo>
                    <a:pt x="182" y="536"/>
                  </a:lnTo>
                  <a:lnTo>
                    <a:pt x="174" y="515"/>
                  </a:lnTo>
                  <a:lnTo>
                    <a:pt x="83" y="501"/>
                  </a:lnTo>
                  <a:lnTo>
                    <a:pt x="83" y="402"/>
                  </a:lnTo>
                  <a:lnTo>
                    <a:pt x="174" y="388"/>
                  </a:lnTo>
                  <a:lnTo>
                    <a:pt x="182" y="367"/>
                  </a:lnTo>
                  <a:lnTo>
                    <a:pt x="182" y="367"/>
                  </a:lnTo>
                  <a:lnTo>
                    <a:pt x="188" y="349"/>
                  </a:lnTo>
                  <a:lnTo>
                    <a:pt x="196" y="332"/>
                  </a:lnTo>
                  <a:lnTo>
                    <a:pt x="204" y="315"/>
                  </a:lnTo>
                  <a:lnTo>
                    <a:pt x="215" y="298"/>
                  </a:lnTo>
                  <a:lnTo>
                    <a:pt x="228" y="280"/>
                  </a:lnTo>
                  <a:lnTo>
                    <a:pt x="176" y="216"/>
                  </a:lnTo>
                  <a:lnTo>
                    <a:pt x="260" y="147"/>
                  </a:lnTo>
                  <a:lnTo>
                    <a:pt x="335" y="190"/>
                  </a:lnTo>
                  <a:lnTo>
                    <a:pt x="358" y="179"/>
                  </a:lnTo>
                  <a:lnTo>
                    <a:pt x="358" y="179"/>
                  </a:lnTo>
                  <a:lnTo>
                    <a:pt x="378" y="171"/>
                  </a:lnTo>
                  <a:lnTo>
                    <a:pt x="398" y="163"/>
                  </a:lnTo>
                  <a:lnTo>
                    <a:pt x="419" y="156"/>
                  </a:lnTo>
                  <a:lnTo>
                    <a:pt x="441" y="151"/>
                  </a:lnTo>
                  <a:lnTo>
                    <a:pt x="466" y="145"/>
                  </a:lnTo>
                  <a:lnTo>
                    <a:pt x="483" y="69"/>
                  </a:lnTo>
                  <a:lnTo>
                    <a:pt x="602" y="69"/>
                  </a:lnTo>
                  <a:lnTo>
                    <a:pt x="618" y="145"/>
                  </a:lnTo>
                  <a:lnTo>
                    <a:pt x="644" y="151"/>
                  </a:lnTo>
                  <a:lnTo>
                    <a:pt x="644" y="151"/>
                  </a:lnTo>
                  <a:lnTo>
                    <a:pt x="665" y="156"/>
                  </a:lnTo>
                  <a:lnTo>
                    <a:pt x="686" y="163"/>
                  </a:lnTo>
                  <a:lnTo>
                    <a:pt x="706" y="171"/>
                  </a:lnTo>
                  <a:lnTo>
                    <a:pt x="726" y="179"/>
                  </a:lnTo>
                  <a:lnTo>
                    <a:pt x="748" y="190"/>
                  </a:lnTo>
                  <a:lnTo>
                    <a:pt x="825" y="147"/>
                  </a:lnTo>
                  <a:lnTo>
                    <a:pt x="933" y="237"/>
                  </a:lnTo>
                  <a:lnTo>
                    <a:pt x="992" y="188"/>
                  </a:lnTo>
                  <a:lnTo>
                    <a:pt x="834" y="57"/>
                  </a:lnTo>
                  <a:lnTo>
                    <a:pt x="743" y="109"/>
                  </a:lnTo>
                  <a:lnTo>
                    <a:pt x="743" y="109"/>
                  </a:lnTo>
                  <a:lnTo>
                    <a:pt x="718" y="99"/>
                  </a:lnTo>
                  <a:lnTo>
                    <a:pt x="690" y="90"/>
                  </a:lnTo>
                  <a:lnTo>
                    <a:pt x="670" y="0"/>
                  </a:lnTo>
                  <a:lnTo>
                    <a:pt x="413" y="0"/>
                  </a:lnTo>
                  <a:lnTo>
                    <a:pt x="393" y="90"/>
                  </a:lnTo>
                  <a:lnTo>
                    <a:pt x="393" y="90"/>
                  </a:lnTo>
                  <a:lnTo>
                    <a:pt x="366" y="99"/>
                  </a:lnTo>
                  <a:lnTo>
                    <a:pt x="340" y="109"/>
                  </a:lnTo>
                  <a:lnTo>
                    <a:pt x="250" y="57"/>
                  </a:lnTo>
                  <a:lnTo>
                    <a:pt x="68" y="208"/>
                  </a:lnTo>
                  <a:lnTo>
                    <a:pt x="130" y="284"/>
                  </a:lnTo>
                  <a:lnTo>
                    <a:pt x="130" y="284"/>
                  </a:lnTo>
                  <a:lnTo>
                    <a:pt x="119" y="305"/>
                  </a:lnTo>
                  <a:lnTo>
                    <a:pt x="108" y="328"/>
                  </a:lnTo>
                  <a:lnTo>
                    <a:pt x="0" y="345"/>
                  </a:lnTo>
                  <a:lnTo>
                    <a:pt x="0" y="559"/>
                  </a:lnTo>
                  <a:lnTo>
                    <a:pt x="108" y="576"/>
                  </a:lnTo>
                  <a:lnTo>
                    <a:pt x="108" y="576"/>
                  </a:lnTo>
                  <a:lnTo>
                    <a:pt x="116" y="592"/>
                  </a:lnTo>
                  <a:lnTo>
                    <a:pt x="124" y="608"/>
                  </a:lnTo>
                  <a:lnTo>
                    <a:pt x="132" y="624"/>
                  </a:lnTo>
                  <a:lnTo>
                    <a:pt x="142" y="639"/>
                  </a:lnTo>
                  <a:lnTo>
                    <a:pt x="142" y="639"/>
                  </a:lnTo>
                  <a:close/>
                </a:path>
              </a:pathLst>
            </a:custGeom>
            <a:solidFill>
              <a:srgbClr val="3F3A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8" name="Freeform 89">
              <a:extLst>
                <a:ext uri="{FF2B5EF4-FFF2-40B4-BE49-F238E27FC236}">
                  <a16:creationId xmlns:a16="http://schemas.microsoft.com/office/drawing/2014/main" id="{1ED97E51-DE55-4189-9453-D983C4657D21}"/>
                </a:ext>
              </a:extLst>
            </p:cNvPr>
            <p:cNvSpPr>
              <a:spLocks noEditPoints="1"/>
            </p:cNvSpPr>
            <p:nvPr/>
          </p:nvSpPr>
          <p:spPr bwMode="auto">
            <a:xfrm>
              <a:off x="774701" y="3938588"/>
              <a:ext cx="153988" cy="153987"/>
            </a:xfrm>
            <a:custGeom>
              <a:avLst/>
              <a:gdLst>
                <a:gd name="T0" fmla="*/ 277 w 584"/>
                <a:gd name="T1" fmla="*/ 1 h 487"/>
                <a:gd name="T2" fmla="*/ 233 w 584"/>
                <a:gd name="T3" fmla="*/ 5 h 487"/>
                <a:gd name="T4" fmla="*/ 179 w 584"/>
                <a:gd name="T5" fmla="*/ 20 h 487"/>
                <a:gd name="T6" fmla="*/ 107 w 584"/>
                <a:gd name="T7" fmla="*/ 56 h 487"/>
                <a:gd name="T8" fmla="*/ 50 w 584"/>
                <a:gd name="T9" fmla="*/ 108 h 487"/>
                <a:gd name="T10" fmla="*/ 13 w 584"/>
                <a:gd name="T11" fmla="*/ 171 h 487"/>
                <a:gd name="T12" fmla="*/ 4 w 584"/>
                <a:gd name="T13" fmla="*/ 207 h 487"/>
                <a:gd name="T14" fmla="*/ 0 w 584"/>
                <a:gd name="T15" fmla="*/ 244 h 487"/>
                <a:gd name="T16" fmla="*/ 1 w 584"/>
                <a:gd name="T17" fmla="*/ 268 h 487"/>
                <a:gd name="T18" fmla="*/ 10 w 584"/>
                <a:gd name="T19" fmla="*/ 304 h 487"/>
                <a:gd name="T20" fmla="*/ 36 w 584"/>
                <a:gd name="T21" fmla="*/ 359 h 487"/>
                <a:gd name="T22" fmla="*/ 85 w 584"/>
                <a:gd name="T23" fmla="*/ 416 h 487"/>
                <a:gd name="T24" fmla="*/ 154 w 584"/>
                <a:gd name="T25" fmla="*/ 457 h 487"/>
                <a:gd name="T26" fmla="*/ 220 w 584"/>
                <a:gd name="T27" fmla="*/ 479 h 487"/>
                <a:gd name="T28" fmla="*/ 263 w 584"/>
                <a:gd name="T29" fmla="*/ 486 h 487"/>
                <a:gd name="T30" fmla="*/ 292 w 584"/>
                <a:gd name="T31" fmla="*/ 487 h 487"/>
                <a:gd name="T32" fmla="*/ 336 w 584"/>
                <a:gd name="T33" fmla="*/ 484 h 487"/>
                <a:gd name="T34" fmla="*/ 379 w 584"/>
                <a:gd name="T35" fmla="*/ 476 h 487"/>
                <a:gd name="T36" fmla="*/ 455 w 584"/>
                <a:gd name="T37" fmla="*/ 445 h 487"/>
                <a:gd name="T38" fmla="*/ 517 w 584"/>
                <a:gd name="T39" fmla="*/ 398 h 487"/>
                <a:gd name="T40" fmla="*/ 560 w 584"/>
                <a:gd name="T41" fmla="*/ 338 h 487"/>
                <a:gd name="T42" fmla="*/ 578 w 584"/>
                <a:gd name="T43" fmla="*/ 293 h 487"/>
                <a:gd name="T44" fmla="*/ 583 w 584"/>
                <a:gd name="T45" fmla="*/ 256 h 487"/>
                <a:gd name="T46" fmla="*/ 583 w 584"/>
                <a:gd name="T47" fmla="*/ 231 h 487"/>
                <a:gd name="T48" fmla="*/ 578 w 584"/>
                <a:gd name="T49" fmla="*/ 195 h 487"/>
                <a:gd name="T50" fmla="*/ 560 w 584"/>
                <a:gd name="T51" fmla="*/ 149 h 487"/>
                <a:gd name="T52" fmla="*/ 517 w 584"/>
                <a:gd name="T53" fmla="*/ 89 h 487"/>
                <a:gd name="T54" fmla="*/ 455 w 584"/>
                <a:gd name="T55" fmla="*/ 42 h 487"/>
                <a:gd name="T56" fmla="*/ 379 w 584"/>
                <a:gd name="T57" fmla="*/ 11 h 487"/>
                <a:gd name="T58" fmla="*/ 336 w 584"/>
                <a:gd name="T59" fmla="*/ 3 h 487"/>
                <a:gd name="T60" fmla="*/ 292 w 584"/>
                <a:gd name="T61" fmla="*/ 0 h 487"/>
                <a:gd name="T62" fmla="*/ 292 w 584"/>
                <a:gd name="T63" fmla="*/ 417 h 487"/>
                <a:gd name="T64" fmla="*/ 230 w 584"/>
                <a:gd name="T65" fmla="*/ 410 h 487"/>
                <a:gd name="T66" fmla="*/ 175 w 584"/>
                <a:gd name="T67" fmla="*/ 388 h 487"/>
                <a:gd name="T68" fmla="*/ 131 w 584"/>
                <a:gd name="T69" fmla="*/ 354 h 487"/>
                <a:gd name="T70" fmla="*/ 100 w 584"/>
                <a:gd name="T71" fmla="*/ 311 h 487"/>
                <a:gd name="T72" fmla="*/ 85 w 584"/>
                <a:gd name="T73" fmla="*/ 261 h 487"/>
                <a:gd name="T74" fmla="*/ 85 w 584"/>
                <a:gd name="T75" fmla="*/ 226 h 487"/>
                <a:gd name="T76" fmla="*/ 100 w 584"/>
                <a:gd name="T77" fmla="*/ 176 h 487"/>
                <a:gd name="T78" fmla="*/ 131 w 584"/>
                <a:gd name="T79" fmla="*/ 133 h 487"/>
                <a:gd name="T80" fmla="*/ 175 w 584"/>
                <a:gd name="T81" fmla="*/ 100 h 487"/>
                <a:gd name="T82" fmla="*/ 230 w 584"/>
                <a:gd name="T83" fmla="*/ 78 h 487"/>
                <a:gd name="T84" fmla="*/ 292 w 584"/>
                <a:gd name="T85" fmla="*/ 70 h 487"/>
                <a:gd name="T86" fmla="*/ 334 w 584"/>
                <a:gd name="T87" fmla="*/ 73 h 487"/>
                <a:gd name="T88" fmla="*/ 391 w 584"/>
                <a:gd name="T89" fmla="*/ 91 h 487"/>
                <a:gd name="T90" fmla="*/ 439 w 584"/>
                <a:gd name="T91" fmla="*/ 121 h 487"/>
                <a:gd name="T92" fmla="*/ 475 w 584"/>
                <a:gd name="T93" fmla="*/ 161 h 487"/>
                <a:gd name="T94" fmla="*/ 497 w 584"/>
                <a:gd name="T95" fmla="*/ 209 h 487"/>
                <a:gd name="T96" fmla="*/ 500 w 584"/>
                <a:gd name="T97" fmla="*/ 244 h 487"/>
                <a:gd name="T98" fmla="*/ 491 w 584"/>
                <a:gd name="T99" fmla="*/ 295 h 487"/>
                <a:gd name="T100" fmla="*/ 464 w 584"/>
                <a:gd name="T101" fmla="*/ 341 h 487"/>
                <a:gd name="T102" fmla="*/ 425 w 584"/>
                <a:gd name="T103" fmla="*/ 378 h 487"/>
                <a:gd name="T104" fmla="*/ 373 w 584"/>
                <a:gd name="T105" fmla="*/ 404 h 487"/>
                <a:gd name="T106" fmla="*/ 313 w 584"/>
                <a:gd name="T107" fmla="*/ 41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4" h="487">
                  <a:moveTo>
                    <a:pt x="292" y="0"/>
                  </a:moveTo>
                  <a:lnTo>
                    <a:pt x="292" y="0"/>
                  </a:lnTo>
                  <a:lnTo>
                    <a:pt x="277" y="1"/>
                  </a:lnTo>
                  <a:lnTo>
                    <a:pt x="263" y="2"/>
                  </a:lnTo>
                  <a:lnTo>
                    <a:pt x="247" y="3"/>
                  </a:lnTo>
                  <a:lnTo>
                    <a:pt x="233" y="5"/>
                  </a:lnTo>
                  <a:lnTo>
                    <a:pt x="220" y="8"/>
                  </a:lnTo>
                  <a:lnTo>
                    <a:pt x="205" y="11"/>
                  </a:lnTo>
                  <a:lnTo>
                    <a:pt x="179" y="20"/>
                  </a:lnTo>
                  <a:lnTo>
                    <a:pt x="154" y="30"/>
                  </a:lnTo>
                  <a:lnTo>
                    <a:pt x="128" y="42"/>
                  </a:lnTo>
                  <a:lnTo>
                    <a:pt x="107" y="56"/>
                  </a:lnTo>
                  <a:lnTo>
                    <a:pt x="85" y="72"/>
                  </a:lnTo>
                  <a:lnTo>
                    <a:pt x="67" y="89"/>
                  </a:lnTo>
                  <a:lnTo>
                    <a:pt x="50" y="108"/>
                  </a:lnTo>
                  <a:lnTo>
                    <a:pt x="36" y="128"/>
                  </a:lnTo>
                  <a:lnTo>
                    <a:pt x="23" y="149"/>
                  </a:lnTo>
                  <a:lnTo>
                    <a:pt x="13" y="171"/>
                  </a:lnTo>
                  <a:lnTo>
                    <a:pt x="10" y="183"/>
                  </a:lnTo>
                  <a:lnTo>
                    <a:pt x="6" y="195"/>
                  </a:lnTo>
                  <a:lnTo>
                    <a:pt x="4" y="207"/>
                  </a:lnTo>
                  <a:lnTo>
                    <a:pt x="1" y="219"/>
                  </a:lnTo>
                  <a:lnTo>
                    <a:pt x="0" y="231"/>
                  </a:lnTo>
                  <a:lnTo>
                    <a:pt x="0" y="244"/>
                  </a:lnTo>
                  <a:lnTo>
                    <a:pt x="0" y="244"/>
                  </a:lnTo>
                  <a:lnTo>
                    <a:pt x="0" y="256"/>
                  </a:lnTo>
                  <a:lnTo>
                    <a:pt x="1" y="268"/>
                  </a:lnTo>
                  <a:lnTo>
                    <a:pt x="4" y="281"/>
                  </a:lnTo>
                  <a:lnTo>
                    <a:pt x="6" y="293"/>
                  </a:lnTo>
                  <a:lnTo>
                    <a:pt x="10" y="304"/>
                  </a:lnTo>
                  <a:lnTo>
                    <a:pt x="13" y="316"/>
                  </a:lnTo>
                  <a:lnTo>
                    <a:pt x="23" y="338"/>
                  </a:lnTo>
                  <a:lnTo>
                    <a:pt x="36" y="359"/>
                  </a:lnTo>
                  <a:lnTo>
                    <a:pt x="50" y="380"/>
                  </a:lnTo>
                  <a:lnTo>
                    <a:pt x="67" y="398"/>
                  </a:lnTo>
                  <a:lnTo>
                    <a:pt x="85" y="416"/>
                  </a:lnTo>
                  <a:lnTo>
                    <a:pt x="107" y="431"/>
                  </a:lnTo>
                  <a:lnTo>
                    <a:pt x="128" y="445"/>
                  </a:lnTo>
                  <a:lnTo>
                    <a:pt x="154" y="457"/>
                  </a:lnTo>
                  <a:lnTo>
                    <a:pt x="179" y="468"/>
                  </a:lnTo>
                  <a:lnTo>
                    <a:pt x="205" y="476"/>
                  </a:lnTo>
                  <a:lnTo>
                    <a:pt x="220" y="479"/>
                  </a:lnTo>
                  <a:lnTo>
                    <a:pt x="233" y="482"/>
                  </a:lnTo>
                  <a:lnTo>
                    <a:pt x="247" y="484"/>
                  </a:lnTo>
                  <a:lnTo>
                    <a:pt x="263" y="486"/>
                  </a:lnTo>
                  <a:lnTo>
                    <a:pt x="277" y="487"/>
                  </a:lnTo>
                  <a:lnTo>
                    <a:pt x="292" y="487"/>
                  </a:lnTo>
                  <a:lnTo>
                    <a:pt x="292" y="487"/>
                  </a:lnTo>
                  <a:lnTo>
                    <a:pt x="307" y="487"/>
                  </a:lnTo>
                  <a:lnTo>
                    <a:pt x="322" y="486"/>
                  </a:lnTo>
                  <a:lnTo>
                    <a:pt x="336" y="484"/>
                  </a:lnTo>
                  <a:lnTo>
                    <a:pt x="350" y="482"/>
                  </a:lnTo>
                  <a:lnTo>
                    <a:pt x="365" y="479"/>
                  </a:lnTo>
                  <a:lnTo>
                    <a:pt x="379" y="476"/>
                  </a:lnTo>
                  <a:lnTo>
                    <a:pt x="406" y="468"/>
                  </a:lnTo>
                  <a:lnTo>
                    <a:pt x="431" y="457"/>
                  </a:lnTo>
                  <a:lnTo>
                    <a:pt x="455" y="445"/>
                  </a:lnTo>
                  <a:lnTo>
                    <a:pt x="478" y="431"/>
                  </a:lnTo>
                  <a:lnTo>
                    <a:pt x="498" y="416"/>
                  </a:lnTo>
                  <a:lnTo>
                    <a:pt x="517" y="398"/>
                  </a:lnTo>
                  <a:lnTo>
                    <a:pt x="534" y="380"/>
                  </a:lnTo>
                  <a:lnTo>
                    <a:pt x="548" y="359"/>
                  </a:lnTo>
                  <a:lnTo>
                    <a:pt x="560" y="338"/>
                  </a:lnTo>
                  <a:lnTo>
                    <a:pt x="571" y="316"/>
                  </a:lnTo>
                  <a:lnTo>
                    <a:pt x="575" y="304"/>
                  </a:lnTo>
                  <a:lnTo>
                    <a:pt x="578" y="293"/>
                  </a:lnTo>
                  <a:lnTo>
                    <a:pt x="581" y="281"/>
                  </a:lnTo>
                  <a:lnTo>
                    <a:pt x="582" y="268"/>
                  </a:lnTo>
                  <a:lnTo>
                    <a:pt x="583" y="256"/>
                  </a:lnTo>
                  <a:lnTo>
                    <a:pt x="584" y="244"/>
                  </a:lnTo>
                  <a:lnTo>
                    <a:pt x="584" y="244"/>
                  </a:lnTo>
                  <a:lnTo>
                    <a:pt x="583" y="231"/>
                  </a:lnTo>
                  <a:lnTo>
                    <a:pt x="582" y="219"/>
                  </a:lnTo>
                  <a:lnTo>
                    <a:pt x="581" y="207"/>
                  </a:lnTo>
                  <a:lnTo>
                    <a:pt x="578" y="195"/>
                  </a:lnTo>
                  <a:lnTo>
                    <a:pt x="575" y="183"/>
                  </a:lnTo>
                  <a:lnTo>
                    <a:pt x="571" y="171"/>
                  </a:lnTo>
                  <a:lnTo>
                    <a:pt x="560" y="149"/>
                  </a:lnTo>
                  <a:lnTo>
                    <a:pt x="548" y="128"/>
                  </a:lnTo>
                  <a:lnTo>
                    <a:pt x="534" y="108"/>
                  </a:lnTo>
                  <a:lnTo>
                    <a:pt x="517" y="89"/>
                  </a:lnTo>
                  <a:lnTo>
                    <a:pt x="498" y="72"/>
                  </a:lnTo>
                  <a:lnTo>
                    <a:pt x="478" y="56"/>
                  </a:lnTo>
                  <a:lnTo>
                    <a:pt x="455" y="42"/>
                  </a:lnTo>
                  <a:lnTo>
                    <a:pt x="431" y="30"/>
                  </a:lnTo>
                  <a:lnTo>
                    <a:pt x="406" y="20"/>
                  </a:lnTo>
                  <a:lnTo>
                    <a:pt x="379" y="11"/>
                  </a:lnTo>
                  <a:lnTo>
                    <a:pt x="365" y="8"/>
                  </a:lnTo>
                  <a:lnTo>
                    <a:pt x="350" y="5"/>
                  </a:lnTo>
                  <a:lnTo>
                    <a:pt x="336" y="3"/>
                  </a:lnTo>
                  <a:lnTo>
                    <a:pt x="322" y="2"/>
                  </a:lnTo>
                  <a:lnTo>
                    <a:pt x="307" y="1"/>
                  </a:lnTo>
                  <a:lnTo>
                    <a:pt x="292" y="0"/>
                  </a:lnTo>
                  <a:lnTo>
                    <a:pt x="292" y="0"/>
                  </a:lnTo>
                  <a:close/>
                  <a:moveTo>
                    <a:pt x="292" y="417"/>
                  </a:moveTo>
                  <a:lnTo>
                    <a:pt x="292" y="417"/>
                  </a:lnTo>
                  <a:lnTo>
                    <a:pt x="271" y="416"/>
                  </a:lnTo>
                  <a:lnTo>
                    <a:pt x="250" y="414"/>
                  </a:lnTo>
                  <a:lnTo>
                    <a:pt x="230" y="410"/>
                  </a:lnTo>
                  <a:lnTo>
                    <a:pt x="211" y="404"/>
                  </a:lnTo>
                  <a:lnTo>
                    <a:pt x="193" y="396"/>
                  </a:lnTo>
                  <a:lnTo>
                    <a:pt x="175" y="388"/>
                  </a:lnTo>
                  <a:lnTo>
                    <a:pt x="160" y="378"/>
                  </a:lnTo>
                  <a:lnTo>
                    <a:pt x="145" y="366"/>
                  </a:lnTo>
                  <a:lnTo>
                    <a:pt x="131" y="354"/>
                  </a:lnTo>
                  <a:lnTo>
                    <a:pt x="119" y="341"/>
                  </a:lnTo>
                  <a:lnTo>
                    <a:pt x="109" y="326"/>
                  </a:lnTo>
                  <a:lnTo>
                    <a:pt x="100" y="311"/>
                  </a:lnTo>
                  <a:lnTo>
                    <a:pt x="92" y="295"/>
                  </a:lnTo>
                  <a:lnTo>
                    <a:pt x="88" y="279"/>
                  </a:lnTo>
                  <a:lnTo>
                    <a:pt x="85" y="261"/>
                  </a:lnTo>
                  <a:lnTo>
                    <a:pt x="84" y="244"/>
                  </a:lnTo>
                  <a:lnTo>
                    <a:pt x="84" y="244"/>
                  </a:lnTo>
                  <a:lnTo>
                    <a:pt x="85" y="226"/>
                  </a:lnTo>
                  <a:lnTo>
                    <a:pt x="88" y="209"/>
                  </a:lnTo>
                  <a:lnTo>
                    <a:pt x="92" y="192"/>
                  </a:lnTo>
                  <a:lnTo>
                    <a:pt x="100" y="176"/>
                  </a:lnTo>
                  <a:lnTo>
                    <a:pt x="109" y="161"/>
                  </a:lnTo>
                  <a:lnTo>
                    <a:pt x="119" y="147"/>
                  </a:lnTo>
                  <a:lnTo>
                    <a:pt x="131" y="133"/>
                  </a:lnTo>
                  <a:lnTo>
                    <a:pt x="145" y="121"/>
                  </a:lnTo>
                  <a:lnTo>
                    <a:pt x="160" y="110"/>
                  </a:lnTo>
                  <a:lnTo>
                    <a:pt x="175" y="100"/>
                  </a:lnTo>
                  <a:lnTo>
                    <a:pt x="193" y="91"/>
                  </a:lnTo>
                  <a:lnTo>
                    <a:pt x="211" y="84"/>
                  </a:lnTo>
                  <a:lnTo>
                    <a:pt x="230" y="78"/>
                  </a:lnTo>
                  <a:lnTo>
                    <a:pt x="250" y="73"/>
                  </a:lnTo>
                  <a:lnTo>
                    <a:pt x="271" y="71"/>
                  </a:lnTo>
                  <a:lnTo>
                    <a:pt x="292" y="70"/>
                  </a:lnTo>
                  <a:lnTo>
                    <a:pt x="292" y="70"/>
                  </a:lnTo>
                  <a:lnTo>
                    <a:pt x="313" y="71"/>
                  </a:lnTo>
                  <a:lnTo>
                    <a:pt x="334" y="73"/>
                  </a:lnTo>
                  <a:lnTo>
                    <a:pt x="354" y="78"/>
                  </a:lnTo>
                  <a:lnTo>
                    <a:pt x="373" y="84"/>
                  </a:lnTo>
                  <a:lnTo>
                    <a:pt x="391" y="91"/>
                  </a:lnTo>
                  <a:lnTo>
                    <a:pt x="408" y="100"/>
                  </a:lnTo>
                  <a:lnTo>
                    <a:pt x="425" y="110"/>
                  </a:lnTo>
                  <a:lnTo>
                    <a:pt x="439" y="121"/>
                  </a:lnTo>
                  <a:lnTo>
                    <a:pt x="452" y="133"/>
                  </a:lnTo>
                  <a:lnTo>
                    <a:pt x="464" y="147"/>
                  </a:lnTo>
                  <a:lnTo>
                    <a:pt x="475" y="161"/>
                  </a:lnTo>
                  <a:lnTo>
                    <a:pt x="484" y="176"/>
                  </a:lnTo>
                  <a:lnTo>
                    <a:pt x="491" y="192"/>
                  </a:lnTo>
                  <a:lnTo>
                    <a:pt x="497" y="209"/>
                  </a:lnTo>
                  <a:lnTo>
                    <a:pt x="499" y="226"/>
                  </a:lnTo>
                  <a:lnTo>
                    <a:pt x="500" y="244"/>
                  </a:lnTo>
                  <a:lnTo>
                    <a:pt x="500" y="244"/>
                  </a:lnTo>
                  <a:lnTo>
                    <a:pt x="499" y="261"/>
                  </a:lnTo>
                  <a:lnTo>
                    <a:pt x="497" y="279"/>
                  </a:lnTo>
                  <a:lnTo>
                    <a:pt x="491" y="295"/>
                  </a:lnTo>
                  <a:lnTo>
                    <a:pt x="484" y="311"/>
                  </a:lnTo>
                  <a:lnTo>
                    <a:pt x="475" y="326"/>
                  </a:lnTo>
                  <a:lnTo>
                    <a:pt x="464" y="341"/>
                  </a:lnTo>
                  <a:lnTo>
                    <a:pt x="452" y="354"/>
                  </a:lnTo>
                  <a:lnTo>
                    <a:pt x="439" y="366"/>
                  </a:lnTo>
                  <a:lnTo>
                    <a:pt x="425" y="378"/>
                  </a:lnTo>
                  <a:lnTo>
                    <a:pt x="408" y="388"/>
                  </a:lnTo>
                  <a:lnTo>
                    <a:pt x="391" y="396"/>
                  </a:lnTo>
                  <a:lnTo>
                    <a:pt x="373" y="404"/>
                  </a:lnTo>
                  <a:lnTo>
                    <a:pt x="354" y="410"/>
                  </a:lnTo>
                  <a:lnTo>
                    <a:pt x="334" y="414"/>
                  </a:lnTo>
                  <a:lnTo>
                    <a:pt x="313" y="416"/>
                  </a:lnTo>
                  <a:lnTo>
                    <a:pt x="292" y="417"/>
                  </a:lnTo>
                  <a:lnTo>
                    <a:pt x="292" y="417"/>
                  </a:lnTo>
                  <a:close/>
                </a:path>
              </a:pathLst>
            </a:custGeom>
            <a:solidFill>
              <a:srgbClr val="3F3A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49" name="Group 148">
            <a:extLst>
              <a:ext uri="{FF2B5EF4-FFF2-40B4-BE49-F238E27FC236}">
                <a16:creationId xmlns:a16="http://schemas.microsoft.com/office/drawing/2014/main" id="{09587FB5-94DA-478E-8FDE-B04A3AAFBF9B}"/>
              </a:ext>
            </a:extLst>
          </p:cNvPr>
          <p:cNvGrpSpPr/>
          <p:nvPr/>
        </p:nvGrpSpPr>
        <p:grpSpPr>
          <a:xfrm>
            <a:off x="958373" y="4545373"/>
            <a:ext cx="306000" cy="306000"/>
            <a:chOff x="9790113" y="731838"/>
            <a:chExt cx="685801" cy="685801"/>
          </a:xfrm>
        </p:grpSpPr>
        <p:sp>
          <p:nvSpPr>
            <p:cNvPr id="150" name="Freeform 640">
              <a:extLst>
                <a:ext uri="{FF2B5EF4-FFF2-40B4-BE49-F238E27FC236}">
                  <a16:creationId xmlns:a16="http://schemas.microsoft.com/office/drawing/2014/main" id="{06F66A8F-9F26-4279-8140-F3B82EB85F18}"/>
                </a:ext>
              </a:extLst>
            </p:cNvPr>
            <p:cNvSpPr>
              <a:spLocks noEditPoints="1"/>
            </p:cNvSpPr>
            <p:nvPr/>
          </p:nvSpPr>
          <p:spPr bwMode="auto">
            <a:xfrm>
              <a:off x="9790113" y="776288"/>
              <a:ext cx="242888" cy="519113"/>
            </a:xfrm>
            <a:custGeom>
              <a:avLst/>
              <a:gdLst>
                <a:gd name="T0" fmla="*/ 919 w 919"/>
                <a:gd name="T1" fmla="*/ 0 h 1965"/>
                <a:gd name="T2" fmla="*/ 313 w 919"/>
                <a:gd name="T3" fmla="*/ 1 h 1965"/>
                <a:gd name="T4" fmla="*/ 253 w 919"/>
                <a:gd name="T5" fmla="*/ 17 h 1965"/>
                <a:gd name="T6" fmla="*/ 202 w 919"/>
                <a:gd name="T7" fmla="*/ 48 h 1965"/>
                <a:gd name="T8" fmla="*/ 161 w 919"/>
                <a:gd name="T9" fmla="*/ 92 h 1965"/>
                <a:gd name="T10" fmla="*/ 134 w 919"/>
                <a:gd name="T11" fmla="*/ 147 h 1965"/>
                <a:gd name="T12" fmla="*/ 126 w 919"/>
                <a:gd name="T13" fmla="*/ 210 h 1965"/>
                <a:gd name="T14" fmla="*/ 112 w 919"/>
                <a:gd name="T15" fmla="*/ 1640 h 1965"/>
                <a:gd name="T16" fmla="*/ 76 w 919"/>
                <a:gd name="T17" fmla="*/ 1658 h 1965"/>
                <a:gd name="T18" fmla="*/ 44 w 919"/>
                <a:gd name="T19" fmla="*/ 1685 h 1965"/>
                <a:gd name="T20" fmla="*/ 20 w 919"/>
                <a:gd name="T21" fmla="*/ 1718 h 1965"/>
                <a:gd name="T22" fmla="*/ 6 w 919"/>
                <a:gd name="T23" fmla="*/ 1755 h 1965"/>
                <a:gd name="T24" fmla="*/ 0 w 919"/>
                <a:gd name="T25" fmla="*/ 1797 h 1965"/>
                <a:gd name="T26" fmla="*/ 4 w 919"/>
                <a:gd name="T27" fmla="*/ 1831 h 1965"/>
                <a:gd name="T28" fmla="*/ 20 w 919"/>
                <a:gd name="T29" fmla="*/ 1878 h 1965"/>
                <a:gd name="T30" fmla="*/ 49 w 919"/>
                <a:gd name="T31" fmla="*/ 1916 h 1965"/>
                <a:gd name="T32" fmla="*/ 88 w 919"/>
                <a:gd name="T33" fmla="*/ 1945 h 1965"/>
                <a:gd name="T34" fmla="*/ 133 w 919"/>
                <a:gd name="T35" fmla="*/ 1962 h 1965"/>
                <a:gd name="T36" fmla="*/ 167 w 919"/>
                <a:gd name="T37" fmla="*/ 1965 h 1965"/>
                <a:gd name="T38" fmla="*/ 217 w 919"/>
                <a:gd name="T39" fmla="*/ 1957 h 1965"/>
                <a:gd name="T40" fmla="*/ 260 w 919"/>
                <a:gd name="T41" fmla="*/ 1937 h 1965"/>
                <a:gd name="T42" fmla="*/ 296 w 919"/>
                <a:gd name="T43" fmla="*/ 1904 h 1965"/>
                <a:gd name="T44" fmla="*/ 322 w 919"/>
                <a:gd name="T45" fmla="*/ 1863 h 1965"/>
                <a:gd name="T46" fmla="*/ 334 w 919"/>
                <a:gd name="T47" fmla="*/ 1815 h 1965"/>
                <a:gd name="T48" fmla="*/ 334 w 919"/>
                <a:gd name="T49" fmla="*/ 1783 h 1965"/>
                <a:gd name="T50" fmla="*/ 325 w 919"/>
                <a:gd name="T51" fmla="*/ 1742 h 1965"/>
                <a:gd name="T52" fmla="*/ 307 w 919"/>
                <a:gd name="T53" fmla="*/ 1706 h 1965"/>
                <a:gd name="T54" fmla="*/ 281 w 919"/>
                <a:gd name="T55" fmla="*/ 1675 h 1965"/>
                <a:gd name="T56" fmla="*/ 247 w 919"/>
                <a:gd name="T57" fmla="*/ 1652 h 1965"/>
                <a:gd name="T58" fmla="*/ 209 w 919"/>
                <a:gd name="T59" fmla="*/ 1637 h 1965"/>
                <a:gd name="T60" fmla="*/ 210 w 919"/>
                <a:gd name="T61" fmla="*/ 197 h 1965"/>
                <a:gd name="T62" fmla="*/ 218 w 919"/>
                <a:gd name="T63" fmla="*/ 161 h 1965"/>
                <a:gd name="T64" fmla="*/ 238 w 919"/>
                <a:gd name="T65" fmla="*/ 129 h 1965"/>
                <a:gd name="T66" fmla="*/ 264 w 919"/>
                <a:gd name="T67" fmla="*/ 105 h 1965"/>
                <a:gd name="T68" fmla="*/ 298 w 919"/>
                <a:gd name="T69" fmla="*/ 90 h 1965"/>
                <a:gd name="T70" fmla="*/ 335 w 919"/>
                <a:gd name="T71" fmla="*/ 84 h 1965"/>
                <a:gd name="T72" fmla="*/ 251 w 919"/>
                <a:gd name="T73" fmla="*/ 1797 h 1965"/>
                <a:gd name="T74" fmla="*/ 247 w 919"/>
                <a:gd name="T75" fmla="*/ 1823 h 1965"/>
                <a:gd name="T76" fmla="*/ 236 w 919"/>
                <a:gd name="T77" fmla="*/ 1844 h 1965"/>
                <a:gd name="T78" fmla="*/ 221 w 919"/>
                <a:gd name="T79" fmla="*/ 1862 h 1965"/>
                <a:gd name="T80" fmla="*/ 199 w 919"/>
                <a:gd name="T81" fmla="*/ 1875 h 1965"/>
                <a:gd name="T82" fmla="*/ 175 w 919"/>
                <a:gd name="T83" fmla="*/ 1881 h 1965"/>
                <a:gd name="T84" fmla="*/ 158 w 919"/>
                <a:gd name="T85" fmla="*/ 1881 h 1965"/>
                <a:gd name="T86" fmla="*/ 134 w 919"/>
                <a:gd name="T87" fmla="*/ 1875 h 1965"/>
                <a:gd name="T88" fmla="*/ 114 w 919"/>
                <a:gd name="T89" fmla="*/ 1862 h 1965"/>
                <a:gd name="T90" fmla="*/ 98 w 919"/>
                <a:gd name="T91" fmla="*/ 1844 h 1965"/>
                <a:gd name="T92" fmla="*/ 88 w 919"/>
                <a:gd name="T93" fmla="*/ 1823 h 1965"/>
                <a:gd name="T94" fmla="*/ 84 w 919"/>
                <a:gd name="T95" fmla="*/ 1797 h 1965"/>
                <a:gd name="T96" fmla="*/ 85 w 919"/>
                <a:gd name="T97" fmla="*/ 1781 h 1965"/>
                <a:gd name="T98" fmla="*/ 94 w 919"/>
                <a:gd name="T99" fmla="*/ 1758 h 1965"/>
                <a:gd name="T100" fmla="*/ 108 w 919"/>
                <a:gd name="T101" fmla="*/ 1739 h 1965"/>
                <a:gd name="T102" fmla="*/ 127 w 919"/>
                <a:gd name="T103" fmla="*/ 1724 h 1965"/>
                <a:gd name="T104" fmla="*/ 150 w 919"/>
                <a:gd name="T105" fmla="*/ 1716 h 1965"/>
                <a:gd name="T106" fmla="*/ 167 w 919"/>
                <a:gd name="T107" fmla="*/ 1715 h 1965"/>
                <a:gd name="T108" fmla="*/ 192 w 919"/>
                <a:gd name="T109" fmla="*/ 1718 h 1965"/>
                <a:gd name="T110" fmla="*/ 214 w 919"/>
                <a:gd name="T111" fmla="*/ 1729 h 1965"/>
                <a:gd name="T112" fmla="*/ 232 w 919"/>
                <a:gd name="T113" fmla="*/ 1745 h 1965"/>
                <a:gd name="T114" fmla="*/ 245 w 919"/>
                <a:gd name="T115" fmla="*/ 1765 h 1965"/>
                <a:gd name="T116" fmla="*/ 251 w 919"/>
                <a:gd name="T117" fmla="*/ 1789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9" h="1965">
                  <a:moveTo>
                    <a:pt x="335" y="84"/>
                  </a:moveTo>
                  <a:lnTo>
                    <a:pt x="919" y="84"/>
                  </a:lnTo>
                  <a:lnTo>
                    <a:pt x="919" y="0"/>
                  </a:lnTo>
                  <a:lnTo>
                    <a:pt x="335" y="0"/>
                  </a:lnTo>
                  <a:lnTo>
                    <a:pt x="335" y="0"/>
                  </a:lnTo>
                  <a:lnTo>
                    <a:pt x="313" y="1"/>
                  </a:lnTo>
                  <a:lnTo>
                    <a:pt x="293" y="5"/>
                  </a:lnTo>
                  <a:lnTo>
                    <a:pt x="272" y="9"/>
                  </a:lnTo>
                  <a:lnTo>
                    <a:pt x="253" y="17"/>
                  </a:lnTo>
                  <a:lnTo>
                    <a:pt x="235" y="25"/>
                  </a:lnTo>
                  <a:lnTo>
                    <a:pt x="217" y="36"/>
                  </a:lnTo>
                  <a:lnTo>
                    <a:pt x="202" y="48"/>
                  </a:lnTo>
                  <a:lnTo>
                    <a:pt x="187" y="61"/>
                  </a:lnTo>
                  <a:lnTo>
                    <a:pt x="173" y="77"/>
                  </a:lnTo>
                  <a:lnTo>
                    <a:pt x="161" y="92"/>
                  </a:lnTo>
                  <a:lnTo>
                    <a:pt x="151" y="110"/>
                  </a:lnTo>
                  <a:lnTo>
                    <a:pt x="142" y="128"/>
                  </a:lnTo>
                  <a:lnTo>
                    <a:pt x="134" y="147"/>
                  </a:lnTo>
                  <a:lnTo>
                    <a:pt x="130" y="167"/>
                  </a:lnTo>
                  <a:lnTo>
                    <a:pt x="126" y="188"/>
                  </a:lnTo>
                  <a:lnTo>
                    <a:pt x="126" y="210"/>
                  </a:lnTo>
                  <a:lnTo>
                    <a:pt x="126" y="1637"/>
                  </a:lnTo>
                  <a:lnTo>
                    <a:pt x="126" y="1637"/>
                  </a:lnTo>
                  <a:lnTo>
                    <a:pt x="112" y="1640"/>
                  </a:lnTo>
                  <a:lnTo>
                    <a:pt x="100" y="1646"/>
                  </a:lnTo>
                  <a:lnTo>
                    <a:pt x="88" y="1652"/>
                  </a:lnTo>
                  <a:lnTo>
                    <a:pt x="76" y="1658"/>
                  </a:lnTo>
                  <a:lnTo>
                    <a:pt x="65" y="1667"/>
                  </a:lnTo>
                  <a:lnTo>
                    <a:pt x="54" y="1675"/>
                  </a:lnTo>
                  <a:lnTo>
                    <a:pt x="44" y="1685"/>
                  </a:lnTo>
                  <a:lnTo>
                    <a:pt x="36" y="1695"/>
                  </a:lnTo>
                  <a:lnTo>
                    <a:pt x="28" y="1706"/>
                  </a:lnTo>
                  <a:lnTo>
                    <a:pt x="20" y="1718"/>
                  </a:lnTo>
                  <a:lnTo>
                    <a:pt x="14" y="1730"/>
                  </a:lnTo>
                  <a:lnTo>
                    <a:pt x="10" y="1742"/>
                  </a:lnTo>
                  <a:lnTo>
                    <a:pt x="6" y="1755"/>
                  </a:lnTo>
                  <a:lnTo>
                    <a:pt x="2" y="1770"/>
                  </a:lnTo>
                  <a:lnTo>
                    <a:pt x="1" y="1783"/>
                  </a:lnTo>
                  <a:lnTo>
                    <a:pt x="0" y="1797"/>
                  </a:lnTo>
                  <a:lnTo>
                    <a:pt x="0" y="1797"/>
                  </a:lnTo>
                  <a:lnTo>
                    <a:pt x="1" y="1815"/>
                  </a:lnTo>
                  <a:lnTo>
                    <a:pt x="4" y="1831"/>
                  </a:lnTo>
                  <a:lnTo>
                    <a:pt x="7" y="1848"/>
                  </a:lnTo>
                  <a:lnTo>
                    <a:pt x="13" y="1863"/>
                  </a:lnTo>
                  <a:lnTo>
                    <a:pt x="20" y="1878"/>
                  </a:lnTo>
                  <a:lnTo>
                    <a:pt x="29" y="1891"/>
                  </a:lnTo>
                  <a:lnTo>
                    <a:pt x="38" y="1904"/>
                  </a:lnTo>
                  <a:lnTo>
                    <a:pt x="49" y="1916"/>
                  </a:lnTo>
                  <a:lnTo>
                    <a:pt x="61" y="1927"/>
                  </a:lnTo>
                  <a:lnTo>
                    <a:pt x="73" y="1937"/>
                  </a:lnTo>
                  <a:lnTo>
                    <a:pt x="88" y="1945"/>
                  </a:lnTo>
                  <a:lnTo>
                    <a:pt x="102" y="1952"/>
                  </a:lnTo>
                  <a:lnTo>
                    <a:pt x="118" y="1957"/>
                  </a:lnTo>
                  <a:lnTo>
                    <a:pt x="133" y="1962"/>
                  </a:lnTo>
                  <a:lnTo>
                    <a:pt x="150" y="1964"/>
                  </a:lnTo>
                  <a:lnTo>
                    <a:pt x="167" y="1965"/>
                  </a:lnTo>
                  <a:lnTo>
                    <a:pt x="167" y="1965"/>
                  </a:lnTo>
                  <a:lnTo>
                    <a:pt x="185" y="1964"/>
                  </a:lnTo>
                  <a:lnTo>
                    <a:pt x="200" y="1962"/>
                  </a:lnTo>
                  <a:lnTo>
                    <a:pt x="217" y="1957"/>
                  </a:lnTo>
                  <a:lnTo>
                    <a:pt x="233" y="1952"/>
                  </a:lnTo>
                  <a:lnTo>
                    <a:pt x="247" y="1945"/>
                  </a:lnTo>
                  <a:lnTo>
                    <a:pt x="260" y="1937"/>
                  </a:lnTo>
                  <a:lnTo>
                    <a:pt x="274" y="1927"/>
                  </a:lnTo>
                  <a:lnTo>
                    <a:pt x="286" y="1916"/>
                  </a:lnTo>
                  <a:lnTo>
                    <a:pt x="296" y="1904"/>
                  </a:lnTo>
                  <a:lnTo>
                    <a:pt x="306" y="1891"/>
                  </a:lnTo>
                  <a:lnTo>
                    <a:pt x="314" y="1878"/>
                  </a:lnTo>
                  <a:lnTo>
                    <a:pt x="322" y="1863"/>
                  </a:lnTo>
                  <a:lnTo>
                    <a:pt x="326" y="1848"/>
                  </a:lnTo>
                  <a:lnTo>
                    <a:pt x="331" y="1831"/>
                  </a:lnTo>
                  <a:lnTo>
                    <a:pt x="334" y="1815"/>
                  </a:lnTo>
                  <a:lnTo>
                    <a:pt x="335" y="1797"/>
                  </a:lnTo>
                  <a:lnTo>
                    <a:pt x="335" y="1797"/>
                  </a:lnTo>
                  <a:lnTo>
                    <a:pt x="334" y="1783"/>
                  </a:lnTo>
                  <a:lnTo>
                    <a:pt x="332" y="1770"/>
                  </a:lnTo>
                  <a:lnTo>
                    <a:pt x="329" y="1755"/>
                  </a:lnTo>
                  <a:lnTo>
                    <a:pt x="325" y="1742"/>
                  </a:lnTo>
                  <a:lnTo>
                    <a:pt x="320" y="1730"/>
                  </a:lnTo>
                  <a:lnTo>
                    <a:pt x="313" y="1718"/>
                  </a:lnTo>
                  <a:lnTo>
                    <a:pt x="307" y="1706"/>
                  </a:lnTo>
                  <a:lnTo>
                    <a:pt x="299" y="1695"/>
                  </a:lnTo>
                  <a:lnTo>
                    <a:pt x="290" y="1685"/>
                  </a:lnTo>
                  <a:lnTo>
                    <a:pt x="281" y="1675"/>
                  </a:lnTo>
                  <a:lnTo>
                    <a:pt x="270" y="1667"/>
                  </a:lnTo>
                  <a:lnTo>
                    <a:pt x="259" y="1658"/>
                  </a:lnTo>
                  <a:lnTo>
                    <a:pt x="247" y="1652"/>
                  </a:lnTo>
                  <a:lnTo>
                    <a:pt x="235" y="1646"/>
                  </a:lnTo>
                  <a:lnTo>
                    <a:pt x="222" y="1640"/>
                  </a:lnTo>
                  <a:lnTo>
                    <a:pt x="209" y="1637"/>
                  </a:lnTo>
                  <a:lnTo>
                    <a:pt x="209" y="210"/>
                  </a:lnTo>
                  <a:lnTo>
                    <a:pt x="209" y="210"/>
                  </a:lnTo>
                  <a:lnTo>
                    <a:pt x="210" y="197"/>
                  </a:lnTo>
                  <a:lnTo>
                    <a:pt x="211" y="185"/>
                  </a:lnTo>
                  <a:lnTo>
                    <a:pt x="215" y="173"/>
                  </a:lnTo>
                  <a:lnTo>
                    <a:pt x="218" y="161"/>
                  </a:lnTo>
                  <a:lnTo>
                    <a:pt x="224" y="150"/>
                  </a:lnTo>
                  <a:lnTo>
                    <a:pt x="230" y="139"/>
                  </a:lnTo>
                  <a:lnTo>
                    <a:pt x="238" y="129"/>
                  </a:lnTo>
                  <a:lnTo>
                    <a:pt x="246" y="121"/>
                  </a:lnTo>
                  <a:lnTo>
                    <a:pt x="254" y="113"/>
                  </a:lnTo>
                  <a:lnTo>
                    <a:pt x="264" y="105"/>
                  </a:lnTo>
                  <a:lnTo>
                    <a:pt x="275" y="99"/>
                  </a:lnTo>
                  <a:lnTo>
                    <a:pt x="286" y="93"/>
                  </a:lnTo>
                  <a:lnTo>
                    <a:pt x="298" y="90"/>
                  </a:lnTo>
                  <a:lnTo>
                    <a:pt x="310" y="86"/>
                  </a:lnTo>
                  <a:lnTo>
                    <a:pt x="322" y="85"/>
                  </a:lnTo>
                  <a:lnTo>
                    <a:pt x="335" y="84"/>
                  </a:lnTo>
                  <a:lnTo>
                    <a:pt x="335" y="84"/>
                  </a:lnTo>
                  <a:close/>
                  <a:moveTo>
                    <a:pt x="251" y="1797"/>
                  </a:moveTo>
                  <a:lnTo>
                    <a:pt x="251" y="1797"/>
                  </a:lnTo>
                  <a:lnTo>
                    <a:pt x="251" y="1807"/>
                  </a:lnTo>
                  <a:lnTo>
                    <a:pt x="250" y="1814"/>
                  </a:lnTo>
                  <a:lnTo>
                    <a:pt x="247" y="1823"/>
                  </a:lnTo>
                  <a:lnTo>
                    <a:pt x="245" y="1831"/>
                  </a:lnTo>
                  <a:lnTo>
                    <a:pt x="241" y="1838"/>
                  </a:lnTo>
                  <a:lnTo>
                    <a:pt x="236" y="1844"/>
                  </a:lnTo>
                  <a:lnTo>
                    <a:pt x="232" y="1851"/>
                  </a:lnTo>
                  <a:lnTo>
                    <a:pt x="227" y="1857"/>
                  </a:lnTo>
                  <a:lnTo>
                    <a:pt x="221" y="1862"/>
                  </a:lnTo>
                  <a:lnTo>
                    <a:pt x="214" y="1867"/>
                  </a:lnTo>
                  <a:lnTo>
                    <a:pt x="208" y="1872"/>
                  </a:lnTo>
                  <a:lnTo>
                    <a:pt x="199" y="1875"/>
                  </a:lnTo>
                  <a:lnTo>
                    <a:pt x="192" y="1878"/>
                  </a:lnTo>
                  <a:lnTo>
                    <a:pt x="184" y="1880"/>
                  </a:lnTo>
                  <a:lnTo>
                    <a:pt x="175" y="1881"/>
                  </a:lnTo>
                  <a:lnTo>
                    <a:pt x="167" y="1881"/>
                  </a:lnTo>
                  <a:lnTo>
                    <a:pt x="167" y="1881"/>
                  </a:lnTo>
                  <a:lnTo>
                    <a:pt x="158" y="1881"/>
                  </a:lnTo>
                  <a:lnTo>
                    <a:pt x="150" y="1880"/>
                  </a:lnTo>
                  <a:lnTo>
                    <a:pt x="143" y="1878"/>
                  </a:lnTo>
                  <a:lnTo>
                    <a:pt x="134" y="1875"/>
                  </a:lnTo>
                  <a:lnTo>
                    <a:pt x="127" y="1872"/>
                  </a:lnTo>
                  <a:lnTo>
                    <a:pt x="120" y="1867"/>
                  </a:lnTo>
                  <a:lnTo>
                    <a:pt x="114" y="1862"/>
                  </a:lnTo>
                  <a:lnTo>
                    <a:pt x="108" y="1857"/>
                  </a:lnTo>
                  <a:lnTo>
                    <a:pt x="103" y="1851"/>
                  </a:lnTo>
                  <a:lnTo>
                    <a:pt x="98" y="1844"/>
                  </a:lnTo>
                  <a:lnTo>
                    <a:pt x="94" y="1838"/>
                  </a:lnTo>
                  <a:lnTo>
                    <a:pt x="90" y="1831"/>
                  </a:lnTo>
                  <a:lnTo>
                    <a:pt x="88" y="1823"/>
                  </a:lnTo>
                  <a:lnTo>
                    <a:pt x="85" y="1814"/>
                  </a:lnTo>
                  <a:lnTo>
                    <a:pt x="84" y="1807"/>
                  </a:lnTo>
                  <a:lnTo>
                    <a:pt x="84" y="1797"/>
                  </a:lnTo>
                  <a:lnTo>
                    <a:pt x="84" y="1797"/>
                  </a:lnTo>
                  <a:lnTo>
                    <a:pt x="84" y="1789"/>
                  </a:lnTo>
                  <a:lnTo>
                    <a:pt x="85" y="1781"/>
                  </a:lnTo>
                  <a:lnTo>
                    <a:pt x="88" y="1773"/>
                  </a:lnTo>
                  <a:lnTo>
                    <a:pt x="90" y="1765"/>
                  </a:lnTo>
                  <a:lnTo>
                    <a:pt x="94" y="1758"/>
                  </a:lnTo>
                  <a:lnTo>
                    <a:pt x="98" y="1751"/>
                  </a:lnTo>
                  <a:lnTo>
                    <a:pt x="103" y="1745"/>
                  </a:lnTo>
                  <a:lnTo>
                    <a:pt x="108" y="1739"/>
                  </a:lnTo>
                  <a:lnTo>
                    <a:pt x="114" y="1734"/>
                  </a:lnTo>
                  <a:lnTo>
                    <a:pt x="120" y="1729"/>
                  </a:lnTo>
                  <a:lnTo>
                    <a:pt x="127" y="1724"/>
                  </a:lnTo>
                  <a:lnTo>
                    <a:pt x="134" y="1721"/>
                  </a:lnTo>
                  <a:lnTo>
                    <a:pt x="143" y="1718"/>
                  </a:lnTo>
                  <a:lnTo>
                    <a:pt x="150" y="1716"/>
                  </a:lnTo>
                  <a:lnTo>
                    <a:pt x="158" y="1715"/>
                  </a:lnTo>
                  <a:lnTo>
                    <a:pt x="167" y="1715"/>
                  </a:lnTo>
                  <a:lnTo>
                    <a:pt x="167" y="1715"/>
                  </a:lnTo>
                  <a:lnTo>
                    <a:pt x="175" y="1715"/>
                  </a:lnTo>
                  <a:lnTo>
                    <a:pt x="184" y="1716"/>
                  </a:lnTo>
                  <a:lnTo>
                    <a:pt x="192" y="1718"/>
                  </a:lnTo>
                  <a:lnTo>
                    <a:pt x="199" y="1721"/>
                  </a:lnTo>
                  <a:lnTo>
                    <a:pt x="208" y="1724"/>
                  </a:lnTo>
                  <a:lnTo>
                    <a:pt x="214" y="1729"/>
                  </a:lnTo>
                  <a:lnTo>
                    <a:pt x="221" y="1734"/>
                  </a:lnTo>
                  <a:lnTo>
                    <a:pt x="227" y="1739"/>
                  </a:lnTo>
                  <a:lnTo>
                    <a:pt x="232" y="1745"/>
                  </a:lnTo>
                  <a:lnTo>
                    <a:pt x="236" y="1751"/>
                  </a:lnTo>
                  <a:lnTo>
                    <a:pt x="241" y="1758"/>
                  </a:lnTo>
                  <a:lnTo>
                    <a:pt x="245" y="1765"/>
                  </a:lnTo>
                  <a:lnTo>
                    <a:pt x="247" y="1773"/>
                  </a:lnTo>
                  <a:lnTo>
                    <a:pt x="250" y="1781"/>
                  </a:lnTo>
                  <a:lnTo>
                    <a:pt x="251" y="1789"/>
                  </a:lnTo>
                  <a:lnTo>
                    <a:pt x="251" y="1797"/>
                  </a:lnTo>
                  <a:lnTo>
                    <a:pt x="251" y="1797"/>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1" name="Freeform 641">
              <a:extLst>
                <a:ext uri="{FF2B5EF4-FFF2-40B4-BE49-F238E27FC236}">
                  <a16:creationId xmlns:a16="http://schemas.microsoft.com/office/drawing/2014/main" id="{5D317F72-044B-4987-818E-37F8B0E2E0AF}"/>
                </a:ext>
              </a:extLst>
            </p:cNvPr>
            <p:cNvSpPr>
              <a:spLocks noEditPoints="1"/>
            </p:cNvSpPr>
            <p:nvPr/>
          </p:nvSpPr>
          <p:spPr bwMode="auto">
            <a:xfrm>
              <a:off x="10233026" y="776288"/>
              <a:ext cx="242888" cy="519113"/>
            </a:xfrm>
            <a:custGeom>
              <a:avLst/>
              <a:gdLst>
                <a:gd name="T0" fmla="*/ 793 w 919"/>
                <a:gd name="T1" fmla="*/ 210 h 1965"/>
                <a:gd name="T2" fmla="*/ 785 w 919"/>
                <a:gd name="T3" fmla="*/ 147 h 1965"/>
                <a:gd name="T4" fmla="*/ 758 w 919"/>
                <a:gd name="T5" fmla="*/ 92 h 1965"/>
                <a:gd name="T6" fmla="*/ 717 w 919"/>
                <a:gd name="T7" fmla="*/ 48 h 1965"/>
                <a:gd name="T8" fmla="*/ 666 w 919"/>
                <a:gd name="T9" fmla="*/ 17 h 1965"/>
                <a:gd name="T10" fmla="*/ 606 w 919"/>
                <a:gd name="T11" fmla="*/ 1 h 1965"/>
                <a:gd name="T12" fmla="*/ 0 w 919"/>
                <a:gd name="T13" fmla="*/ 84 h 1965"/>
                <a:gd name="T14" fmla="*/ 597 w 919"/>
                <a:gd name="T15" fmla="*/ 85 h 1965"/>
                <a:gd name="T16" fmla="*/ 633 w 919"/>
                <a:gd name="T17" fmla="*/ 93 h 1965"/>
                <a:gd name="T18" fmla="*/ 665 w 919"/>
                <a:gd name="T19" fmla="*/ 113 h 1965"/>
                <a:gd name="T20" fmla="*/ 689 w 919"/>
                <a:gd name="T21" fmla="*/ 139 h 1965"/>
                <a:gd name="T22" fmla="*/ 704 w 919"/>
                <a:gd name="T23" fmla="*/ 173 h 1965"/>
                <a:gd name="T24" fmla="*/ 710 w 919"/>
                <a:gd name="T25" fmla="*/ 210 h 1965"/>
                <a:gd name="T26" fmla="*/ 697 w 919"/>
                <a:gd name="T27" fmla="*/ 1640 h 1965"/>
                <a:gd name="T28" fmla="*/ 660 w 919"/>
                <a:gd name="T29" fmla="*/ 1658 h 1965"/>
                <a:gd name="T30" fmla="*/ 629 w 919"/>
                <a:gd name="T31" fmla="*/ 1685 h 1965"/>
                <a:gd name="T32" fmla="*/ 606 w 919"/>
                <a:gd name="T33" fmla="*/ 1718 h 1965"/>
                <a:gd name="T34" fmla="*/ 590 w 919"/>
                <a:gd name="T35" fmla="*/ 1755 h 1965"/>
                <a:gd name="T36" fmla="*/ 584 w 919"/>
                <a:gd name="T37" fmla="*/ 1797 h 1965"/>
                <a:gd name="T38" fmla="*/ 588 w 919"/>
                <a:gd name="T39" fmla="*/ 1831 h 1965"/>
                <a:gd name="T40" fmla="*/ 605 w 919"/>
                <a:gd name="T41" fmla="*/ 1878 h 1965"/>
                <a:gd name="T42" fmla="*/ 633 w 919"/>
                <a:gd name="T43" fmla="*/ 1916 h 1965"/>
                <a:gd name="T44" fmla="*/ 672 w 919"/>
                <a:gd name="T45" fmla="*/ 1945 h 1965"/>
                <a:gd name="T46" fmla="*/ 719 w 919"/>
                <a:gd name="T47" fmla="*/ 1962 h 1965"/>
                <a:gd name="T48" fmla="*/ 752 w 919"/>
                <a:gd name="T49" fmla="*/ 1965 h 1965"/>
                <a:gd name="T50" fmla="*/ 801 w 919"/>
                <a:gd name="T51" fmla="*/ 1957 h 1965"/>
                <a:gd name="T52" fmla="*/ 846 w 919"/>
                <a:gd name="T53" fmla="*/ 1937 h 1965"/>
                <a:gd name="T54" fmla="*/ 881 w 919"/>
                <a:gd name="T55" fmla="*/ 1904 h 1965"/>
                <a:gd name="T56" fmla="*/ 906 w 919"/>
                <a:gd name="T57" fmla="*/ 1863 h 1965"/>
                <a:gd name="T58" fmla="*/ 918 w 919"/>
                <a:gd name="T59" fmla="*/ 1815 h 1965"/>
                <a:gd name="T60" fmla="*/ 918 w 919"/>
                <a:gd name="T61" fmla="*/ 1783 h 1965"/>
                <a:gd name="T62" fmla="*/ 909 w 919"/>
                <a:gd name="T63" fmla="*/ 1742 h 1965"/>
                <a:gd name="T64" fmla="*/ 891 w 919"/>
                <a:gd name="T65" fmla="*/ 1706 h 1965"/>
                <a:gd name="T66" fmla="*/ 865 w 919"/>
                <a:gd name="T67" fmla="*/ 1675 h 1965"/>
                <a:gd name="T68" fmla="*/ 831 w 919"/>
                <a:gd name="T69" fmla="*/ 1652 h 1965"/>
                <a:gd name="T70" fmla="*/ 793 w 919"/>
                <a:gd name="T71" fmla="*/ 1637 h 1965"/>
                <a:gd name="T72" fmla="*/ 752 w 919"/>
                <a:gd name="T73" fmla="*/ 1881 h 1965"/>
                <a:gd name="T74" fmla="*/ 727 w 919"/>
                <a:gd name="T75" fmla="*/ 1878 h 1965"/>
                <a:gd name="T76" fmla="*/ 705 w 919"/>
                <a:gd name="T77" fmla="*/ 1867 h 1965"/>
                <a:gd name="T78" fmla="*/ 687 w 919"/>
                <a:gd name="T79" fmla="*/ 1851 h 1965"/>
                <a:gd name="T80" fmla="*/ 674 w 919"/>
                <a:gd name="T81" fmla="*/ 1831 h 1965"/>
                <a:gd name="T82" fmla="*/ 668 w 919"/>
                <a:gd name="T83" fmla="*/ 1807 h 1965"/>
                <a:gd name="T84" fmla="*/ 668 w 919"/>
                <a:gd name="T85" fmla="*/ 1789 h 1965"/>
                <a:gd name="T86" fmla="*/ 674 w 919"/>
                <a:gd name="T87" fmla="*/ 1765 h 1965"/>
                <a:gd name="T88" fmla="*/ 687 w 919"/>
                <a:gd name="T89" fmla="*/ 1745 h 1965"/>
                <a:gd name="T90" fmla="*/ 705 w 919"/>
                <a:gd name="T91" fmla="*/ 1729 h 1965"/>
                <a:gd name="T92" fmla="*/ 727 w 919"/>
                <a:gd name="T93" fmla="*/ 1718 h 1965"/>
                <a:gd name="T94" fmla="*/ 752 w 919"/>
                <a:gd name="T95" fmla="*/ 1715 h 1965"/>
                <a:gd name="T96" fmla="*/ 769 w 919"/>
                <a:gd name="T97" fmla="*/ 1716 h 1965"/>
                <a:gd name="T98" fmla="*/ 792 w 919"/>
                <a:gd name="T99" fmla="*/ 1724 h 1965"/>
                <a:gd name="T100" fmla="*/ 811 w 919"/>
                <a:gd name="T101" fmla="*/ 1739 h 1965"/>
                <a:gd name="T102" fmla="*/ 825 w 919"/>
                <a:gd name="T103" fmla="*/ 1758 h 1965"/>
                <a:gd name="T104" fmla="*/ 834 w 919"/>
                <a:gd name="T105" fmla="*/ 1781 h 1965"/>
                <a:gd name="T106" fmla="*/ 835 w 919"/>
                <a:gd name="T107" fmla="*/ 1797 h 1965"/>
                <a:gd name="T108" fmla="*/ 831 w 919"/>
                <a:gd name="T109" fmla="*/ 1823 h 1965"/>
                <a:gd name="T110" fmla="*/ 821 w 919"/>
                <a:gd name="T111" fmla="*/ 1844 h 1965"/>
                <a:gd name="T112" fmla="*/ 805 w 919"/>
                <a:gd name="T113" fmla="*/ 1862 h 1965"/>
                <a:gd name="T114" fmla="*/ 785 w 919"/>
                <a:gd name="T115" fmla="*/ 1875 h 1965"/>
                <a:gd name="T116" fmla="*/ 761 w 919"/>
                <a:gd name="T117" fmla="*/ 1881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9" h="1965">
                  <a:moveTo>
                    <a:pt x="793" y="1637"/>
                  </a:moveTo>
                  <a:lnTo>
                    <a:pt x="793" y="210"/>
                  </a:lnTo>
                  <a:lnTo>
                    <a:pt x="793" y="210"/>
                  </a:lnTo>
                  <a:lnTo>
                    <a:pt x="793" y="188"/>
                  </a:lnTo>
                  <a:lnTo>
                    <a:pt x="789" y="167"/>
                  </a:lnTo>
                  <a:lnTo>
                    <a:pt x="785" y="147"/>
                  </a:lnTo>
                  <a:lnTo>
                    <a:pt x="777" y="128"/>
                  </a:lnTo>
                  <a:lnTo>
                    <a:pt x="768" y="110"/>
                  </a:lnTo>
                  <a:lnTo>
                    <a:pt x="758" y="92"/>
                  </a:lnTo>
                  <a:lnTo>
                    <a:pt x="746" y="77"/>
                  </a:lnTo>
                  <a:lnTo>
                    <a:pt x="732" y="61"/>
                  </a:lnTo>
                  <a:lnTo>
                    <a:pt x="717" y="48"/>
                  </a:lnTo>
                  <a:lnTo>
                    <a:pt x="702" y="36"/>
                  </a:lnTo>
                  <a:lnTo>
                    <a:pt x="684" y="25"/>
                  </a:lnTo>
                  <a:lnTo>
                    <a:pt x="666" y="17"/>
                  </a:lnTo>
                  <a:lnTo>
                    <a:pt x="647" y="9"/>
                  </a:lnTo>
                  <a:lnTo>
                    <a:pt x="626" y="5"/>
                  </a:lnTo>
                  <a:lnTo>
                    <a:pt x="606" y="1"/>
                  </a:lnTo>
                  <a:lnTo>
                    <a:pt x="584" y="0"/>
                  </a:lnTo>
                  <a:lnTo>
                    <a:pt x="0" y="0"/>
                  </a:lnTo>
                  <a:lnTo>
                    <a:pt x="0" y="84"/>
                  </a:lnTo>
                  <a:lnTo>
                    <a:pt x="584" y="84"/>
                  </a:lnTo>
                  <a:lnTo>
                    <a:pt x="584" y="84"/>
                  </a:lnTo>
                  <a:lnTo>
                    <a:pt x="597" y="85"/>
                  </a:lnTo>
                  <a:lnTo>
                    <a:pt x="609" y="86"/>
                  </a:lnTo>
                  <a:lnTo>
                    <a:pt x="621" y="90"/>
                  </a:lnTo>
                  <a:lnTo>
                    <a:pt x="633" y="93"/>
                  </a:lnTo>
                  <a:lnTo>
                    <a:pt x="644" y="99"/>
                  </a:lnTo>
                  <a:lnTo>
                    <a:pt x="655" y="105"/>
                  </a:lnTo>
                  <a:lnTo>
                    <a:pt x="665" y="113"/>
                  </a:lnTo>
                  <a:lnTo>
                    <a:pt x="673" y="121"/>
                  </a:lnTo>
                  <a:lnTo>
                    <a:pt x="681" y="129"/>
                  </a:lnTo>
                  <a:lnTo>
                    <a:pt x="689" y="139"/>
                  </a:lnTo>
                  <a:lnTo>
                    <a:pt x="695" y="150"/>
                  </a:lnTo>
                  <a:lnTo>
                    <a:pt x="701" y="161"/>
                  </a:lnTo>
                  <a:lnTo>
                    <a:pt x="704" y="173"/>
                  </a:lnTo>
                  <a:lnTo>
                    <a:pt x="708" y="185"/>
                  </a:lnTo>
                  <a:lnTo>
                    <a:pt x="709" y="197"/>
                  </a:lnTo>
                  <a:lnTo>
                    <a:pt x="710" y="210"/>
                  </a:lnTo>
                  <a:lnTo>
                    <a:pt x="710" y="1637"/>
                  </a:lnTo>
                  <a:lnTo>
                    <a:pt x="710" y="1637"/>
                  </a:lnTo>
                  <a:lnTo>
                    <a:pt x="697" y="1640"/>
                  </a:lnTo>
                  <a:lnTo>
                    <a:pt x="684" y="1646"/>
                  </a:lnTo>
                  <a:lnTo>
                    <a:pt x="672" y="1652"/>
                  </a:lnTo>
                  <a:lnTo>
                    <a:pt x="660" y="1658"/>
                  </a:lnTo>
                  <a:lnTo>
                    <a:pt x="649" y="1667"/>
                  </a:lnTo>
                  <a:lnTo>
                    <a:pt x="638" y="1675"/>
                  </a:lnTo>
                  <a:lnTo>
                    <a:pt x="629" y="1685"/>
                  </a:lnTo>
                  <a:lnTo>
                    <a:pt x="620" y="1695"/>
                  </a:lnTo>
                  <a:lnTo>
                    <a:pt x="612" y="1706"/>
                  </a:lnTo>
                  <a:lnTo>
                    <a:pt x="606" y="1718"/>
                  </a:lnTo>
                  <a:lnTo>
                    <a:pt x="599" y="1730"/>
                  </a:lnTo>
                  <a:lnTo>
                    <a:pt x="594" y="1742"/>
                  </a:lnTo>
                  <a:lnTo>
                    <a:pt x="590" y="1755"/>
                  </a:lnTo>
                  <a:lnTo>
                    <a:pt x="587" y="1770"/>
                  </a:lnTo>
                  <a:lnTo>
                    <a:pt x="585" y="1783"/>
                  </a:lnTo>
                  <a:lnTo>
                    <a:pt x="584" y="1797"/>
                  </a:lnTo>
                  <a:lnTo>
                    <a:pt x="584" y="1797"/>
                  </a:lnTo>
                  <a:lnTo>
                    <a:pt x="585" y="1815"/>
                  </a:lnTo>
                  <a:lnTo>
                    <a:pt x="588" y="1831"/>
                  </a:lnTo>
                  <a:lnTo>
                    <a:pt x="593" y="1848"/>
                  </a:lnTo>
                  <a:lnTo>
                    <a:pt x="597" y="1863"/>
                  </a:lnTo>
                  <a:lnTo>
                    <a:pt x="605" y="1878"/>
                  </a:lnTo>
                  <a:lnTo>
                    <a:pt x="613" y="1891"/>
                  </a:lnTo>
                  <a:lnTo>
                    <a:pt x="623" y="1904"/>
                  </a:lnTo>
                  <a:lnTo>
                    <a:pt x="633" y="1916"/>
                  </a:lnTo>
                  <a:lnTo>
                    <a:pt x="645" y="1927"/>
                  </a:lnTo>
                  <a:lnTo>
                    <a:pt x="659" y="1937"/>
                  </a:lnTo>
                  <a:lnTo>
                    <a:pt x="672" y="1945"/>
                  </a:lnTo>
                  <a:lnTo>
                    <a:pt x="686" y="1952"/>
                  </a:lnTo>
                  <a:lnTo>
                    <a:pt x="702" y="1957"/>
                  </a:lnTo>
                  <a:lnTo>
                    <a:pt x="719" y="1962"/>
                  </a:lnTo>
                  <a:lnTo>
                    <a:pt x="734" y="1964"/>
                  </a:lnTo>
                  <a:lnTo>
                    <a:pt x="752" y="1965"/>
                  </a:lnTo>
                  <a:lnTo>
                    <a:pt x="752" y="1965"/>
                  </a:lnTo>
                  <a:lnTo>
                    <a:pt x="769" y="1964"/>
                  </a:lnTo>
                  <a:lnTo>
                    <a:pt x="786" y="1962"/>
                  </a:lnTo>
                  <a:lnTo>
                    <a:pt x="801" y="1957"/>
                  </a:lnTo>
                  <a:lnTo>
                    <a:pt x="817" y="1952"/>
                  </a:lnTo>
                  <a:lnTo>
                    <a:pt x="831" y="1945"/>
                  </a:lnTo>
                  <a:lnTo>
                    <a:pt x="846" y="1937"/>
                  </a:lnTo>
                  <a:lnTo>
                    <a:pt x="858" y="1927"/>
                  </a:lnTo>
                  <a:lnTo>
                    <a:pt x="870" y="1916"/>
                  </a:lnTo>
                  <a:lnTo>
                    <a:pt x="881" y="1904"/>
                  </a:lnTo>
                  <a:lnTo>
                    <a:pt x="890" y="1891"/>
                  </a:lnTo>
                  <a:lnTo>
                    <a:pt x="899" y="1878"/>
                  </a:lnTo>
                  <a:lnTo>
                    <a:pt x="906" y="1863"/>
                  </a:lnTo>
                  <a:lnTo>
                    <a:pt x="912" y="1848"/>
                  </a:lnTo>
                  <a:lnTo>
                    <a:pt x="915" y="1831"/>
                  </a:lnTo>
                  <a:lnTo>
                    <a:pt x="918" y="1815"/>
                  </a:lnTo>
                  <a:lnTo>
                    <a:pt x="919" y="1797"/>
                  </a:lnTo>
                  <a:lnTo>
                    <a:pt x="919" y="1797"/>
                  </a:lnTo>
                  <a:lnTo>
                    <a:pt x="918" y="1783"/>
                  </a:lnTo>
                  <a:lnTo>
                    <a:pt x="917" y="1770"/>
                  </a:lnTo>
                  <a:lnTo>
                    <a:pt x="913" y="1755"/>
                  </a:lnTo>
                  <a:lnTo>
                    <a:pt x="909" y="1742"/>
                  </a:lnTo>
                  <a:lnTo>
                    <a:pt x="905" y="1730"/>
                  </a:lnTo>
                  <a:lnTo>
                    <a:pt x="899" y="1718"/>
                  </a:lnTo>
                  <a:lnTo>
                    <a:pt x="891" y="1706"/>
                  </a:lnTo>
                  <a:lnTo>
                    <a:pt x="883" y="1695"/>
                  </a:lnTo>
                  <a:lnTo>
                    <a:pt x="875" y="1685"/>
                  </a:lnTo>
                  <a:lnTo>
                    <a:pt x="865" y="1675"/>
                  </a:lnTo>
                  <a:lnTo>
                    <a:pt x="854" y="1667"/>
                  </a:lnTo>
                  <a:lnTo>
                    <a:pt x="843" y="1658"/>
                  </a:lnTo>
                  <a:lnTo>
                    <a:pt x="831" y="1652"/>
                  </a:lnTo>
                  <a:lnTo>
                    <a:pt x="819" y="1646"/>
                  </a:lnTo>
                  <a:lnTo>
                    <a:pt x="807" y="1640"/>
                  </a:lnTo>
                  <a:lnTo>
                    <a:pt x="793" y="1637"/>
                  </a:lnTo>
                  <a:lnTo>
                    <a:pt x="793" y="1637"/>
                  </a:lnTo>
                  <a:close/>
                  <a:moveTo>
                    <a:pt x="752" y="1881"/>
                  </a:moveTo>
                  <a:lnTo>
                    <a:pt x="752" y="1881"/>
                  </a:lnTo>
                  <a:lnTo>
                    <a:pt x="744" y="1881"/>
                  </a:lnTo>
                  <a:lnTo>
                    <a:pt x="735" y="1880"/>
                  </a:lnTo>
                  <a:lnTo>
                    <a:pt x="727" y="1878"/>
                  </a:lnTo>
                  <a:lnTo>
                    <a:pt x="720" y="1875"/>
                  </a:lnTo>
                  <a:lnTo>
                    <a:pt x="711" y="1872"/>
                  </a:lnTo>
                  <a:lnTo>
                    <a:pt x="705" y="1867"/>
                  </a:lnTo>
                  <a:lnTo>
                    <a:pt x="698" y="1862"/>
                  </a:lnTo>
                  <a:lnTo>
                    <a:pt x="692" y="1857"/>
                  </a:lnTo>
                  <a:lnTo>
                    <a:pt x="687" y="1851"/>
                  </a:lnTo>
                  <a:lnTo>
                    <a:pt x="683" y="1844"/>
                  </a:lnTo>
                  <a:lnTo>
                    <a:pt x="678" y="1838"/>
                  </a:lnTo>
                  <a:lnTo>
                    <a:pt x="674" y="1831"/>
                  </a:lnTo>
                  <a:lnTo>
                    <a:pt x="672" y="1823"/>
                  </a:lnTo>
                  <a:lnTo>
                    <a:pt x="669" y="1814"/>
                  </a:lnTo>
                  <a:lnTo>
                    <a:pt x="668" y="1807"/>
                  </a:lnTo>
                  <a:lnTo>
                    <a:pt x="668" y="1797"/>
                  </a:lnTo>
                  <a:lnTo>
                    <a:pt x="668" y="1797"/>
                  </a:lnTo>
                  <a:lnTo>
                    <a:pt x="668" y="1789"/>
                  </a:lnTo>
                  <a:lnTo>
                    <a:pt x="669" y="1781"/>
                  </a:lnTo>
                  <a:lnTo>
                    <a:pt x="672" y="1773"/>
                  </a:lnTo>
                  <a:lnTo>
                    <a:pt x="674" y="1765"/>
                  </a:lnTo>
                  <a:lnTo>
                    <a:pt x="678" y="1758"/>
                  </a:lnTo>
                  <a:lnTo>
                    <a:pt x="683" y="1751"/>
                  </a:lnTo>
                  <a:lnTo>
                    <a:pt x="687" y="1745"/>
                  </a:lnTo>
                  <a:lnTo>
                    <a:pt x="692" y="1739"/>
                  </a:lnTo>
                  <a:lnTo>
                    <a:pt x="698" y="1734"/>
                  </a:lnTo>
                  <a:lnTo>
                    <a:pt x="705" y="1729"/>
                  </a:lnTo>
                  <a:lnTo>
                    <a:pt x="711" y="1724"/>
                  </a:lnTo>
                  <a:lnTo>
                    <a:pt x="720" y="1721"/>
                  </a:lnTo>
                  <a:lnTo>
                    <a:pt x="727" y="1718"/>
                  </a:lnTo>
                  <a:lnTo>
                    <a:pt x="735" y="1716"/>
                  </a:lnTo>
                  <a:lnTo>
                    <a:pt x="744" y="1715"/>
                  </a:lnTo>
                  <a:lnTo>
                    <a:pt x="752" y="1715"/>
                  </a:lnTo>
                  <a:lnTo>
                    <a:pt x="752" y="1715"/>
                  </a:lnTo>
                  <a:lnTo>
                    <a:pt x="761" y="1715"/>
                  </a:lnTo>
                  <a:lnTo>
                    <a:pt x="769" y="1716"/>
                  </a:lnTo>
                  <a:lnTo>
                    <a:pt x="776" y="1718"/>
                  </a:lnTo>
                  <a:lnTo>
                    <a:pt x="785" y="1721"/>
                  </a:lnTo>
                  <a:lnTo>
                    <a:pt x="792" y="1724"/>
                  </a:lnTo>
                  <a:lnTo>
                    <a:pt x="799" y="1729"/>
                  </a:lnTo>
                  <a:lnTo>
                    <a:pt x="805" y="1734"/>
                  </a:lnTo>
                  <a:lnTo>
                    <a:pt x="811" y="1739"/>
                  </a:lnTo>
                  <a:lnTo>
                    <a:pt x="816" y="1745"/>
                  </a:lnTo>
                  <a:lnTo>
                    <a:pt x="821" y="1751"/>
                  </a:lnTo>
                  <a:lnTo>
                    <a:pt x="825" y="1758"/>
                  </a:lnTo>
                  <a:lnTo>
                    <a:pt x="829" y="1765"/>
                  </a:lnTo>
                  <a:lnTo>
                    <a:pt x="831" y="1773"/>
                  </a:lnTo>
                  <a:lnTo>
                    <a:pt x="834" y="1781"/>
                  </a:lnTo>
                  <a:lnTo>
                    <a:pt x="835" y="1789"/>
                  </a:lnTo>
                  <a:lnTo>
                    <a:pt x="835" y="1797"/>
                  </a:lnTo>
                  <a:lnTo>
                    <a:pt x="835" y="1797"/>
                  </a:lnTo>
                  <a:lnTo>
                    <a:pt x="835" y="1807"/>
                  </a:lnTo>
                  <a:lnTo>
                    <a:pt x="834" y="1814"/>
                  </a:lnTo>
                  <a:lnTo>
                    <a:pt x="831" y="1823"/>
                  </a:lnTo>
                  <a:lnTo>
                    <a:pt x="829" y="1831"/>
                  </a:lnTo>
                  <a:lnTo>
                    <a:pt x="825" y="1838"/>
                  </a:lnTo>
                  <a:lnTo>
                    <a:pt x="821" y="1844"/>
                  </a:lnTo>
                  <a:lnTo>
                    <a:pt x="816" y="1851"/>
                  </a:lnTo>
                  <a:lnTo>
                    <a:pt x="811" y="1857"/>
                  </a:lnTo>
                  <a:lnTo>
                    <a:pt x="805" y="1862"/>
                  </a:lnTo>
                  <a:lnTo>
                    <a:pt x="799" y="1867"/>
                  </a:lnTo>
                  <a:lnTo>
                    <a:pt x="792" y="1872"/>
                  </a:lnTo>
                  <a:lnTo>
                    <a:pt x="785" y="1875"/>
                  </a:lnTo>
                  <a:lnTo>
                    <a:pt x="776" y="1878"/>
                  </a:lnTo>
                  <a:lnTo>
                    <a:pt x="769" y="1880"/>
                  </a:lnTo>
                  <a:lnTo>
                    <a:pt x="761" y="1881"/>
                  </a:lnTo>
                  <a:lnTo>
                    <a:pt x="752" y="1881"/>
                  </a:lnTo>
                  <a:lnTo>
                    <a:pt x="752" y="188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2" name="Freeform 642">
              <a:extLst>
                <a:ext uri="{FF2B5EF4-FFF2-40B4-BE49-F238E27FC236}">
                  <a16:creationId xmlns:a16="http://schemas.microsoft.com/office/drawing/2014/main" id="{E212058D-7CF2-4554-A726-C8688FD71897}"/>
                </a:ext>
              </a:extLst>
            </p:cNvPr>
            <p:cNvSpPr>
              <a:spLocks noEditPoints="1"/>
            </p:cNvSpPr>
            <p:nvPr/>
          </p:nvSpPr>
          <p:spPr bwMode="auto">
            <a:xfrm>
              <a:off x="9977438" y="731838"/>
              <a:ext cx="311150" cy="231775"/>
            </a:xfrm>
            <a:custGeom>
              <a:avLst/>
              <a:gdLst>
                <a:gd name="T0" fmla="*/ 989 w 1172"/>
                <a:gd name="T1" fmla="*/ 418 h 878"/>
                <a:gd name="T2" fmla="*/ 881 w 1172"/>
                <a:gd name="T3" fmla="*/ 53 h 878"/>
                <a:gd name="T4" fmla="*/ 753 w 1172"/>
                <a:gd name="T5" fmla="*/ 0 h 878"/>
                <a:gd name="T6" fmla="*/ 419 w 1172"/>
                <a:gd name="T7" fmla="*/ 181 h 878"/>
                <a:gd name="T8" fmla="*/ 54 w 1172"/>
                <a:gd name="T9" fmla="*/ 289 h 878"/>
                <a:gd name="T10" fmla="*/ 0 w 1172"/>
                <a:gd name="T11" fmla="*/ 418 h 878"/>
                <a:gd name="T12" fmla="*/ 183 w 1172"/>
                <a:gd name="T13" fmla="*/ 752 h 878"/>
                <a:gd name="T14" fmla="*/ 209 w 1172"/>
                <a:gd name="T15" fmla="*/ 878 h 878"/>
                <a:gd name="T16" fmla="*/ 1044 w 1172"/>
                <a:gd name="T17" fmla="*/ 806 h 878"/>
                <a:gd name="T18" fmla="*/ 1172 w 1172"/>
                <a:gd name="T19" fmla="*/ 752 h 878"/>
                <a:gd name="T20" fmla="*/ 586 w 1172"/>
                <a:gd name="T21" fmla="*/ 836 h 878"/>
                <a:gd name="T22" fmla="*/ 561 w 1172"/>
                <a:gd name="T23" fmla="*/ 835 h 878"/>
                <a:gd name="T24" fmla="*/ 512 w 1172"/>
                <a:gd name="T25" fmla="*/ 824 h 878"/>
                <a:gd name="T26" fmla="*/ 466 w 1172"/>
                <a:gd name="T27" fmla="*/ 806 h 878"/>
                <a:gd name="T28" fmla="*/ 426 w 1172"/>
                <a:gd name="T29" fmla="*/ 779 h 878"/>
                <a:gd name="T30" fmla="*/ 393 w 1172"/>
                <a:gd name="T31" fmla="*/ 745 h 878"/>
                <a:gd name="T32" fmla="*/ 365 w 1172"/>
                <a:gd name="T33" fmla="*/ 704 h 878"/>
                <a:gd name="T34" fmla="*/ 346 w 1172"/>
                <a:gd name="T35" fmla="*/ 660 h 878"/>
                <a:gd name="T36" fmla="*/ 336 w 1172"/>
                <a:gd name="T37" fmla="*/ 611 h 878"/>
                <a:gd name="T38" fmla="*/ 335 w 1172"/>
                <a:gd name="T39" fmla="*/ 586 h 878"/>
                <a:gd name="T40" fmla="*/ 340 w 1172"/>
                <a:gd name="T41" fmla="*/ 535 h 878"/>
                <a:gd name="T42" fmla="*/ 354 w 1172"/>
                <a:gd name="T43" fmla="*/ 487 h 878"/>
                <a:gd name="T44" fmla="*/ 378 w 1172"/>
                <a:gd name="T45" fmla="*/ 445 h 878"/>
                <a:gd name="T46" fmla="*/ 408 w 1172"/>
                <a:gd name="T47" fmla="*/ 408 h 878"/>
                <a:gd name="T48" fmla="*/ 446 w 1172"/>
                <a:gd name="T49" fmla="*/ 377 h 878"/>
                <a:gd name="T50" fmla="*/ 489 w 1172"/>
                <a:gd name="T51" fmla="*/ 354 h 878"/>
                <a:gd name="T52" fmla="*/ 536 w 1172"/>
                <a:gd name="T53" fmla="*/ 340 h 878"/>
                <a:gd name="T54" fmla="*/ 586 w 1172"/>
                <a:gd name="T55" fmla="*/ 335 h 878"/>
                <a:gd name="T56" fmla="*/ 611 w 1172"/>
                <a:gd name="T57" fmla="*/ 336 h 878"/>
                <a:gd name="T58" fmla="*/ 660 w 1172"/>
                <a:gd name="T59" fmla="*/ 346 h 878"/>
                <a:gd name="T60" fmla="*/ 706 w 1172"/>
                <a:gd name="T61" fmla="*/ 365 h 878"/>
                <a:gd name="T62" fmla="*/ 746 w 1172"/>
                <a:gd name="T63" fmla="*/ 391 h 878"/>
                <a:gd name="T64" fmla="*/ 779 w 1172"/>
                <a:gd name="T65" fmla="*/ 426 h 878"/>
                <a:gd name="T66" fmla="*/ 807 w 1172"/>
                <a:gd name="T67" fmla="*/ 466 h 878"/>
                <a:gd name="T68" fmla="*/ 826 w 1172"/>
                <a:gd name="T69" fmla="*/ 511 h 878"/>
                <a:gd name="T70" fmla="*/ 836 w 1172"/>
                <a:gd name="T71" fmla="*/ 559 h 878"/>
                <a:gd name="T72" fmla="*/ 837 w 1172"/>
                <a:gd name="T73" fmla="*/ 586 h 878"/>
                <a:gd name="T74" fmla="*/ 832 w 1172"/>
                <a:gd name="T75" fmla="*/ 636 h 878"/>
                <a:gd name="T76" fmla="*/ 818 w 1172"/>
                <a:gd name="T77" fmla="*/ 683 h 878"/>
                <a:gd name="T78" fmla="*/ 794 w 1172"/>
                <a:gd name="T79" fmla="*/ 726 h 878"/>
                <a:gd name="T80" fmla="*/ 764 w 1172"/>
                <a:gd name="T81" fmla="*/ 763 h 878"/>
                <a:gd name="T82" fmla="*/ 726 w 1172"/>
                <a:gd name="T83" fmla="*/ 793 h 878"/>
                <a:gd name="T84" fmla="*/ 683 w 1172"/>
                <a:gd name="T85" fmla="*/ 816 h 878"/>
                <a:gd name="T86" fmla="*/ 636 w 1172"/>
                <a:gd name="T87" fmla="*/ 832 h 878"/>
                <a:gd name="T88" fmla="*/ 586 w 1172"/>
                <a:gd name="T89" fmla="*/ 83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2" h="878">
                  <a:moveTo>
                    <a:pt x="1172" y="418"/>
                  </a:moveTo>
                  <a:lnTo>
                    <a:pt x="989" y="418"/>
                  </a:lnTo>
                  <a:lnTo>
                    <a:pt x="1118" y="289"/>
                  </a:lnTo>
                  <a:lnTo>
                    <a:pt x="881" y="53"/>
                  </a:lnTo>
                  <a:lnTo>
                    <a:pt x="753" y="181"/>
                  </a:lnTo>
                  <a:lnTo>
                    <a:pt x="753" y="0"/>
                  </a:lnTo>
                  <a:lnTo>
                    <a:pt x="419" y="0"/>
                  </a:lnTo>
                  <a:lnTo>
                    <a:pt x="419" y="181"/>
                  </a:lnTo>
                  <a:lnTo>
                    <a:pt x="291" y="53"/>
                  </a:lnTo>
                  <a:lnTo>
                    <a:pt x="54" y="289"/>
                  </a:lnTo>
                  <a:lnTo>
                    <a:pt x="183" y="418"/>
                  </a:lnTo>
                  <a:lnTo>
                    <a:pt x="0" y="418"/>
                  </a:lnTo>
                  <a:lnTo>
                    <a:pt x="0" y="752"/>
                  </a:lnTo>
                  <a:lnTo>
                    <a:pt x="183" y="752"/>
                  </a:lnTo>
                  <a:lnTo>
                    <a:pt x="138" y="797"/>
                  </a:lnTo>
                  <a:lnTo>
                    <a:pt x="209" y="878"/>
                  </a:lnTo>
                  <a:lnTo>
                    <a:pt x="963" y="878"/>
                  </a:lnTo>
                  <a:lnTo>
                    <a:pt x="1044" y="806"/>
                  </a:lnTo>
                  <a:lnTo>
                    <a:pt x="989" y="752"/>
                  </a:lnTo>
                  <a:lnTo>
                    <a:pt x="1172" y="752"/>
                  </a:lnTo>
                  <a:lnTo>
                    <a:pt x="1172" y="418"/>
                  </a:lnTo>
                  <a:close/>
                  <a:moveTo>
                    <a:pt x="586" y="836"/>
                  </a:moveTo>
                  <a:lnTo>
                    <a:pt x="586" y="836"/>
                  </a:lnTo>
                  <a:lnTo>
                    <a:pt x="561" y="835"/>
                  </a:lnTo>
                  <a:lnTo>
                    <a:pt x="536" y="832"/>
                  </a:lnTo>
                  <a:lnTo>
                    <a:pt x="512" y="824"/>
                  </a:lnTo>
                  <a:lnTo>
                    <a:pt x="489" y="816"/>
                  </a:lnTo>
                  <a:lnTo>
                    <a:pt x="466" y="806"/>
                  </a:lnTo>
                  <a:lnTo>
                    <a:pt x="446" y="793"/>
                  </a:lnTo>
                  <a:lnTo>
                    <a:pt x="426" y="779"/>
                  </a:lnTo>
                  <a:lnTo>
                    <a:pt x="408" y="763"/>
                  </a:lnTo>
                  <a:lnTo>
                    <a:pt x="393" y="745"/>
                  </a:lnTo>
                  <a:lnTo>
                    <a:pt x="378" y="726"/>
                  </a:lnTo>
                  <a:lnTo>
                    <a:pt x="365" y="704"/>
                  </a:lnTo>
                  <a:lnTo>
                    <a:pt x="354" y="683"/>
                  </a:lnTo>
                  <a:lnTo>
                    <a:pt x="346" y="660"/>
                  </a:lnTo>
                  <a:lnTo>
                    <a:pt x="340" y="636"/>
                  </a:lnTo>
                  <a:lnTo>
                    <a:pt x="336" y="611"/>
                  </a:lnTo>
                  <a:lnTo>
                    <a:pt x="335" y="586"/>
                  </a:lnTo>
                  <a:lnTo>
                    <a:pt x="335" y="586"/>
                  </a:lnTo>
                  <a:lnTo>
                    <a:pt x="336" y="559"/>
                  </a:lnTo>
                  <a:lnTo>
                    <a:pt x="340" y="535"/>
                  </a:lnTo>
                  <a:lnTo>
                    <a:pt x="346" y="511"/>
                  </a:lnTo>
                  <a:lnTo>
                    <a:pt x="354" y="487"/>
                  </a:lnTo>
                  <a:lnTo>
                    <a:pt x="365" y="466"/>
                  </a:lnTo>
                  <a:lnTo>
                    <a:pt x="378" y="445"/>
                  </a:lnTo>
                  <a:lnTo>
                    <a:pt x="393" y="426"/>
                  </a:lnTo>
                  <a:lnTo>
                    <a:pt x="408" y="408"/>
                  </a:lnTo>
                  <a:lnTo>
                    <a:pt x="426" y="391"/>
                  </a:lnTo>
                  <a:lnTo>
                    <a:pt x="446" y="377"/>
                  </a:lnTo>
                  <a:lnTo>
                    <a:pt x="466" y="365"/>
                  </a:lnTo>
                  <a:lnTo>
                    <a:pt x="489" y="354"/>
                  </a:lnTo>
                  <a:lnTo>
                    <a:pt x="512" y="346"/>
                  </a:lnTo>
                  <a:lnTo>
                    <a:pt x="536" y="340"/>
                  </a:lnTo>
                  <a:lnTo>
                    <a:pt x="561" y="336"/>
                  </a:lnTo>
                  <a:lnTo>
                    <a:pt x="586" y="335"/>
                  </a:lnTo>
                  <a:lnTo>
                    <a:pt x="586" y="335"/>
                  </a:lnTo>
                  <a:lnTo>
                    <a:pt x="611" y="336"/>
                  </a:lnTo>
                  <a:lnTo>
                    <a:pt x="636" y="340"/>
                  </a:lnTo>
                  <a:lnTo>
                    <a:pt x="660" y="346"/>
                  </a:lnTo>
                  <a:lnTo>
                    <a:pt x="683" y="354"/>
                  </a:lnTo>
                  <a:lnTo>
                    <a:pt x="706" y="365"/>
                  </a:lnTo>
                  <a:lnTo>
                    <a:pt x="726" y="377"/>
                  </a:lnTo>
                  <a:lnTo>
                    <a:pt x="746" y="391"/>
                  </a:lnTo>
                  <a:lnTo>
                    <a:pt x="764" y="408"/>
                  </a:lnTo>
                  <a:lnTo>
                    <a:pt x="779" y="426"/>
                  </a:lnTo>
                  <a:lnTo>
                    <a:pt x="794" y="445"/>
                  </a:lnTo>
                  <a:lnTo>
                    <a:pt x="807" y="466"/>
                  </a:lnTo>
                  <a:lnTo>
                    <a:pt x="818" y="487"/>
                  </a:lnTo>
                  <a:lnTo>
                    <a:pt x="826" y="511"/>
                  </a:lnTo>
                  <a:lnTo>
                    <a:pt x="832" y="535"/>
                  </a:lnTo>
                  <a:lnTo>
                    <a:pt x="836" y="559"/>
                  </a:lnTo>
                  <a:lnTo>
                    <a:pt x="837" y="586"/>
                  </a:lnTo>
                  <a:lnTo>
                    <a:pt x="837" y="586"/>
                  </a:lnTo>
                  <a:lnTo>
                    <a:pt x="836" y="611"/>
                  </a:lnTo>
                  <a:lnTo>
                    <a:pt x="832" y="636"/>
                  </a:lnTo>
                  <a:lnTo>
                    <a:pt x="826" y="660"/>
                  </a:lnTo>
                  <a:lnTo>
                    <a:pt x="818" y="683"/>
                  </a:lnTo>
                  <a:lnTo>
                    <a:pt x="807" y="704"/>
                  </a:lnTo>
                  <a:lnTo>
                    <a:pt x="794" y="726"/>
                  </a:lnTo>
                  <a:lnTo>
                    <a:pt x="779" y="745"/>
                  </a:lnTo>
                  <a:lnTo>
                    <a:pt x="764" y="763"/>
                  </a:lnTo>
                  <a:lnTo>
                    <a:pt x="746" y="779"/>
                  </a:lnTo>
                  <a:lnTo>
                    <a:pt x="726" y="793"/>
                  </a:lnTo>
                  <a:lnTo>
                    <a:pt x="706" y="806"/>
                  </a:lnTo>
                  <a:lnTo>
                    <a:pt x="683" y="816"/>
                  </a:lnTo>
                  <a:lnTo>
                    <a:pt x="660" y="824"/>
                  </a:lnTo>
                  <a:lnTo>
                    <a:pt x="636" y="832"/>
                  </a:lnTo>
                  <a:lnTo>
                    <a:pt x="611" y="835"/>
                  </a:lnTo>
                  <a:lnTo>
                    <a:pt x="586" y="836"/>
                  </a:lnTo>
                  <a:lnTo>
                    <a:pt x="586" y="836"/>
                  </a:lnTo>
                  <a:close/>
                </a:path>
              </a:pathLst>
            </a:custGeom>
            <a:solidFill>
              <a:srgbClr val="4DC6D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53" name="Freeform 643">
              <a:extLst>
                <a:ext uri="{FF2B5EF4-FFF2-40B4-BE49-F238E27FC236}">
                  <a16:creationId xmlns:a16="http://schemas.microsoft.com/office/drawing/2014/main" id="{D3EDF293-F6A2-4BBB-B53A-EB606196EB30}"/>
                </a:ext>
              </a:extLst>
            </p:cNvPr>
            <p:cNvSpPr>
              <a:spLocks noEditPoints="1"/>
            </p:cNvSpPr>
            <p:nvPr/>
          </p:nvSpPr>
          <p:spPr bwMode="auto">
            <a:xfrm>
              <a:off x="9896476" y="809626"/>
              <a:ext cx="473075" cy="608013"/>
            </a:xfrm>
            <a:custGeom>
              <a:avLst/>
              <a:gdLst>
                <a:gd name="T0" fmla="*/ 1330 w 1788"/>
                <a:gd name="T1" fmla="*/ 1400 h 2299"/>
                <a:gd name="T2" fmla="*/ 1324 w 1788"/>
                <a:gd name="T3" fmla="*/ 1007 h 2299"/>
                <a:gd name="T4" fmla="*/ 1596 w 1788"/>
                <a:gd name="T5" fmla="*/ 1140 h 2299"/>
                <a:gd name="T6" fmla="*/ 1522 w 1788"/>
                <a:gd name="T7" fmla="*/ 1267 h 2299"/>
                <a:gd name="T8" fmla="*/ 1633 w 1788"/>
                <a:gd name="T9" fmla="*/ 1379 h 2299"/>
                <a:gd name="T10" fmla="*/ 1762 w 1788"/>
                <a:gd name="T11" fmla="*/ 1303 h 2299"/>
                <a:gd name="T12" fmla="*/ 1736 w 1788"/>
                <a:gd name="T13" fmla="*/ 1166 h 2299"/>
                <a:gd name="T14" fmla="*/ 1730 w 1788"/>
                <a:gd name="T15" fmla="*/ 668 h 2299"/>
                <a:gd name="T16" fmla="*/ 1135 w 1788"/>
                <a:gd name="T17" fmla="*/ 458 h 2299"/>
                <a:gd name="T18" fmla="*/ 1186 w 1788"/>
                <a:gd name="T19" fmla="*/ 263 h 2299"/>
                <a:gd name="T20" fmla="*/ 980 w 1788"/>
                <a:gd name="T21" fmla="*/ 13 h 2299"/>
                <a:gd name="T22" fmla="*/ 780 w 1788"/>
                <a:gd name="T23" fmla="*/ 23 h 2299"/>
                <a:gd name="T24" fmla="*/ 601 w 1788"/>
                <a:gd name="T25" fmla="*/ 277 h 2299"/>
                <a:gd name="T26" fmla="*/ 676 w 1788"/>
                <a:gd name="T27" fmla="*/ 486 h 2299"/>
                <a:gd name="T28" fmla="*/ 968 w 1788"/>
                <a:gd name="T29" fmla="*/ 716 h 2299"/>
                <a:gd name="T30" fmla="*/ 559 w 1788"/>
                <a:gd name="T31" fmla="*/ 585 h 2299"/>
                <a:gd name="T32" fmla="*/ 86 w 1788"/>
                <a:gd name="T33" fmla="*/ 575 h 2299"/>
                <a:gd name="T34" fmla="*/ 90 w 1788"/>
                <a:gd name="T35" fmla="*/ 767 h 2299"/>
                <a:gd name="T36" fmla="*/ 18 w 1788"/>
                <a:gd name="T37" fmla="*/ 1193 h 2299"/>
                <a:gd name="T38" fmla="*/ 82 w 1788"/>
                <a:gd name="T39" fmla="*/ 1322 h 2299"/>
                <a:gd name="T40" fmla="*/ 230 w 1788"/>
                <a:gd name="T41" fmla="*/ 1301 h 2299"/>
                <a:gd name="T42" fmla="*/ 257 w 1788"/>
                <a:gd name="T43" fmla="*/ 1164 h 2299"/>
                <a:gd name="T44" fmla="*/ 580 w 1788"/>
                <a:gd name="T45" fmla="*/ 836 h 2299"/>
                <a:gd name="T46" fmla="*/ 440 w 1788"/>
                <a:gd name="T47" fmla="*/ 1098 h 2299"/>
                <a:gd name="T48" fmla="*/ 508 w 1788"/>
                <a:gd name="T49" fmla="*/ 1503 h 2299"/>
                <a:gd name="T50" fmla="*/ 319 w 1788"/>
                <a:gd name="T51" fmla="*/ 1724 h 2299"/>
                <a:gd name="T52" fmla="*/ 1682 w 1788"/>
                <a:gd name="T53" fmla="*/ 1981 h 2299"/>
                <a:gd name="T54" fmla="*/ 1412 w 1788"/>
                <a:gd name="T55" fmla="*/ 1698 h 2299"/>
                <a:gd name="T56" fmla="*/ 746 w 1788"/>
                <a:gd name="T57" fmla="*/ 145 h 2299"/>
                <a:gd name="T58" fmla="*/ 994 w 1788"/>
                <a:gd name="T59" fmla="*/ 109 h 2299"/>
                <a:gd name="T60" fmla="*/ 1099 w 1788"/>
                <a:gd name="T61" fmla="*/ 335 h 2299"/>
                <a:gd name="T62" fmla="*/ 894 w 1788"/>
                <a:gd name="T63" fmla="*/ 501 h 2299"/>
                <a:gd name="T64" fmla="*/ 695 w 1788"/>
                <a:gd name="T65" fmla="*/ 354 h 2299"/>
                <a:gd name="T66" fmla="*/ 1604 w 1788"/>
                <a:gd name="T67" fmla="*/ 1254 h 2299"/>
                <a:gd name="T68" fmla="*/ 1676 w 1788"/>
                <a:gd name="T69" fmla="*/ 1224 h 2299"/>
                <a:gd name="T70" fmla="*/ 1646 w 1788"/>
                <a:gd name="T71" fmla="*/ 1296 h 2299"/>
                <a:gd name="T72" fmla="*/ 1646 w 1788"/>
                <a:gd name="T73" fmla="*/ 668 h 2299"/>
                <a:gd name="T74" fmla="*/ 103 w 1788"/>
                <a:gd name="T75" fmla="*/ 1229 h 2299"/>
                <a:gd name="T76" fmla="*/ 157 w 1788"/>
                <a:gd name="T77" fmla="*/ 1173 h 2299"/>
                <a:gd name="T78" fmla="*/ 150 w 1788"/>
                <a:gd name="T79" fmla="*/ 1253 h 2299"/>
                <a:gd name="T80" fmla="*/ 179 w 1788"/>
                <a:gd name="T81" fmla="*/ 600 h 2299"/>
                <a:gd name="T82" fmla="*/ 192 w 1788"/>
                <a:gd name="T83" fmla="*/ 745 h 2299"/>
                <a:gd name="T84" fmla="*/ 852 w 1788"/>
                <a:gd name="T85" fmla="*/ 2048 h 2299"/>
                <a:gd name="T86" fmla="*/ 695 w 1788"/>
                <a:gd name="T87" fmla="*/ 1737 h 2299"/>
                <a:gd name="T88" fmla="*/ 1061 w 1788"/>
                <a:gd name="T89" fmla="*/ 1797 h 2299"/>
                <a:gd name="T90" fmla="*/ 522 w 1788"/>
                <a:gd name="T91" fmla="*/ 1113 h 2299"/>
                <a:gd name="T92" fmla="*/ 641 w 1788"/>
                <a:gd name="T93" fmla="*/ 891 h 2299"/>
                <a:gd name="T94" fmla="*/ 875 w 1788"/>
                <a:gd name="T95" fmla="*/ 794 h 2299"/>
                <a:gd name="T96" fmla="*/ 1104 w 1788"/>
                <a:gd name="T97" fmla="*/ 858 h 2299"/>
                <a:gd name="T98" fmla="*/ 1253 w 1788"/>
                <a:gd name="T99" fmla="*/ 1058 h 2299"/>
                <a:gd name="T100" fmla="*/ 1253 w 1788"/>
                <a:gd name="T101" fmla="*/ 1365 h 2299"/>
                <a:gd name="T102" fmla="*/ 1104 w 1788"/>
                <a:gd name="T103" fmla="*/ 1566 h 2299"/>
                <a:gd name="T104" fmla="*/ 875 w 1788"/>
                <a:gd name="T105" fmla="*/ 1629 h 2299"/>
                <a:gd name="T106" fmla="*/ 641 w 1788"/>
                <a:gd name="T107" fmla="*/ 1532 h 2299"/>
                <a:gd name="T108" fmla="*/ 522 w 1788"/>
                <a:gd name="T109" fmla="*/ 1311 h 2299"/>
                <a:gd name="T110" fmla="*/ 1007 w 1788"/>
                <a:gd name="T111" fmla="*/ 1727 h 2299"/>
                <a:gd name="T112" fmla="*/ 894 w 1788"/>
                <a:gd name="T113" fmla="*/ 1797 h 2299"/>
                <a:gd name="T114" fmla="*/ 778 w 1788"/>
                <a:gd name="T115" fmla="*/ 1717 h 2299"/>
                <a:gd name="T116" fmla="*/ 230 w 1788"/>
                <a:gd name="T117" fmla="*/ 1915 h 2299"/>
                <a:gd name="T118" fmla="*/ 559 w 1788"/>
                <a:gd name="T119" fmla="*/ 1979 h 2299"/>
                <a:gd name="T120" fmla="*/ 1020 w 1788"/>
                <a:gd name="T121" fmla="*/ 2215 h 2299"/>
                <a:gd name="T122" fmla="*/ 1490 w 1788"/>
                <a:gd name="T123" fmla="*/ 1841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8" h="2299">
                  <a:moveTo>
                    <a:pt x="1321" y="1673"/>
                  </a:moveTo>
                  <a:lnTo>
                    <a:pt x="1139" y="1643"/>
                  </a:lnTo>
                  <a:lnTo>
                    <a:pt x="1139" y="1643"/>
                  </a:lnTo>
                  <a:lnTo>
                    <a:pt x="1163" y="1627"/>
                  </a:lnTo>
                  <a:lnTo>
                    <a:pt x="1186" y="1609"/>
                  </a:lnTo>
                  <a:lnTo>
                    <a:pt x="1206" y="1590"/>
                  </a:lnTo>
                  <a:lnTo>
                    <a:pt x="1226" y="1571"/>
                  </a:lnTo>
                  <a:lnTo>
                    <a:pt x="1246" y="1549"/>
                  </a:lnTo>
                  <a:lnTo>
                    <a:pt x="1264" y="1526"/>
                  </a:lnTo>
                  <a:lnTo>
                    <a:pt x="1280" y="1503"/>
                  </a:lnTo>
                  <a:lnTo>
                    <a:pt x="1295" y="1479"/>
                  </a:lnTo>
                  <a:lnTo>
                    <a:pt x="1308" y="1453"/>
                  </a:lnTo>
                  <a:lnTo>
                    <a:pt x="1320" y="1427"/>
                  </a:lnTo>
                  <a:lnTo>
                    <a:pt x="1330" y="1400"/>
                  </a:lnTo>
                  <a:lnTo>
                    <a:pt x="1338" y="1373"/>
                  </a:lnTo>
                  <a:lnTo>
                    <a:pt x="1345" y="1344"/>
                  </a:lnTo>
                  <a:lnTo>
                    <a:pt x="1350" y="1314"/>
                  </a:lnTo>
                  <a:lnTo>
                    <a:pt x="1352" y="1284"/>
                  </a:lnTo>
                  <a:lnTo>
                    <a:pt x="1354" y="1254"/>
                  </a:lnTo>
                  <a:lnTo>
                    <a:pt x="1354" y="1170"/>
                  </a:lnTo>
                  <a:lnTo>
                    <a:pt x="1354" y="1170"/>
                  </a:lnTo>
                  <a:lnTo>
                    <a:pt x="1354" y="1146"/>
                  </a:lnTo>
                  <a:lnTo>
                    <a:pt x="1351" y="1122"/>
                  </a:lnTo>
                  <a:lnTo>
                    <a:pt x="1348" y="1098"/>
                  </a:lnTo>
                  <a:lnTo>
                    <a:pt x="1344" y="1074"/>
                  </a:lnTo>
                  <a:lnTo>
                    <a:pt x="1338" y="1051"/>
                  </a:lnTo>
                  <a:lnTo>
                    <a:pt x="1332" y="1028"/>
                  </a:lnTo>
                  <a:lnTo>
                    <a:pt x="1324" y="1007"/>
                  </a:lnTo>
                  <a:lnTo>
                    <a:pt x="1315" y="985"/>
                  </a:lnTo>
                  <a:lnTo>
                    <a:pt x="1304" y="965"/>
                  </a:lnTo>
                  <a:lnTo>
                    <a:pt x="1294" y="944"/>
                  </a:lnTo>
                  <a:lnTo>
                    <a:pt x="1282" y="924"/>
                  </a:lnTo>
                  <a:lnTo>
                    <a:pt x="1268" y="905"/>
                  </a:lnTo>
                  <a:lnTo>
                    <a:pt x="1255" y="887"/>
                  </a:lnTo>
                  <a:lnTo>
                    <a:pt x="1241" y="869"/>
                  </a:lnTo>
                  <a:lnTo>
                    <a:pt x="1225" y="852"/>
                  </a:lnTo>
                  <a:lnTo>
                    <a:pt x="1208" y="836"/>
                  </a:lnTo>
                  <a:lnTo>
                    <a:pt x="1360" y="836"/>
                  </a:lnTo>
                  <a:lnTo>
                    <a:pt x="1604" y="774"/>
                  </a:lnTo>
                  <a:lnTo>
                    <a:pt x="1604" y="1136"/>
                  </a:lnTo>
                  <a:lnTo>
                    <a:pt x="1604" y="1136"/>
                  </a:lnTo>
                  <a:lnTo>
                    <a:pt x="1596" y="1140"/>
                  </a:lnTo>
                  <a:lnTo>
                    <a:pt x="1588" y="1143"/>
                  </a:lnTo>
                  <a:lnTo>
                    <a:pt x="1571" y="1154"/>
                  </a:lnTo>
                  <a:lnTo>
                    <a:pt x="1556" y="1166"/>
                  </a:lnTo>
                  <a:lnTo>
                    <a:pt x="1544" y="1181"/>
                  </a:lnTo>
                  <a:lnTo>
                    <a:pt x="1540" y="1189"/>
                  </a:lnTo>
                  <a:lnTo>
                    <a:pt x="1535" y="1197"/>
                  </a:lnTo>
                  <a:lnTo>
                    <a:pt x="1531" y="1206"/>
                  </a:lnTo>
                  <a:lnTo>
                    <a:pt x="1528" y="1215"/>
                  </a:lnTo>
                  <a:lnTo>
                    <a:pt x="1525" y="1224"/>
                  </a:lnTo>
                  <a:lnTo>
                    <a:pt x="1523" y="1233"/>
                  </a:lnTo>
                  <a:lnTo>
                    <a:pt x="1522" y="1244"/>
                  </a:lnTo>
                  <a:lnTo>
                    <a:pt x="1522" y="1254"/>
                  </a:lnTo>
                  <a:lnTo>
                    <a:pt x="1522" y="1254"/>
                  </a:lnTo>
                  <a:lnTo>
                    <a:pt x="1522" y="1267"/>
                  </a:lnTo>
                  <a:lnTo>
                    <a:pt x="1524" y="1279"/>
                  </a:lnTo>
                  <a:lnTo>
                    <a:pt x="1526" y="1291"/>
                  </a:lnTo>
                  <a:lnTo>
                    <a:pt x="1531" y="1303"/>
                  </a:lnTo>
                  <a:lnTo>
                    <a:pt x="1536" y="1314"/>
                  </a:lnTo>
                  <a:lnTo>
                    <a:pt x="1542" y="1323"/>
                  </a:lnTo>
                  <a:lnTo>
                    <a:pt x="1549" y="1333"/>
                  </a:lnTo>
                  <a:lnTo>
                    <a:pt x="1558" y="1343"/>
                  </a:lnTo>
                  <a:lnTo>
                    <a:pt x="1567" y="1351"/>
                  </a:lnTo>
                  <a:lnTo>
                    <a:pt x="1577" y="1358"/>
                  </a:lnTo>
                  <a:lnTo>
                    <a:pt x="1586" y="1364"/>
                  </a:lnTo>
                  <a:lnTo>
                    <a:pt x="1597" y="1369"/>
                  </a:lnTo>
                  <a:lnTo>
                    <a:pt x="1609" y="1374"/>
                  </a:lnTo>
                  <a:lnTo>
                    <a:pt x="1621" y="1376"/>
                  </a:lnTo>
                  <a:lnTo>
                    <a:pt x="1633" y="1379"/>
                  </a:lnTo>
                  <a:lnTo>
                    <a:pt x="1646" y="1380"/>
                  </a:lnTo>
                  <a:lnTo>
                    <a:pt x="1646" y="1380"/>
                  </a:lnTo>
                  <a:lnTo>
                    <a:pt x="1660" y="1379"/>
                  </a:lnTo>
                  <a:lnTo>
                    <a:pt x="1672" y="1376"/>
                  </a:lnTo>
                  <a:lnTo>
                    <a:pt x="1684" y="1374"/>
                  </a:lnTo>
                  <a:lnTo>
                    <a:pt x="1696" y="1369"/>
                  </a:lnTo>
                  <a:lnTo>
                    <a:pt x="1706" y="1364"/>
                  </a:lnTo>
                  <a:lnTo>
                    <a:pt x="1716" y="1358"/>
                  </a:lnTo>
                  <a:lnTo>
                    <a:pt x="1727" y="1351"/>
                  </a:lnTo>
                  <a:lnTo>
                    <a:pt x="1735" y="1343"/>
                  </a:lnTo>
                  <a:lnTo>
                    <a:pt x="1744" y="1333"/>
                  </a:lnTo>
                  <a:lnTo>
                    <a:pt x="1751" y="1323"/>
                  </a:lnTo>
                  <a:lnTo>
                    <a:pt x="1757" y="1314"/>
                  </a:lnTo>
                  <a:lnTo>
                    <a:pt x="1762" y="1303"/>
                  </a:lnTo>
                  <a:lnTo>
                    <a:pt x="1766" y="1291"/>
                  </a:lnTo>
                  <a:lnTo>
                    <a:pt x="1769" y="1279"/>
                  </a:lnTo>
                  <a:lnTo>
                    <a:pt x="1771" y="1267"/>
                  </a:lnTo>
                  <a:lnTo>
                    <a:pt x="1772" y="1254"/>
                  </a:lnTo>
                  <a:lnTo>
                    <a:pt x="1772" y="1254"/>
                  </a:lnTo>
                  <a:lnTo>
                    <a:pt x="1771" y="1244"/>
                  </a:lnTo>
                  <a:lnTo>
                    <a:pt x="1770" y="1233"/>
                  </a:lnTo>
                  <a:lnTo>
                    <a:pt x="1769" y="1224"/>
                  </a:lnTo>
                  <a:lnTo>
                    <a:pt x="1765" y="1215"/>
                  </a:lnTo>
                  <a:lnTo>
                    <a:pt x="1763" y="1206"/>
                  </a:lnTo>
                  <a:lnTo>
                    <a:pt x="1758" y="1197"/>
                  </a:lnTo>
                  <a:lnTo>
                    <a:pt x="1753" y="1189"/>
                  </a:lnTo>
                  <a:lnTo>
                    <a:pt x="1748" y="1181"/>
                  </a:lnTo>
                  <a:lnTo>
                    <a:pt x="1736" y="1166"/>
                  </a:lnTo>
                  <a:lnTo>
                    <a:pt x="1722" y="1154"/>
                  </a:lnTo>
                  <a:lnTo>
                    <a:pt x="1706" y="1143"/>
                  </a:lnTo>
                  <a:lnTo>
                    <a:pt x="1697" y="1140"/>
                  </a:lnTo>
                  <a:lnTo>
                    <a:pt x="1688" y="1136"/>
                  </a:lnTo>
                  <a:lnTo>
                    <a:pt x="1688" y="747"/>
                  </a:lnTo>
                  <a:lnTo>
                    <a:pt x="1688" y="747"/>
                  </a:lnTo>
                  <a:lnTo>
                    <a:pt x="1698" y="740"/>
                  </a:lnTo>
                  <a:lnTo>
                    <a:pt x="1705" y="732"/>
                  </a:lnTo>
                  <a:lnTo>
                    <a:pt x="1712" y="723"/>
                  </a:lnTo>
                  <a:lnTo>
                    <a:pt x="1718" y="714"/>
                  </a:lnTo>
                  <a:lnTo>
                    <a:pt x="1723" y="703"/>
                  </a:lnTo>
                  <a:lnTo>
                    <a:pt x="1727" y="692"/>
                  </a:lnTo>
                  <a:lnTo>
                    <a:pt x="1729" y="680"/>
                  </a:lnTo>
                  <a:lnTo>
                    <a:pt x="1730" y="668"/>
                  </a:lnTo>
                  <a:lnTo>
                    <a:pt x="1730" y="668"/>
                  </a:lnTo>
                  <a:lnTo>
                    <a:pt x="1729" y="653"/>
                  </a:lnTo>
                  <a:lnTo>
                    <a:pt x="1724" y="637"/>
                  </a:lnTo>
                  <a:lnTo>
                    <a:pt x="1718" y="623"/>
                  </a:lnTo>
                  <a:lnTo>
                    <a:pt x="1710" y="609"/>
                  </a:lnTo>
                  <a:lnTo>
                    <a:pt x="1699" y="599"/>
                  </a:lnTo>
                  <a:lnTo>
                    <a:pt x="1687" y="589"/>
                  </a:lnTo>
                  <a:lnTo>
                    <a:pt x="1673" y="582"/>
                  </a:lnTo>
                  <a:lnTo>
                    <a:pt x="1658" y="576"/>
                  </a:lnTo>
                  <a:lnTo>
                    <a:pt x="1364" y="503"/>
                  </a:lnTo>
                  <a:lnTo>
                    <a:pt x="1098" y="503"/>
                  </a:lnTo>
                  <a:lnTo>
                    <a:pt x="1098" y="503"/>
                  </a:lnTo>
                  <a:lnTo>
                    <a:pt x="1117" y="481"/>
                  </a:lnTo>
                  <a:lnTo>
                    <a:pt x="1135" y="458"/>
                  </a:lnTo>
                  <a:lnTo>
                    <a:pt x="1150" y="434"/>
                  </a:lnTo>
                  <a:lnTo>
                    <a:pt x="1157" y="421"/>
                  </a:lnTo>
                  <a:lnTo>
                    <a:pt x="1163" y="408"/>
                  </a:lnTo>
                  <a:lnTo>
                    <a:pt x="1168" y="395"/>
                  </a:lnTo>
                  <a:lnTo>
                    <a:pt x="1172" y="380"/>
                  </a:lnTo>
                  <a:lnTo>
                    <a:pt x="1177" y="367"/>
                  </a:lnTo>
                  <a:lnTo>
                    <a:pt x="1181" y="353"/>
                  </a:lnTo>
                  <a:lnTo>
                    <a:pt x="1183" y="338"/>
                  </a:lnTo>
                  <a:lnTo>
                    <a:pt x="1186" y="323"/>
                  </a:lnTo>
                  <a:lnTo>
                    <a:pt x="1187" y="308"/>
                  </a:lnTo>
                  <a:lnTo>
                    <a:pt x="1187" y="293"/>
                  </a:lnTo>
                  <a:lnTo>
                    <a:pt x="1187" y="293"/>
                  </a:lnTo>
                  <a:lnTo>
                    <a:pt x="1187" y="277"/>
                  </a:lnTo>
                  <a:lnTo>
                    <a:pt x="1186" y="263"/>
                  </a:lnTo>
                  <a:lnTo>
                    <a:pt x="1183" y="248"/>
                  </a:lnTo>
                  <a:lnTo>
                    <a:pt x="1181" y="234"/>
                  </a:lnTo>
                  <a:lnTo>
                    <a:pt x="1177" y="219"/>
                  </a:lnTo>
                  <a:lnTo>
                    <a:pt x="1174" y="205"/>
                  </a:lnTo>
                  <a:lnTo>
                    <a:pt x="1164" y="179"/>
                  </a:lnTo>
                  <a:lnTo>
                    <a:pt x="1151" y="153"/>
                  </a:lnTo>
                  <a:lnTo>
                    <a:pt x="1136" y="128"/>
                  </a:lnTo>
                  <a:lnTo>
                    <a:pt x="1120" y="107"/>
                  </a:lnTo>
                  <a:lnTo>
                    <a:pt x="1100" y="85"/>
                  </a:lnTo>
                  <a:lnTo>
                    <a:pt x="1080" y="67"/>
                  </a:lnTo>
                  <a:lnTo>
                    <a:pt x="1057" y="50"/>
                  </a:lnTo>
                  <a:lnTo>
                    <a:pt x="1033" y="35"/>
                  </a:lnTo>
                  <a:lnTo>
                    <a:pt x="1008" y="23"/>
                  </a:lnTo>
                  <a:lnTo>
                    <a:pt x="980" y="13"/>
                  </a:lnTo>
                  <a:lnTo>
                    <a:pt x="967" y="9"/>
                  </a:lnTo>
                  <a:lnTo>
                    <a:pt x="953" y="6"/>
                  </a:lnTo>
                  <a:lnTo>
                    <a:pt x="938" y="3"/>
                  </a:lnTo>
                  <a:lnTo>
                    <a:pt x="924" y="1"/>
                  </a:lnTo>
                  <a:lnTo>
                    <a:pt x="910" y="0"/>
                  </a:lnTo>
                  <a:lnTo>
                    <a:pt x="894" y="0"/>
                  </a:lnTo>
                  <a:lnTo>
                    <a:pt x="894" y="0"/>
                  </a:lnTo>
                  <a:lnTo>
                    <a:pt x="878" y="0"/>
                  </a:lnTo>
                  <a:lnTo>
                    <a:pt x="864" y="1"/>
                  </a:lnTo>
                  <a:lnTo>
                    <a:pt x="850" y="3"/>
                  </a:lnTo>
                  <a:lnTo>
                    <a:pt x="835" y="6"/>
                  </a:lnTo>
                  <a:lnTo>
                    <a:pt x="821" y="9"/>
                  </a:lnTo>
                  <a:lnTo>
                    <a:pt x="808" y="13"/>
                  </a:lnTo>
                  <a:lnTo>
                    <a:pt x="780" y="23"/>
                  </a:lnTo>
                  <a:lnTo>
                    <a:pt x="755" y="35"/>
                  </a:lnTo>
                  <a:lnTo>
                    <a:pt x="731" y="50"/>
                  </a:lnTo>
                  <a:lnTo>
                    <a:pt x="708" y="67"/>
                  </a:lnTo>
                  <a:lnTo>
                    <a:pt x="688" y="85"/>
                  </a:lnTo>
                  <a:lnTo>
                    <a:pt x="668" y="107"/>
                  </a:lnTo>
                  <a:lnTo>
                    <a:pt x="652" y="128"/>
                  </a:lnTo>
                  <a:lnTo>
                    <a:pt x="637" y="153"/>
                  </a:lnTo>
                  <a:lnTo>
                    <a:pt x="624" y="179"/>
                  </a:lnTo>
                  <a:lnTo>
                    <a:pt x="614" y="205"/>
                  </a:lnTo>
                  <a:lnTo>
                    <a:pt x="611" y="219"/>
                  </a:lnTo>
                  <a:lnTo>
                    <a:pt x="607" y="234"/>
                  </a:lnTo>
                  <a:lnTo>
                    <a:pt x="605" y="248"/>
                  </a:lnTo>
                  <a:lnTo>
                    <a:pt x="602" y="263"/>
                  </a:lnTo>
                  <a:lnTo>
                    <a:pt x="601" y="277"/>
                  </a:lnTo>
                  <a:lnTo>
                    <a:pt x="601" y="293"/>
                  </a:lnTo>
                  <a:lnTo>
                    <a:pt x="601" y="293"/>
                  </a:lnTo>
                  <a:lnTo>
                    <a:pt x="602" y="311"/>
                  </a:lnTo>
                  <a:lnTo>
                    <a:pt x="604" y="329"/>
                  </a:lnTo>
                  <a:lnTo>
                    <a:pt x="606" y="347"/>
                  </a:lnTo>
                  <a:lnTo>
                    <a:pt x="611" y="365"/>
                  </a:lnTo>
                  <a:lnTo>
                    <a:pt x="616" y="381"/>
                  </a:lnTo>
                  <a:lnTo>
                    <a:pt x="622" y="398"/>
                  </a:lnTo>
                  <a:lnTo>
                    <a:pt x="628" y="414"/>
                  </a:lnTo>
                  <a:lnTo>
                    <a:pt x="636" y="429"/>
                  </a:lnTo>
                  <a:lnTo>
                    <a:pt x="644" y="445"/>
                  </a:lnTo>
                  <a:lnTo>
                    <a:pt x="654" y="459"/>
                  </a:lnTo>
                  <a:lnTo>
                    <a:pt x="664" y="473"/>
                  </a:lnTo>
                  <a:lnTo>
                    <a:pt x="676" y="486"/>
                  </a:lnTo>
                  <a:lnTo>
                    <a:pt x="688" y="499"/>
                  </a:lnTo>
                  <a:lnTo>
                    <a:pt x="700" y="511"/>
                  </a:lnTo>
                  <a:lnTo>
                    <a:pt x="713" y="522"/>
                  </a:lnTo>
                  <a:lnTo>
                    <a:pt x="727" y="533"/>
                  </a:lnTo>
                  <a:lnTo>
                    <a:pt x="727" y="585"/>
                  </a:lnTo>
                  <a:lnTo>
                    <a:pt x="1312" y="585"/>
                  </a:lnTo>
                  <a:lnTo>
                    <a:pt x="1312" y="752"/>
                  </a:lnTo>
                  <a:lnTo>
                    <a:pt x="1085" y="752"/>
                  </a:lnTo>
                  <a:lnTo>
                    <a:pt x="1085" y="752"/>
                  </a:lnTo>
                  <a:lnTo>
                    <a:pt x="1062" y="743"/>
                  </a:lnTo>
                  <a:lnTo>
                    <a:pt x="1039" y="734"/>
                  </a:lnTo>
                  <a:lnTo>
                    <a:pt x="1016" y="727"/>
                  </a:lnTo>
                  <a:lnTo>
                    <a:pt x="992" y="721"/>
                  </a:lnTo>
                  <a:lnTo>
                    <a:pt x="968" y="716"/>
                  </a:lnTo>
                  <a:lnTo>
                    <a:pt x="944" y="713"/>
                  </a:lnTo>
                  <a:lnTo>
                    <a:pt x="919" y="711"/>
                  </a:lnTo>
                  <a:lnTo>
                    <a:pt x="894" y="710"/>
                  </a:lnTo>
                  <a:lnTo>
                    <a:pt x="894" y="710"/>
                  </a:lnTo>
                  <a:lnTo>
                    <a:pt x="869" y="711"/>
                  </a:lnTo>
                  <a:lnTo>
                    <a:pt x="844" y="713"/>
                  </a:lnTo>
                  <a:lnTo>
                    <a:pt x="820" y="716"/>
                  </a:lnTo>
                  <a:lnTo>
                    <a:pt x="796" y="721"/>
                  </a:lnTo>
                  <a:lnTo>
                    <a:pt x="772" y="727"/>
                  </a:lnTo>
                  <a:lnTo>
                    <a:pt x="749" y="734"/>
                  </a:lnTo>
                  <a:lnTo>
                    <a:pt x="726" y="743"/>
                  </a:lnTo>
                  <a:lnTo>
                    <a:pt x="703" y="752"/>
                  </a:lnTo>
                  <a:lnTo>
                    <a:pt x="559" y="752"/>
                  </a:lnTo>
                  <a:lnTo>
                    <a:pt x="559" y="585"/>
                  </a:lnTo>
                  <a:lnTo>
                    <a:pt x="643" y="585"/>
                  </a:lnTo>
                  <a:lnTo>
                    <a:pt x="643" y="501"/>
                  </a:lnTo>
                  <a:lnTo>
                    <a:pt x="226" y="501"/>
                  </a:lnTo>
                  <a:lnTo>
                    <a:pt x="226" y="501"/>
                  </a:lnTo>
                  <a:lnTo>
                    <a:pt x="208" y="503"/>
                  </a:lnTo>
                  <a:lnTo>
                    <a:pt x="192" y="505"/>
                  </a:lnTo>
                  <a:lnTo>
                    <a:pt x="175" y="509"/>
                  </a:lnTo>
                  <a:lnTo>
                    <a:pt x="160" y="515"/>
                  </a:lnTo>
                  <a:lnTo>
                    <a:pt x="145" y="522"/>
                  </a:lnTo>
                  <a:lnTo>
                    <a:pt x="132" y="530"/>
                  </a:lnTo>
                  <a:lnTo>
                    <a:pt x="119" y="540"/>
                  </a:lnTo>
                  <a:lnTo>
                    <a:pt x="107" y="551"/>
                  </a:lnTo>
                  <a:lnTo>
                    <a:pt x="96" y="563"/>
                  </a:lnTo>
                  <a:lnTo>
                    <a:pt x="86" y="575"/>
                  </a:lnTo>
                  <a:lnTo>
                    <a:pt x="78" y="589"/>
                  </a:lnTo>
                  <a:lnTo>
                    <a:pt x="71" y="603"/>
                  </a:lnTo>
                  <a:lnTo>
                    <a:pt x="66" y="619"/>
                  </a:lnTo>
                  <a:lnTo>
                    <a:pt x="61" y="635"/>
                  </a:lnTo>
                  <a:lnTo>
                    <a:pt x="59" y="651"/>
                  </a:lnTo>
                  <a:lnTo>
                    <a:pt x="58" y="668"/>
                  </a:lnTo>
                  <a:lnTo>
                    <a:pt x="58" y="668"/>
                  </a:lnTo>
                  <a:lnTo>
                    <a:pt x="59" y="684"/>
                  </a:lnTo>
                  <a:lnTo>
                    <a:pt x="61" y="699"/>
                  </a:lnTo>
                  <a:lnTo>
                    <a:pt x="65" y="714"/>
                  </a:lnTo>
                  <a:lnTo>
                    <a:pt x="70" y="728"/>
                  </a:lnTo>
                  <a:lnTo>
                    <a:pt x="76" y="741"/>
                  </a:lnTo>
                  <a:lnTo>
                    <a:pt x="83" y="755"/>
                  </a:lnTo>
                  <a:lnTo>
                    <a:pt x="90" y="767"/>
                  </a:lnTo>
                  <a:lnTo>
                    <a:pt x="100" y="777"/>
                  </a:lnTo>
                  <a:lnTo>
                    <a:pt x="100" y="1094"/>
                  </a:lnTo>
                  <a:lnTo>
                    <a:pt x="100" y="1094"/>
                  </a:lnTo>
                  <a:lnTo>
                    <a:pt x="91" y="1098"/>
                  </a:lnTo>
                  <a:lnTo>
                    <a:pt x="82" y="1103"/>
                  </a:lnTo>
                  <a:lnTo>
                    <a:pt x="66" y="1112"/>
                  </a:lnTo>
                  <a:lnTo>
                    <a:pt x="52" y="1125"/>
                  </a:lnTo>
                  <a:lnTo>
                    <a:pt x="40" y="1140"/>
                  </a:lnTo>
                  <a:lnTo>
                    <a:pt x="35" y="1147"/>
                  </a:lnTo>
                  <a:lnTo>
                    <a:pt x="30" y="1155"/>
                  </a:lnTo>
                  <a:lnTo>
                    <a:pt x="25" y="1164"/>
                  </a:lnTo>
                  <a:lnTo>
                    <a:pt x="23" y="1173"/>
                  </a:lnTo>
                  <a:lnTo>
                    <a:pt x="19" y="1183"/>
                  </a:lnTo>
                  <a:lnTo>
                    <a:pt x="18" y="1193"/>
                  </a:lnTo>
                  <a:lnTo>
                    <a:pt x="17" y="1202"/>
                  </a:lnTo>
                  <a:lnTo>
                    <a:pt x="16" y="1212"/>
                  </a:lnTo>
                  <a:lnTo>
                    <a:pt x="16" y="1212"/>
                  </a:lnTo>
                  <a:lnTo>
                    <a:pt x="17" y="1225"/>
                  </a:lnTo>
                  <a:lnTo>
                    <a:pt x="19" y="1237"/>
                  </a:lnTo>
                  <a:lnTo>
                    <a:pt x="22" y="1249"/>
                  </a:lnTo>
                  <a:lnTo>
                    <a:pt x="26" y="1261"/>
                  </a:lnTo>
                  <a:lnTo>
                    <a:pt x="31" y="1272"/>
                  </a:lnTo>
                  <a:lnTo>
                    <a:pt x="37" y="1283"/>
                  </a:lnTo>
                  <a:lnTo>
                    <a:pt x="44" y="1292"/>
                  </a:lnTo>
                  <a:lnTo>
                    <a:pt x="53" y="1301"/>
                  </a:lnTo>
                  <a:lnTo>
                    <a:pt x="61" y="1309"/>
                  </a:lnTo>
                  <a:lnTo>
                    <a:pt x="72" y="1316"/>
                  </a:lnTo>
                  <a:lnTo>
                    <a:pt x="82" y="1322"/>
                  </a:lnTo>
                  <a:lnTo>
                    <a:pt x="92" y="1327"/>
                  </a:lnTo>
                  <a:lnTo>
                    <a:pt x="104" y="1332"/>
                  </a:lnTo>
                  <a:lnTo>
                    <a:pt x="116" y="1335"/>
                  </a:lnTo>
                  <a:lnTo>
                    <a:pt x="128" y="1337"/>
                  </a:lnTo>
                  <a:lnTo>
                    <a:pt x="142" y="1338"/>
                  </a:lnTo>
                  <a:lnTo>
                    <a:pt x="142" y="1338"/>
                  </a:lnTo>
                  <a:lnTo>
                    <a:pt x="155" y="1337"/>
                  </a:lnTo>
                  <a:lnTo>
                    <a:pt x="167" y="1335"/>
                  </a:lnTo>
                  <a:lnTo>
                    <a:pt x="179" y="1332"/>
                  </a:lnTo>
                  <a:lnTo>
                    <a:pt x="191" y="1327"/>
                  </a:lnTo>
                  <a:lnTo>
                    <a:pt x="202" y="1322"/>
                  </a:lnTo>
                  <a:lnTo>
                    <a:pt x="211" y="1316"/>
                  </a:lnTo>
                  <a:lnTo>
                    <a:pt x="221" y="1309"/>
                  </a:lnTo>
                  <a:lnTo>
                    <a:pt x="230" y="1301"/>
                  </a:lnTo>
                  <a:lnTo>
                    <a:pt x="239" y="1292"/>
                  </a:lnTo>
                  <a:lnTo>
                    <a:pt x="246" y="1283"/>
                  </a:lnTo>
                  <a:lnTo>
                    <a:pt x="252" y="1272"/>
                  </a:lnTo>
                  <a:lnTo>
                    <a:pt x="257" y="1261"/>
                  </a:lnTo>
                  <a:lnTo>
                    <a:pt x="262" y="1249"/>
                  </a:lnTo>
                  <a:lnTo>
                    <a:pt x="264" y="1237"/>
                  </a:lnTo>
                  <a:lnTo>
                    <a:pt x="266" y="1225"/>
                  </a:lnTo>
                  <a:lnTo>
                    <a:pt x="266" y="1212"/>
                  </a:lnTo>
                  <a:lnTo>
                    <a:pt x="266" y="1212"/>
                  </a:lnTo>
                  <a:lnTo>
                    <a:pt x="266" y="1202"/>
                  </a:lnTo>
                  <a:lnTo>
                    <a:pt x="265" y="1193"/>
                  </a:lnTo>
                  <a:lnTo>
                    <a:pt x="263" y="1183"/>
                  </a:lnTo>
                  <a:lnTo>
                    <a:pt x="260" y="1173"/>
                  </a:lnTo>
                  <a:lnTo>
                    <a:pt x="257" y="1164"/>
                  </a:lnTo>
                  <a:lnTo>
                    <a:pt x="253" y="1155"/>
                  </a:lnTo>
                  <a:lnTo>
                    <a:pt x="248" y="1147"/>
                  </a:lnTo>
                  <a:lnTo>
                    <a:pt x="244" y="1140"/>
                  </a:lnTo>
                  <a:lnTo>
                    <a:pt x="232" y="1125"/>
                  </a:lnTo>
                  <a:lnTo>
                    <a:pt x="217" y="1112"/>
                  </a:lnTo>
                  <a:lnTo>
                    <a:pt x="200" y="1103"/>
                  </a:lnTo>
                  <a:lnTo>
                    <a:pt x="192" y="1098"/>
                  </a:lnTo>
                  <a:lnTo>
                    <a:pt x="184" y="1094"/>
                  </a:lnTo>
                  <a:lnTo>
                    <a:pt x="184" y="830"/>
                  </a:lnTo>
                  <a:lnTo>
                    <a:pt x="184" y="830"/>
                  </a:lnTo>
                  <a:lnTo>
                    <a:pt x="204" y="834"/>
                  </a:lnTo>
                  <a:lnTo>
                    <a:pt x="215" y="835"/>
                  </a:lnTo>
                  <a:lnTo>
                    <a:pt x="226" y="836"/>
                  </a:lnTo>
                  <a:lnTo>
                    <a:pt x="580" y="836"/>
                  </a:lnTo>
                  <a:lnTo>
                    <a:pt x="580" y="836"/>
                  </a:lnTo>
                  <a:lnTo>
                    <a:pt x="563" y="852"/>
                  </a:lnTo>
                  <a:lnTo>
                    <a:pt x="547" y="869"/>
                  </a:lnTo>
                  <a:lnTo>
                    <a:pt x="533" y="887"/>
                  </a:lnTo>
                  <a:lnTo>
                    <a:pt x="520" y="905"/>
                  </a:lnTo>
                  <a:lnTo>
                    <a:pt x="506" y="924"/>
                  </a:lnTo>
                  <a:lnTo>
                    <a:pt x="494" y="944"/>
                  </a:lnTo>
                  <a:lnTo>
                    <a:pt x="484" y="965"/>
                  </a:lnTo>
                  <a:lnTo>
                    <a:pt x="473" y="985"/>
                  </a:lnTo>
                  <a:lnTo>
                    <a:pt x="464" y="1007"/>
                  </a:lnTo>
                  <a:lnTo>
                    <a:pt x="456" y="1028"/>
                  </a:lnTo>
                  <a:lnTo>
                    <a:pt x="450" y="1051"/>
                  </a:lnTo>
                  <a:lnTo>
                    <a:pt x="444" y="1074"/>
                  </a:lnTo>
                  <a:lnTo>
                    <a:pt x="440" y="1098"/>
                  </a:lnTo>
                  <a:lnTo>
                    <a:pt x="437" y="1122"/>
                  </a:lnTo>
                  <a:lnTo>
                    <a:pt x="434" y="1146"/>
                  </a:lnTo>
                  <a:lnTo>
                    <a:pt x="434" y="1170"/>
                  </a:lnTo>
                  <a:lnTo>
                    <a:pt x="434" y="1254"/>
                  </a:lnTo>
                  <a:lnTo>
                    <a:pt x="434" y="1254"/>
                  </a:lnTo>
                  <a:lnTo>
                    <a:pt x="436" y="1284"/>
                  </a:lnTo>
                  <a:lnTo>
                    <a:pt x="438" y="1314"/>
                  </a:lnTo>
                  <a:lnTo>
                    <a:pt x="443" y="1344"/>
                  </a:lnTo>
                  <a:lnTo>
                    <a:pt x="450" y="1373"/>
                  </a:lnTo>
                  <a:lnTo>
                    <a:pt x="458" y="1400"/>
                  </a:lnTo>
                  <a:lnTo>
                    <a:pt x="468" y="1427"/>
                  </a:lnTo>
                  <a:lnTo>
                    <a:pt x="480" y="1453"/>
                  </a:lnTo>
                  <a:lnTo>
                    <a:pt x="493" y="1479"/>
                  </a:lnTo>
                  <a:lnTo>
                    <a:pt x="508" y="1503"/>
                  </a:lnTo>
                  <a:lnTo>
                    <a:pt x="524" y="1526"/>
                  </a:lnTo>
                  <a:lnTo>
                    <a:pt x="542" y="1549"/>
                  </a:lnTo>
                  <a:lnTo>
                    <a:pt x="562" y="1571"/>
                  </a:lnTo>
                  <a:lnTo>
                    <a:pt x="582" y="1590"/>
                  </a:lnTo>
                  <a:lnTo>
                    <a:pt x="602" y="1609"/>
                  </a:lnTo>
                  <a:lnTo>
                    <a:pt x="625" y="1627"/>
                  </a:lnTo>
                  <a:lnTo>
                    <a:pt x="649" y="1643"/>
                  </a:lnTo>
                  <a:lnTo>
                    <a:pt x="467" y="1673"/>
                  </a:lnTo>
                  <a:lnTo>
                    <a:pt x="467" y="1673"/>
                  </a:lnTo>
                  <a:lnTo>
                    <a:pt x="436" y="1680"/>
                  </a:lnTo>
                  <a:lnTo>
                    <a:pt x="404" y="1687"/>
                  </a:lnTo>
                  <a:lnTo>
                    <a:pt x="376" y="1698"/>
                  </a:lnTo>
                  <a:lnTo>
                    <a:pt x="347" y="1710"/>
                  </a:lnTo>
                  <a:lnTo>
                    <a:pt x="319" y="1724"/>
                  </a:lnTo>
                  <a:lnTo>
                    <a:pt x="293" y="1740"/>
                  </a:lnTo>
                  <a:lnTo>
                    <a:pt x="268" y="1758"/>
                  </a:lnTo>
                  <a:lnTo>
                    <a:pt x="244" y="1777"/>
                  </a:lnTo>
                  <a:lnTo>
                    <a:pt x="221" y="1797"/>
                  </a:lnTo>
                  <a:lnTo>
                    <a:pt x="199" y="1820"/>
                  </a:lnTo>
                  <a:lnTo>
                    <a:pt x="180" y="1843"/>
                  </a:lnTo>
                  <a:lnTo>
                    <a:pt x="161" y="1868"/>
                  </a:lnTo>
                  <a:lnTo>
                    <a:pt x="145" y="1895"/>
                  </a:lnTo>
                  <a:lnTo>
                    <a:pt x="130" y="1922"/>
                  </a:lnTo>
                  <a:lnTo>
                    <a:pt x="116" y="1951"/>
                  </a:lnTo>
                  <a:lnTo>
                    <a:pt x="106" y="1981"/>
                  </a:lnTo>
                  <a:lnTo>
                    <a:pt x="0" y="2299"/>
                  </a:lnTo>
                  <a:lnTo>
                    <a:pt x="1788" y="2299"/>
                  </a:lnTo>
                  <a:lnTo>
                    <a:pt x="1682" y="1981"/>
                  </a:lnTo>
                  <a:lnTo>
                    <a:pt x="1682" y="1981"/>
                  </a:lnTo>
                  <a:lnTo>
                    <a:pt x="1672" y="1951"/>
                  </a:lnTo>
                  <a:lnTo>
                    <a:pt x="1658" y="1922"/>
                  </a:lnTo>
                  <a:lnTo>
                    <a:pt x="1643" y="1895"/>
                  </a:lnTo>
                  <a:lnTo>
                    <a:pt x="1627" y="1868"/>
                  </a:lnTo>
                  <a:lnTo>
                    <a:pt x="1608" y="1843"/>
                  </a:lnTo>
                  <a:lnTo>
                    <a:pt x="1589" y="1820"/>
                  </a:lnTo>
                  <a:lnTo>
                    <a:pt x="1567" y="1797"/>
                  </a:lnTo>
                  <a:lnTo>
                    <a:pt x="1544" y="1777"/>
                  </a:lnTo>
                  <a:lnTo>
                    <a:pt x="1520" y="1758"/>
                  </a:lnTo>
                  <a:lnTo>
                    <a:pt x="1495" y="1740"/>
                  </a:lnTo>
                  <a:lnTo>
                    <a:pt x="1469" y="1724"/>
                  </a:lnTo>
                  <a:lnTo>
                    <a:pt x="1441" y="1710"/>
                  </a:lnTo>
                  <a:lnTo>
                    <a:pt x="1412" y="1698"/>
                  </a:lnTo>
                  <a:lnTo>
                    <a:pt x="1384" y="1687"/>
                  </a:lnTo>
                  <a:lnTo>
                    <a:pt x="1352" y="1680"/>
                  </a:lnTo>
                  <a:lnTo>
                    <a:pt x="1321" y="1673"/>
                  </a:lnTo>
                  <a:lnTo>
                    <a:pt x="1321" y="1673"/>
                  </a:lnTo>
                  <a:close/>
                  <a:moveTo>
                    <a:pt x="685" y="293"/>
                  </a:moveTo>
                  <a:lnTo>
                    <a:pt x="685" y="293"/>
                  </a:lnTo>
                  <a:lnTo>
                    <a:pt x="686" y="271"/>
                  </a:lnTo>
                  <a:lnTo>
                    <a:pt x="689" y="251"/>
                  </a:lnTo>
                  <a:lnTo>
                    <a:pt x="695" y="230"/>
                  </a:lnTo>
                  <a:lnTo>
                    <a:pt x="702" y="211"/>
                  </a:lnTo>
                  <a:lnTo>
                    <a:pt x="710" y="193"/>
                  </a:lnTo>
                  <a:lnTo>
                    <a:pt x="721" y="175"/>
                  </a:lnTo>
                  <a:lnTo>
                    <a:pt x="733" y="159"/>
                  </a:lnTo>
                  <a:lnTo>
                    <a:pt x="746" y="145"/>
                  </a:lnTo>
                  <a:lnTo>
                    <a:pt x="761" y="131"/>
                  </a:lnTo>
                  <a:lnTo>
                    <a:pt x="778" y="119"/>
                  </a:lnTo>
                  <a:lnTo>
                    <a:pt x="794" y="109"/>
                  </a:lnTo>
                  <a:lnTo>
                    <a:pt x="812" y="99"/>
                  </a:lnTo>
                  <a:lnTo>
                    <a:pt x="832" y="92"/>
                  </a:lnTo>
                  <a:lnTo>
                    <a:pt x="852" y="87"/>
                  </a:lnTo>
                  <a:lnTo>
                    <a:pt x="872" y="84"/>
                  </a:lnTo>
                  <a:lnTo>
                    <a:pt x="894" y="84"/>
                  </a:lnTo>
                  <a:lnTo>
                    <a:pt x="894" y="84"/>
                  </a:lnTo>
                  <a:lnTo>
                    <a:pt x="916" y="84"/>
                  </a:lnTo>
                  <a:lnTo>
                    <a:pt x="936" y="87"/>
                  </a:lnTo>
                  <a:lnTo>
                    <a:pt x="956" y="92"/>
                  </a:lnTo>
                  <a:lnTo>
                    <a:pt x="976" y="99"/>
                  </a:lnTo>
                  <a:lnTo>
                    <a:pt x="994" y="109"/>
                  </a:lnTo>
                  <a:lnTo>
                    <a:pt x="1010" y="119"/>
                  </a:lnTo>
                  <a:lnTo>
                    <a:pt x="1027" y="131"/>
                  </a:lnTo>
                  <a:lnTo>
                    <a:pt x="1042" y="145"/>
                  </a:lnTo>
                  <a:lnTo>
                    <a:pt x="1055" y="159"/>
                  </a:lnTo>
                  <a:lnTo>
                    <a:pt x="1067" y="175"/>
                  </a:lnTo>
                  <a:lnTo>
                    <a:pt x="1078" y="193"/>
                  </a:lnTo>
                  <a:lnTo>
                    <a:pt x="1086" y="211"/>
                  </a:lnTo>
                  <a:lnTo>
                    <a:pt x="1093" y="230"/>
                  </a:lnTo>
                  <a:lnTo>
                    <a:pt x="1099" y="251"/>
                  </a:lnTo>
                  <a:lnTo>
                    <a:pt x="1102" y="271"/>
                  </a:lnTo>
                  <a:lnTo>
                    <a:pt x="1103" y="293"/>
                  </a:lnTo>
                  <a:lnTo>
                    <a:pt x="1103" y="293"/>
                  </a:lnTo>
                  <a:lnTo>
                    <a:pt x="1102" y="314"/>
                  </a:lnTo>
                  <a:lnTo>
                    <a:pt x="1099" y="335"/>
                  </a:lnTo>
                  <a:lnTo>
                    <a:pt x="1093" y="354"/>
                  </a:lnTo>
                  <a:lnTo>
                    <a:pt x="1086" y="373"/>
                  </a:lnTo>
                  <a:lnTo>
                    <a:pt x="1078" y="392"/>
                  </a:lnTo>
                  <a:lnTo>
                    <a:pt x="1067" y="409"/>
                  </a:lnTo>
                  <a:lnTo>
                    <a:pt x="1055" y="425"/>
                  </a:lnTo>
                  <a:lnTo>
                    <a:pt x="1042" y="440"/>
                  </a:lnTo>
                  <a:lnTo>
                    <a:pt x="1027" y="453"/>
                  </a:lnTo>
                  <a:lnTo>
                    <a:pt x="1010" y="465"/>
                  </a:lnTo>
                  <a:lnTo>
                    <a:pt x="994" y="476"/>
                  </a:lnTo>
                  <a:lnTo>
                    <a:pt x="976" y="485"/>
                  </a:lnTo>
                  <a:lnTo>
                    <a:pt x="956" y="492"/>
                  </a:lnTo>
                  <a:lnTo>
                    <a:pt x="936" y="497"/>
                  </a:lnTo>
                  <a:lnTo>
                    <a:pt x="916" y="500"/>
                  </a:lnTo>
                  <a:lnTo>
                    <a:pt x="894" y="501"/>
                  </a:lnTo>
                  <a:lnTo>
                    <a:pt x="894" y="501"/>
                  </a:lnTo>
                  <a:lnTo>
                    <a:pt x="872" y="500"/>
                  </a:lnTo>
                  <a:lnTo>
                    <a:pt x="852" y="497"/>
                  </a:lnTo>
                  <a:lnTo>
                    <a:pt x="832" y="492"/>
                  </a:lnTo>
                  <a:lnTo>
                    <a:pt x="812" y="485"/>
                  </a:lnTo>
                  <a:lnTo>
                    <a:pt x="794" y="476"/>
                  </a:lnTo>
                  <a:lnTo>
                    <a:pt x="778" y="465"/>
                  </a:lnTo>
                  <a:lnTo>
                    <a:pt x="761" y="453"/>
                  </a:lnTo>
                  <a:lnTo>
                    <a:pt x="746" y="440"/>
                  </a:lnTo>
                  <a:lnTo>
                    <a:pt x="733" y="425"/>
                  </a:lnTo>
                  <a:lnTo>
                    <a:pt x="721" y="409"/>
                  </a:lnTo>
                  <a:lnTo>
                    <a:pt x="710" y="392"/>
                  </a:lnTo>
                  <a:lnTo>
                    <a:pt x="702" y="373"/>
                  </a:lnTo>
                  <a:lnTo>
                    <a:pt x="695" y="354"/>
                  </a:lnTo>
                  <a:lnTo>
                    <a:pt x="689" y="335"/>
                  </a:lnTo>
                  <a:lnTo>
                    <a:pt x="686" y="314"/>
                  </a:lnTo>
                  <a:lnTo>
                    <a:pt x="685" y="293"/>
                  </a:lnTo>
                  <a:lnTo>
                    <a:pt x="685" y="293"/>
                  </a:lnTo>
                  <a:close/>
                  <a:moveTo>
                    <a:pt x="1646" y="1296"/>
                  </a:moveTo>
                  <a:lnTo>
                    <a:pt x="1646" y="1296"/>
                  </a:lnTo>
                  <a:lnTo>
                    <a:pt x="1638" y="1295"/>
                  </a:lnTo>
                  <a:lnTo>
                    <a:pt x="1631" y="1292"/>
                  </a:lnTo>
                  <a:lnTo>
                    <a:pt x="1624" y="1289"/>
                  </a:lnTo>
                  <a:lnTo>
                    <a:pt x="1616" y="1284"/>
                  </a:lnTo>
                  <a:lnTo>
                    <a:pt x="1612" y="1277"/>
                  </a:lnTo>
                  <a:lnTo>
                    <a:pt x="1608" y="1271"/>
                  </a:lnTo>
                  <a:lnTo>
                    <a:pt x="1606" y="1262"/>
                  </a:lnTo>
                  <a:lnTo>
                    <a:pt x="1604" y="1254"/>
                  </a:lnTo>
                  <a:lnTo>
                    <a:pt x="1604" y="1254"/>
                  </a:lnTo>
                  <a:lnTo>
                    <a:pt x="1606" y="1245"/>
                  </a:lnTo>
                  <a:lnTo>
                    <a:pt x="1608" y="1237"/>
                  </a:lnTo>
                  <a:lnTo>
                    <a:pt x="1612" y="1231"/>
                  </a:lnTo>
                  <a:lnTo>
                    <a:pt x="1616" y="1224"/>
                  </a:lnTo>
                  <a:lnTo>
                    <a:pt x="1624" y="1219"/>
                  </a:lnTo>
                  <a:lnTo>
                    <a:pt x="1631" y="1215"/>
                  </a:lnTo>
                  <a:lnTo>
                    <a:pt x="1638" y="1213"/>
                  </a:lnTo>
                  <a:lnTo>
                    <a:pt x="1646" y="1212"/>
                  </a:lnTo>
                  <a:lnTo>
                    <a:pt x="1646" y="1212"/>
                  </a:lnTo>
                  <a:lnTo>
                    <a:pt x="1655" y="1213"/>
                  </a:lnTo>
                  <a:lnTo>
                    <a:pt x="1663" y="1215"/>
                  </a:lnTo>
                  <a:lnTo>
                    <a:pt x="1670" y="1219"/>
                  </a:lnTo>
                  <a:lnTo>
                    <a:pt x="1676" y="1224"/>
                  </a:lnTo>
                  <a:lnTo>
                    <a:pt x="1681" y="1231"/>
                  </a:lnTo>
                  <a:lnTo>
                    <a:pt x="1685" y="1237"/>
                  </a:lnTo>
                  <a:lnTo>
                    <a:pt x="1687" y="1245"/>
                  </a:lnTo>
                  <a:lnTo>
                    <a:pt x="1688" y="1254"/>
                  </a:lnTo>
                  <a:lnTo>
                    <a:pt x="1688" y="1254"/>
                  </a:lnTo>
                  <a:lnTo>
                    <a:pt x="1687" y="1262"/>
                  </a:lnTo>
                  <a:lnTo>
                    <a:pt x="1685" y="1271"/>
                  </a:lnTo>
                  <a:lnTo>
                    <a:pt x="1681" y="1277"/>
                  </a:lnTo>
                  <a:lnTo>
                    <a:pt x="1676" y="1284"/>
                  </a:lnTo>
                  <a:lnTo>
                    <a:pt x="1670" y="1289"/>
                  </a:lnTo>
                  <a:lnTo>
                    <a:pt x="1663" y="1292"/>
                  </a:lnTo>
                  <a:lnTo>
                    <a:pt x="1655" y="1295"/>
                  </a:lnTo>
                  <a:lnTo>
                    <a:pt x="1646" y="1296"/>
                  </a:lnTo>
                  <a:lnTo>
                    <a:pt x="1646" y="1296"/>
                  </a:lnTo>
                  <a:close/>
                  <a:moveTo>
                    <a:pt x="1646" y="668"/>
                  </a:moveTo>
                  <a:lnTo>
                    <a:pt x="1646" y="668"/>
                  </a:lnTo>
                  <a:lnTo>
                    <a:pt x="1646" y="673"/>
                  </a:lnTo>
                  <a:lnTo>
                    <a:pt x="1644" y="675"/>
                  </a:lnTo>
                  <a:lnTo>
                    <a:pt x="1642" y="678"/>
                  </a:lnTo>
                  <a:lnTo>
                    <a:pt x="1638" y="680"/>
                  </a:lnTo>
                  <a:lnTo>
                    <a:pt x="1396" y="740"/>
                  </a:lnTo>
                  <a:lnTo>
                    <a:pt x="1396" y="596"/>
                  </a:lnTo>
                  <a:lnTo>
                    <a:pt x="1638" y="657"/>
                  </a:lnTo>
                  <a:lnTo>
                    <a:pt x="1638" y="657"/>
                  </a:lnTo>
                  <a:lnTo>
                    <a:pt x="1642" y="659"/>
                  </a:lnTo>
                  <a:lnTo>
                    <a:pt x="1644" y="661"/>
                  </a:lnTo>
                  <a:lnTo>
                    <a:pt x="1646" y="665"/>
                  </a:lnTo>
                  <a:lnTo>
                    <a:pt x="1646" y="668"/>
                  </a:lnTo>
                  <a:lnTo>
                    <a:pt x="1646" y="668"/>
                  </a:lnTo>
                  <a:close/>
                  <a:moveTo>
                    <a:pt x="476" y="752"/>
                  </a:moveTo>
                  <a:lnTo>
                    <a:pt x="392" y="752"/>
                  </a:lnTo>
                  <a:lnTo>
                    <a:pt x="392" y="585"/>
                  </a:lnTo>
                  <a:lnTo>
                    <a:pt x="476" y="585"/>
                  </a:lnTo>
                  <a:lnTo>
                    <a:pt x="476" y="752"/>
                  </a:lnTo>
                  <a:close/>
                  <a:moveTo>
                    <a:pt x="142" y="1254"/>
                  </a:moveTo>
                  <a:lnTo>
                    <a:pt x="142" y="1254"/>
                  </a:lnTo>
                  <a:lnTo>
                    <a:pt x="133" y="1253"/>
                  </a:lnTo>
                  <a:lnTo>
                    <a:pt x="125" y="1250"/>
                  </a:lnTo>
                  <a:lnTo>
                    <a:pt x="118" y="1247"/>
                  </a:lnTo>
                  <a:lnTo>
                    <a:pt x="112" y="1242"/>
                  </a:lnTo>
                  <a:lnTo>
                    <a:pt x="107" y="1236"/>
                  </a:lnTo>
                  <a:lnTo>
                    <a:pt x="103" y="1229"/>
                  </a:lnTo>
                  <a:lnTo>
                    <a:pt x="101" y="1220"/>
                  </a:lnTo>
                  <a:lnTo>
                    <a:pt x="100" y="1212"/>
                  </a:lnTo>
                  <a:lnTo>
                    <a:pt x="100" y="1212"/>
                  </a:lnTo>
                  <a:lnTo>
                    <a:pt x="101" y="1203"/>
                  </a:lnTo>
                  <a:lnTo>
                    <a:pt x="103" y="1196"/>
                  </a:lnTo>
                  <a:lnTo>
                    <a:pt x="107" y="1189"/>
                  </a:lnTo>
                  <a:lnTo>
                    <a:pt x="112" y="1183"/>
                  </a:lnTo>
                  <a:lnTo>
                    <a:pt x="118" y="1177"/>
                  </a:lnTo>
                  <a:lnTo>
                    <a:pt x="125" y="1173"/>
                  </a:lnTo>
                  <a:lnTo>
                    <a:pt x="133" y="1171"/>
                  </a:lnTo>
                  <a:lnTo>
                    <a:pt x="142" y="1170"/>
                  </a:lnTo>
                  <a:lnTo>
                    <a:pt x="142" y="1170"/>
                  </a:lnTo>
                  <a:lnTo>
                    <a:pt x="150" y="1171"/>
                  </a:lnTo>
                  <a:lnTo>
                    <a:pt x="157" y="1173"/>
                  </a:lnTo>
                  <a:lnTo>
                    <a:pt x="164" y="1177"/>
                  </a:lnTo>
                  <a:lnTo>
                    <a:pt x="172" y="1183"/>
                  </a:lnTo>
                  <a:lnTo>
                    <a:pt x="176" y="1189"/>
                  </a:lnTo>
                  <a:lnTo>
                    <a:pt x="180" y="1196"/>
                  </a:lnTo>
                  <a:lnTo>
                    <a:pt x="182" y="1203"/>
                  </a:lnTo>
                  <a:lnTo>
                    <a:pt x="184" y="1212"/>
                  </a:lnTo>
                  <a:lnTo>
                    <a:pt x="184" y="1212"/>
                  </a:lnTo>
                  <a:lnTo>
                    <a:pt x="182" y="1220"/>
                  </a:lnTo>
                  <a:lnTo>
                    <a:pt x="180" y="1229"/>
                  </a:lnTo>
                  <a:lnTo>
                    <a:pt x="176" y="1236"/>
                  </a:lnTo>
                  <a:lnTo>
                    <a:pt x="172" y="1242"/>
                  </a:lnTo>
                  <a:lnTo>
                    <a:pt x="164" y="1247"/>
                  </a:lnTo>
                  <a:lnTo>
                    <a:pt x="157" y="1250"/>
                  </a:lnTo>
                  <a:lnTo>
                    <a:pt x="150" y="1253"/>
                  </a:lnTo>
                  <a:lnTo>
                    <a:pt x="142" y="1254"/>
                  </a:lnTo>
                  <a:lnTo>
                    <a:pt x="142" y="1254"/>
                  </a:lnTo>
                  <a:close/>
                  <a:moveTo>
                    <a:pt x="142" y="668"/>
                  </a:moveTo>
                  <a:lnTo>
                    <a:pt x="142" y="668"/>
                  </a:lnTo>
                  <a:lnTo>
                    <a:pt x="142" y="660"/>
                  </a:lnTo>
                  <a:lnTo>
                    <a:pt x="143" y="651"/>
                  </a:lnTo>
                  <a:lnTo>
                    <a:pt x="145" y="644"/>
                  </a:lnTo>
                  <a:lnTo>
                    <a:pt x="148" y="636"/>
                  </a:lnTo>
                  <a:lnTo>
                    <a:pt x="151" y="629"/>
                  </a:lnTo>
                  <a:lnTo>
                    <a:pt x="156" y="621"/>
                  </a:lnTo>
                  <a:lnTo>
                    <a:pt x="161" y="615"/>
                  </a:lnTo>
                  <a:lnTo>
                    <a:pt x="166" y="609"/>
                  </a:lnTo>
                  <a:lnTo>
                    <a:pt x="172" y="605"/>
                  </a:lnTo>
                  <a:lnTo>
                    <a:pt x="179" y="600"/>
                  </a:lnTo>
                  <a:lnTo>
                    <a:pt x="185" y="595"/>
                  </a:lnTo>
                  <a:lnTo>
                    <a:pt x="192" y="591"/>
                  </a:lnTo>
                  <a:lnTo>
                    <a:pt x="200" y="589"/>
                  </a:lnTo>
                  <a:lnTo>
                    <a:pt x="209" y="587"/>
                  </a:lnTo>
                  <a:lnTo>
                    <a:pt x="216" y="585"/>
                  </a:lnTo>
                  <a:lnTo>
                    <a:pt x="226" y="585"/>
                  </a:lnTo>
                  <a:lnTo>
                    <a:pt x="308" y="585"/>
                  </a:lnTo>
                  <a:lnTo>
                    <a:pt x="308" y="752"/>
                  </a:lnTo>
                  <a:lnTo>
                    <a:pt x="226" y="752"/>
                  </a:lnTo>
                  <a:lnTo>
                    <a:pt x="226" y="752"/>
                  </a:lnTo>
                  <a:lnTo>
                    <a:pt x="216" y="752"/>
                  </a:lnTo>
                  <a:lnTo>
                    <a:pt x="209" y="751"/>
                  </a:lnTo>
                  <a:lnTo>
                    <a:pt x="200" y="749"/>
                  </a:lnTo>
                  <a:lnTo>
                    <a:pt x="192" y="745"/>
                  </a:lnTo>
                  <a:lnTo>
                    <a:pt x="185" y="743"/>
                  </a:lnTo>
                  <a:lnTo>
                    <a:pt x="179" y="738"/>
                  </a:lnTo>
                  <a:lnTo>
                    <a:pt x="172" y="733"/>
                  </a:lnTo>
                  <a:lnTo>
                    <a:pt x="166" y="728"/>
                  </a:lnTo>
                  <a:lnTo>
                    <a:pt x="161" y="722"/>
                  </a:lnTo>
                  <a:lnTo>
                    <a:pt x="156" y="715"/>
                  </a:lnTo>
                  <a:lnTo>
                    <a:pt x="151" y="708"/>
                  </a:lnTo>
                  <a:lnTo>
                    <a:pt x="148" y="701"/>
                  </a:lnTo>
                  <a:lnTo>
                    <a:pt x="145" y="693"/>
                  </a:lnTo>
                  <a:lnTo>
                    <a:pt x="143" y="685"/>
                  </a:lnTo>
                  <a:lnTo>
                    <a:pt x="142" y="677"/>
                  </a:lnTo>
                  <a:lnTo>
                    <a:pt x="142" y="668"/>
                  </a:lnTo>
                  <a:lnTo>
                    <a:pt x="142" y="668"/>
                  </a:lnTo>
                  <a:close/>
                  <a:moveTo>
                    <a:pt x="852" y="2048"/>
                  </a:moveTo>
                  <a:lnTo>
                    <a:pt x="936" y="2048"/>
                  </a:lnTo>
                  <a:lnTo>
                    <a:pt x="936" y="2215"/>
                  </a:lnTo>
                  <a:lnTo>
                    <a:pt x="852" y="2215"/>
                  </a:lnTo>
                  <a:lnTo>
                    <a:pt x="852" y="2048"/>
                  </a:lnTo>
                  <a:close/>
                  <a:moveTo>
                    <a:pt x="955" y="1964"/>
                  </a:moveTo>
                  <a:lnTo>
                    <a:pt x="833" y="1964"/>
                  </a:lnTo>
                  <a:lnTo>
                    <a:pt x="797" y="1910"/>
                  </a:lnTo>
                  <a:lnTo>
                    <a:pt x="894" y="1883"/>
                  </a:lnTo>
                  <a:lnTo>
                    <a:pt x="991" y="1910"/>
                  </a:lnTo>
                  <a:lnTo>
                    <a:pt x="955" y="1964"/>
                  </a:lnTo>
                  <a:close/>
                  <a:moveTo>
                    <a:pt x="643" y="1728"/>
                  </a:moveTo>
                  <a:lnTo>
                    <a:pt x="691" y="1721"/>
                  </a:lnTo>
                  <a:lnTo>
                    <a:pt x="691" y="1721"/>
                  </a:lnTo>
                  <a:lnTo>
                    <a:pt x="695" y="1737"/>
                  </a:lnTo>
                  <a:lnTo>
                    <a:pt x="702" y="1753"/>
                  </a:lnTo>
                  <a:lnTo>
                    <a:pt x="709" y="1769"/>
                  </a:lnTo>
                  <a:lnTo>
                    <a:pt x="718" y="1783"/>
                  </a:lnTo>
                  <a:lnTo>
                    <a:pt x="727" y="1797"/>
                  </a:lnTo>
                  <a:lnTo>
                    <a:pt x="738" y="1811"/>
                  </a:lnTo>
                  <a:lnTo>
                    <a:pt x="749" y="1823"/>
                  </a:lnTo>
                  <a:lnTo>
                    <a:pt x="762" y="1833"/>
                  </a:lnTo>
                  <a:lnTo>
                    <a:pt x="643" y="1867"/>
                  </a:lnTo>
                  <a:lnTo>
                    <a:pt x="643" y="1728"/>
                  </a:lnTo>
                  <a:close/>
                  <a:moveTo>
                    <a:pt x="1026" y="1833"/>
                  </a:moveTo>
                  <a:lnTo>
                    <a:pt x="1026" y="1833"/>
                  </a:lnTo>
                  <a:lnTo>
                    <a:pt x="1039" y="1823"/>
                  </a:lnTo>
                  <a:lnTo>
                    <a:pt x="1050" y="1811"/>
                  </a:lnTo>
                  <a:lnTo>
                    <a:pt x="1061" y="1797"/>
                  </a:lnTo>
                  <a:lnTo>
                    <a:pt x="1070" y="1783"/>
                  </a:lnTo>
                  <a:lnTo>
                    <a:pt x="1079" y="1769"/>
                  </a:lnTo>
                  <a:lnTo>
                    <a:pt x="1086" y="1753"/>
                  </a:lnTo>
                  <a:lnTo>
                    <a:pt x="1093" y="1737"/>
                  </a:lnTo>
                  <a:lnTo>
                    <a:pt x="1097" y="1721"/>
                  </a:lnTo>
                  <a:lnTo>
                    <a:pt x="1145" y="1728"/>
                  </a:lnTo>
                  <a:lnTo>
                    <a:pt x="1145" y="1867"/>
                  </a:lnTo>
                  <a:lnTo>
                    <a:pt x="1026" y="1833"/>
                  </a:lnTo>
                  <a:close/>
                  <a:moveTo>
                    <a:pt x="517" y="1254"/>
                  </a:moveTo>
                  <a:lnTo>
                    <a:pt x="517" y="1170"/>
                  </a:lnTo>
                  <a:lnTo>
                    <a:pt x="517" y="1170"/>
                  </a:lnTo>
                  <a:lnTo>
                    <a:pt x="518" y="1151"/>
                  </a:lnTo>
                  <a:lnTo>
                    <a:pt x="520" y="1131"/>
                  </a:lnTo>
                  <a:lnTo>
                    <a:pt x="522" y="1113"/>
                  </a:lnTo>
                  <a:lnTo>
                    <a:pt x="526" y="1094"/>
                  </a:lnTo>
                  <a:lnTo>
                    <a:pt x="529" y="1076"/>
                  </a:lnTo>
                  <a:lnTo>
                    <a:pt x="535" y="1058"/>
                  </a:lnTo>
                  <a:lnTo>
                    <a:pt x="541" y="1041"/>
                  </a:lnTo>
                  <a:lnTo>
                    <a:pt x="547" y="1023"/>
                  </a:lnTo>
                  <a:lnTo>
                    <a:pt x="554" y="1008"/>
                  </a:lnTo>
                  <a:lnTo>
                    <a:pt x="563" y="991"/>
                  </a:lnTo>
                  <a:lnTo>
                    <a:pt x="572" y="975"/>
                  </a:lnTo>
                  <a:lnTo>
                    <a:pt x="582" y="960"/>
                  </a:lnTo>
                  <a:lnTo>
                    <a:pt x="593" y="945"/>
                  </a:lnTo>
                  <a:lnTo>
                    <a:pt x="604" y="931"/>
                  </a:lnTo>
                  <a:lnTo>
                    <a:pt x="616" y="918"/>
                  </a:lnTo>
                  <a:lnTo>
                    <a:pt x="628" y="905"/>
                  </a:lnTo>
                  <a:lnTo>
                    <a:pt x="641" y="891"/>
                  </a:lnTo>
                  <a:lnTo>
                    <a:pt x="655" y="881"/>
                  </a:lnTo>
                  <a:lnTo>
                    <a:pt x="670" y="869"/>
                  </a:lnTo>
                  <a:lnTo>
                    <a:pt x="684" y="858"/>
                  </a:lnTo>
                  <a:lnTo>
                    <a:pt x="700" y="848"/>
                  </a:lnTo>
                  <a:lnTo>
                    <a:pt x="715" y="840"/>
                  </a:lnTo>
                  <a:lnTo>
                    <a:pt x="731" y="831"/>
                  </a:lnTo>
                  <a:lnTo>
                    <a:pt x="748" y="823"/>
                  </a:lnTo>
                  <a:lnTo>
                    <a:pt x="764" y="817"/>
                  </a:lnTo>
                  <a:lnTo>
                    <a:pt x="782" y="811"/>
                  </a:lnTo>
                  <a:lnTo>
                    <a:pt x="800" y="806"/>
                  </a:lnTo>
                  <a:lnTo>
                    <a:pt x="818" y="801"/>
                  </a:lnTo>
                  <a:lnTo>
                    <a:pt x="836" y="798"/>
                  </a:lnTo>
                  <a:lnTo>
                    <a:pt x="856" y="795"/>
                  </a:lnTo>
                  <a:lnTo>
                    <a:pt x="875" y="794"/>
                  </a:lnTo>
                  <a:lnTo>
                    <a:pt x="894" y="794"/>
                  </a:lnTo>
                  <a:lnTo>
                    <a:pt x="894" y="794"/>
                  </a:lnTo>
                  <a:lnTo>
                    <a:pt x="913" y="794"/>
                  </a:lnTo>
                  <a:lnTo>
                    <a:pt x="932" y="795"/>
                  </a:lnTo>
                  <a:lnTo>
                    <a:pt x="952" y="798"/>
                  </a:lnTo>
                  <a:lnTo>
                    <a:pt x="970" y="801"/>
                  </a:lnTo>
                  <a:lnTo>
                    <a:pt x="988" y="806"/>
                  </a:lnTo>
                  <a:lnTo>
                    <a:pt x="1006" y="811"/>
                  </a:lnTo>
                  <a:lnTo>
                    <a:pt x="1024" y="817"/>
                  </a:lnTo>
                  <a:lnTo>
                    <a:pt x="1040" y="823"/>
                  </a:lnTo>
                  <a:lnTo>
                    <a:pt x="1057" y="831"/>
                  </a:lnTo>
                  <a:lnTo>
                    <a:pt x="1073" y="840"/>
                  </a:lnTo>
                  <a:lnTo>
                    <a:pt x="1088" y="848"/>
                  </a:lnTo>
                  <a:lnTo>
                    <a:pt x="1104" y="858"/>
                  </a:lnTo>
                  <a:lnTo>
                    <a:pt x="1118" y="869"/>
                  </a:lnTo>
                  <a:lnTo>
                    <a:pt x="1133" y="881"/>
                  </a:lnTo>
                  <a:lnTo>
                    <a:pt x="1147" y="891"/>
                  </a:lnTo>
                  <a:lnTo>
                    <a:pt x="1160" y="905"/>
                  </a:lnTo>
                  <a:lnTo>
                    <a:pt x="1172" y="918"/>
                  </a:lnTo>
                  <a:lnTo>
                    <a:pt x="1184" y="931"/>
                  </a:lnTo>
                  <a:lnTo>
                    <a:pt x="1195" y="945"/>
                  </a:lnTo>
                  <a:lnTo>
                    <a:pt x="1206" y="960"/>
                  </a:lnTo>
                  <a:lnTo>
                    <a:pt x="1216" y="975"/>
                  </a:lnTo>
                  <a:lnTo>
                    <a:pt x="1225" y="991"/>
                  </a:lnTo>
                  <a:lnTo>
                    <a:pt x="1234" y="1008"/>
                  </a:lnTo>
                  <a:lnTo>
                    <a:pt x="1241" y="1023"/>
                  </a:lnTo>
                  <a:lnTo>
                    <a:pt x="1247" y="1041"/>
                  </a:lnTo>
                  <a:lnTo>
                    <a:pt x="1253" y="1058"/>
                  </a:lnTo>
                  <a:lnTo>
                    <a:pt x="1259" y="1076"/>
                  </a:lnTo>
                  <a:lnTo>
                    <a:pt x="1262" y="1094"/>
                  </a:lnTo>
                  <a:lnTo>
                    <a:pt x="1266" y="1113"/>
                  </a:lnTo>
                  <a:lnTo>
                    <a:pt x="1268" y="1131"/>
                  </a:lnTo>
                  <a:lnTo>
                    <a:pt x="1270" y="1151"/>
                  </a:lnTo>
                  <a:lnTo>
                    <a:pt x="1271" y="1170"/>
                  </a:lnTo>
                  <a:lnTo>
                    <a:pt x="1271" y="1254"/>
                  </a:lnTo>
                  <a:lnTo>
                    <a:pt x="1271" y="1254"/>
                  </a:lnTo>
                  <a:lnTo>
                    <a:pt x="1270" y="1273"/>
                  </a:lnTo>
                  <a:lnTo>
                    <a:pt x="1268" y="1292"/>
                  </a:lnTo>
                  <a:lnTo>
                    <a:pt x="1266" y="1311"/>
                  </a:lnTo>
                  <a:lnTo>
                    <a:pt x="1262" y="1329"/>
                  </a:lnTo>
                  <a:lnTo>
                    <a:pt x="1259" y="1347"/>
                  </a:lnTo>
                  <a:lnTo>
                    <a:pt x="1253" y="1365"/>
                  </a:lnTo>
                  <a:lnTo>
                    <a:pt x="1247" y="1383"/>
                  </a:lnTo>
                  <a:lnTo>
                    <a:pt x="1241" y="1400"/>
                  </a:lnTo>
                  <a:lnTo>
                    <a:pt x="1234" y="1417"/>
                  </a:lnTo>
                  <a:lnTo>
                    <a:pt x="1225" y="1433"/>
                  </a:lnTo>
                  <a:lnTo>
                    <a:pt x="1216" y="1448"/>
                  </a:lnTo>
                  <a:lnTo>
                    <a:pt x="1206" y="1464"/>
                  </a:lnTo>
                  <a:lnTo>
                    <a:pt x="1195" y="1479"/>
                  </a:lnTo>
                  <a:lnTo>
                    <a:pt x="1184" y="1493"/>
                  </a:lnTo>
                  <a:lnTo>
                    <a:pt x="1172" y="1507"/>
                  </a:lnTo>
                  <a:lnTo>
                    <a:pt x="1160" y="1520"/>
                  </a:lnTo>
                  <a:lnTo>
                    <a:pt x="1147" y="1532"/>
                  </a:lnTo>
                  <a:lnTo>
                    <a:pt x="1133" y="1544"/>
                  </a:lnTo>
                  <a:lnTo>
                    <a:pt x="1118" y="1555"/>
                  </a:lnTo>
                  <a:lnTo>
                    <a:pt x="1104" y="1566"/>
                  </a:lnTo>
                  <a:lnTo>
                    <a:pt x="1088" y="1575"/>
                  </a:lnTo>
                  <a:lnTo>
                    <a:pt x="1073" y="1585"/>
                  </a:lnTo>
                  <a:lnTo>
                    <a:pt x="1057" y="1593"/>
                  </a:lnTo>
                  <a:lnTo>
                    <a:pt x="1040" y="1601"/>
                  </a:lnTo>
                  <a:lnTo>
                    <a:pt x="1024" y="1608"/>
                  </a:lnTo>
                  <a:lnTo>
                    <a:pt x="1006" y="1613"/>
                  </a:lnTo>
                  <a:lnTo>
                    <a:pt x="988" y="1619"/>
                  </a:lnTo>
                  <a:lnTo>
                    <a:pt x="970" y="1622"/>
                  </a:lnTo>
                  <a:lnTo>
                    <a:pt x="952" y="1626"/>
                  </a:lnTo>
                  <a:lnTo>
                    <a:pt x="932" y="1628"/>
                  </a:lnTo>
                  <a:lnTo>
                    <a:pt x="913" y="1629"/>
                  </a:lnTo>
                  <a:lnTo>
                    <a:pt x="894" y="1631"/>
                  </a:lnTo>
                  <a:lnTo>
                    <a:pt x="894" y="1631"/>
                  </a:lnTo>
                  <a:lnTo>
                    <a:pt x="875" y="1629"/>
                  </a:lnTo>
                  <a:lnTo>
                    <a:pt x="856" y="1628"/>
                  </a:lnTo>
                  <a:lnTo>
                    <a:pt x="836" y="1626"/>
                  </a:lnTo>
                  <a:lnTo>
                    <a:pt x="818" y="1622"/>
                  </a:lnTo>
                  <a:lnTo>
                    <a:pt x="800" y="1619"/>
                  </a:lnTo>
                  <a:lnTo>
                    <a:pt x="782" y="1613"/>
                  </a:lnTo>
                  <a:lnTo>
                    <a:pt x="764" y="1608"/>
                  </a:lnTo>
                  <a:lnTo>
                    <a:pt x="748" y="1601"/>
                  </a:lnTo>
                  <a:lnTo>
                    <a:pt x="731" y="1593"/>
                  </a:lnTo>
                  <a:lnTo>
                    <a:pt x="715" y="1585"/>
                  </a:lnTo>
                  <a:lnTo>
                    <a:pt x="700" y="1575"/>
                  </a:lnTo>
                  <a:lnTo>
                    <a:pt x="684" y="1566"/>
                  </a:lnTo>
                  <a:lnTo>
                    <a:pt x="670" y="1555"/>
                  </a:lnTo>
                  <a:lnTo>
                    <a:pt x="655" y="1544"/>
                  </a:lnTo>
                  <a:lnTo>
                    <a:pt x="641" y="1532"/>
                  </a:lnTo>
                  <a:lnTo>
                    <a:pt x="628" y="1520"/>
                  </a:lnTo>
                  <a:lnTo>
                    <a:pt x="616" y="1507"/>
                  </a:lnTo>
                  <a:lnTo>
                    <a:pt x="604" y="1493"/>
                  </a:lnTo>
                  <a:lnTo>
                    <a:pt x="593" y="1479"/>
                  </a:lnTo>
                  <a:lnTo>
                    <a:pt x="582" y="1464"/>
                  </a:lnTo>
                  <a:lnTo>
                    <a:pt x="572" y="1448"/>
                  </a:lnTo>
                  <a:lnTo>
                    <a:pt x="563" y="1433"/>
                  </a:lnTo>
                  <a:lnTo>
                    <a:pt x="554" y="1417"/>
                  </a:lnTo>
                  <a:lnTo>
                    <a:pt x="547" y="1400"/>
                  </a:lnTo>
                  <a:lnTo>
                    <a:pt x="541" y="1383"/>
                  </a:lnTo>
                  <a:lnTo>
                    <a:pt x="535" y="1365"/>
                  </a:lnTo>
                  <a:lnTo>
                    <a:pt x="529" y="1347"/>
                  </a:lnTo>
                  <a:lnTo>
                    <a:pt x="526" y="1329"/>
                  </a:lnTo>
                  <a:lnTo>
                    <a:pt x="522" y="1311"/>
                  </a:lnTo>
                  <a:lnTo>
                    <a:pt x="520" y="1292"/>
                  </a:lnTo>
                  <a:lnTo>
                    <a:pt x="518" y="1273"/>
                  </a:lnTo>
                  <a:lnTo>
                    <a:pt x="517" y="1254"/>
                  </a:lnTo>
                  <a:lnTo>
                    <a:pt x="517" y="1254"/>
                  </a:lnTo>
                  <a:close/>
                  <a:moveTo>
                    <a:pt x="894" y="1713"/>
                  </a:moveTo>
                  <a:lnTo>
                    <a:pt x="894" y="1713"/>
                  </a:lnTo>
                  <a:lnTo>
                    <a:pt x="925" y="1712"/>
                  </a:lnTo>
                  <a:lnTo>
                    <a:pt x="956" y="1710"/>
                  </a:lnTo>
                  <a:lnTo>
                    <a:pt x="988" y="1704"/>
                  </a:lnTo>
                  <a:lnTo>
                    <a:pt x="1016" y="1697"/>
                  </a:lnTo>
                  <a:lnTo>
                    <a:pt x="1016" y="1697"/>
                  </a:lnTo>
                  <a:lnTo>
                    <a:pt x="1014" y="1707"/>
                  </a:lnTo>
                  <a:lnTo>
                    <a:pt x="1010" y="1717"/>
                  </a:lnTo>
                  <a:lnTo>
                    <a:pt x="1007" y="1727"/>
                  </a:lnTo>
                  <a:lnTo>
                    <a:pt x="1002" y="1736"/>
                  </a:lnTo>
                  <a:lnTo>
                    <a:pt x="996" y="1746"/>
                  </a:lnTo>
                  <a:lnTo>
                    <a:pt x="989" y="1754"/>
                  </a:lnTo>
                  <a:lnTo>
                    <a:pt x="982" y="1761"/>
                  </a:lnTo>
                  <a:lnTo>
                    <a:pt x="974" y="1769"/>
                  </a:lnTo>
                  <a:lnTo>
                    <a:pt x="966" y="1775"/>
                  </a:lnTo>
                  <a:lnTo>
                    <a:pt x="956" y="1781"/>
                  </a:lnTo>
                  <a:lnTo>
                    <a:pt x="947" y="1785"/>
                  </a:lnTo>
                  <a:lnTo>
                    <a:pt x="937" y="1790"/>
                  </a:lnTo>
                  <a:lnTo>
                    <a:pt x="926" y="1793"/>
                  </a:lnTo>
                  <a:lnTo>
                    <a:pt x="917" y="1795"/>
                  </a:lnTo>
                  <a:lnTo>
                    <a:pt x="905" y="1797"/>
                  </a:lnTo>
                  <a:lnTo>
                    <a:pt x="894" y="1797"/>
                  </a:lnTo>
                  <a:lnTo>
                    <a:pt x="894" y="1797"/>
                  </a:lnTo>
                  <a:lnTo>
                    <a:pt x="883" y="1797"/>
                  </a:lnTo>
                  <a:lnTo>
                    <a:pt x="871" y="1795"/>
                  </a:lnTo>
                  <a:lnTo>
                    <a:pt x="862" y="1793"/>
                  </a:lnTo>
                  <a:lnTo>
                    <a:pt x="851" y="1790"/>
                  </a:lnTo>
                  <a:lnTo>
                    <a:pt x="841" y="1785"/>
                  </a:lnTo>
                  <a:lnTo>
                    <a:pt x="832" y="1781"/>
                  </a:lnTo>
                  <a:lnTo>
                    <a:pt x="822" y="1775"/>
                  </a:lnTo>
                  <a:lnTo>
                    <a:pt x="814" y="1769"/>
                  </a:lnTo>
                  <a:lnTo>
                    <a:pt x="806" y="1761"/>
                  </a:lnTo>
                  <a:lnTo>
                    <a:pt x="799" y="1754"/>
                  </a:lnTo>
                  <a:lnTo>
                    <a:pt x="792" y="1746"/>
                  </a:lnTo>
                  <a:lnTo>
                    <a:pt x="786" y="1736"/>
                  </a:lnTo>
                  <a:lnTo>
                    <a:pt x="781" y="1727"/>
                  </a:lnTo>
                  <a:lnTo>
                    <a:pt x="778" y="1717"/>
                  </a:lnTo>
                  <a:lnTo>
                    <a:pt x="774" y="1707"/>
                  </a:lnTo>
                  <a:lnTo>
                    <a:pt x="772" y="1697"/>
                  </a:lnTo>
                  <a:lnTo>
                    <a:pt x="772" y="1697"/>
                  </a:lnTo>
                  <a:lnTo>
                    <a:pt x="800" y="1704"/>
                  </a:lnTo>
                  <a:lnTo>
                    <a:pt x="832" y="1710"/>
                  </a:lnTo>
                  <a:lnTo>
                    <a:pt x="863" y="1712"/>
                  </a:lnTo>
                  <a:lnTo>
                    <a:pt x="894" y="1713"/>
                  </a:lnTo>
                  <a:lnTo>
                    <a:pt x="894" y="1713"/>
                  </a:lnTo>
                  <a:close/>
                  <a:moveTo>
                    <a:pt x="185" y="2007"/>
                  </a:moveTo>
                  <a:lnTo>
                    <a:pt x="185" y="2007"/>
                  </a:lnTo>
                  <a:lnTo>
                    <a:pt x="194" y="1983"/>
                  </a:lnTo>
                  <a:lnTo>
                    <a:pt x="205" y="1959"/>
                  </a:lnTo>
                  <a:lnTo>
                    <a:pt x="217" y="1937"/>
                  </a:lnTo>
                  <a:lnTo>
                    <a:pt x="230" y="1915"/>
                  </a:lnTo>
                  <a:lnTo>
                    <a:pt x="246" y="1895"/>
                  </a:lnTo>
                  <a:lnTo>
                    <a:pt x="262" y="1875"/>
                  </a:lnTo>
                  <a:lnTo>
                    <a:pt x="280" y="1857"/>
                  </a:lnTo>
                  <a:lnTo>
                    <a:pt x="298" y="1841"/>
                  </a:lnTo>
                  <a:lnTo>
                    <a:pt x="317" y="1825"/>
                  </a:lnTo>
                  <a:lnTo>
                    <a:pt x="338" y="1811"/>
                  </a:lnTo>
                  <a:lnTo>
                    <a:pt x="360" y="1797"/>
                  </a:lnTo>
                  <a:lnTo>
                    <a:pt x="383" y="1785"/>
                  </a:lnTo>
                  <a:lnTo>
                    <a:pt x="406" y="1776"/>
                  </a:lnTo>
                  <a:lnTo>
                    <a:pt x="430" y="1767"/>
                  </a:lnTo>
                  <a:lnTo>
                    <a:pt x="455" y="1760"/>
                  </a:lnTo>
                  <a:lnTo>
                    <a:pt x="480" y="1755"/>
                  </a:lnTo>
                  <a:lnTo>
                    <a:pt x="559" y="1742"/>
                  </a:lnTo>
                  <a:lnTo>
                    <a:pt x="559" y="1979"/>
                  </a:lnTo>
                  <a:lnTo>
                    <a:pt x="713" y="1934"/>
                  </a:lnTo>
                  <a:lnTo>
                    <a:pt x="768" y="2019"/>
                  </a:lnTo>
                  <a:lnTo>
                    <a:pt x="768" y="2215"/>
                  </a:lnTo>
                  <a:lnTo>
                    <a:pt x="402" y="2215"/>
                  </a:lnTo>
                  <a:lnTo>
                    <a:pt x="433" y="2057"/>
                  </a:lnTo>
                  <a:lnTo>
                    <a:pt x="352" y="2040"/>
                  </a:lnTo>
                  <a:lnTo>
                    <a:pt x="317" y="2215"/>
                  </a:lnTo>
                  <a:lnTo>
                    <a:pt x="116" y="2215"/>
                  </a:lnTo>
                  <a:lnTo>
                    <a:pt x="185" y="2007"/>
                  </a:lnTo>
                  <a:close/>
                  <a:moveTo>
                    <a:pt x="1471" y="2215"/>
                  </a:moveTo>
                  <a:lnTo>
                    <a:pt x="1436" y="2040"/>
                  </a:lnTo>
                  <a:lnTo>
                    <a:pt x="1355" y="2057"/>
                  </a:lnTo>
                  <a:lnTo>
                    <a:pt x="1386" y="2215"/>
                  </a:lnTo>
                  <a:lnTo>
                    <a:pt x="1020" y="2215"/>
                  </a:lnTo>
                  <a:lnTo>
                    <a:pt x="1020" y="2019"/>
                  </a:lnTo>
                  <a:lnTo>
                    <a:pt x="1075" y="1934"/>
                  </a:lnTo>
                  <a:lnTo>
                    <a:pt x="1229" y="1979"/>
                  </a:lnTo>
                  <a:lnTo>
                    <a:pt x="1229" y="1742"/>
                  </a:lnTo>
                  <a:lnTo>
                    <a:pt x="1308" y="1755"/>
                  </a:lnTo>
                  <a:lnTo>
                    <a:pt x="1308" y="1755"/>
                  </a:lnTo>
                  <a:lnTo>
                    <a:pt x="1333" y="1760"/>
                  </a:lnTo>
                  <a:lnTo>
                    <a:pt x="1358" y="1767"/>
                  </a:lnTo>
                  <a:lnTo>
                    <a:pt x="1382" y="1776"/>
                  </a:lnTo>
                  <a:lnTo>
                    <a:pt x="1405" y="1785"/>
                  </a:lnTo>
                  <a:lnTo>
                    <a:pt x="1428" y="1797"/>
                  </a:lnTo>
                  <a:lnTo>
                    <a:pt x="1450" y="1811"/>
                  </a:lnTo>
                  <a:lnTo>
                    <a:pt x="1471" y="1825"/>
                  </a:lnTo>
                  <a:lnTo>
                    <a:pt x="1490" y="1841"/>
                  </a:lnTo>
                  <a:lnTo>
                    <a:pt x="1508" y="1857"/>
                  </a:lnTo>
                  <a:lnTo>
                    <a:pt x="1526" y="1875"/>
                  </a:lnTo>
                  <a:lnTo>
                    <a:pt x="1542" y="1895"/>
                  </a:lnTo>
                  <a:lnTo>
                    <a:pt x="1558" y="1915"/>
                  </a:lnTo>
                  <a:lnTo>
                    <a:pt x="1571" y="1937"/>
                  </a:lnTo>
                  <a:lnTo>
                    <a:pt x="1583" y="1959"/>
                  </a:lnTo>
                  <a:lnTo>
                    <a:pt x="1594" y="1983"/>
                  </a:lnTo>
                  <a:lnTo>
                    <a:pt x="1603" y="2007"/>
                  </a:lnTo>
                  <a:lnTo>
                    <a:pt x="1672" y="2215"/>
                  </a:lnTo>
                  <a:lnTo>
                    <a:pt x="1471" y="221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54" name="Rectangle 153">
            <a:extLst>
              <a:ext uri="{FF2B5EF4-FFF2-40B4-BE49-F238E27FC236}">
                <a16:creationId xmlns:a16="http://schemas.microsoft.com/office/drawing/2014/main" id="{0B9140E2-0FE4-4EDD-8B65-3AAD6B1CE574}"/>
              </a:ext>
            </a:extLst>
          </p:cNvPr>
          <p:cNvSpPr>
            <a:spLocks noChangeArrowheads="1"/>
          </p:cNvSpPr>
          <p:nvPr/>
        </p:nvSpPr>
        <p:spPr bwMode="gray">
          <a:xfrm>
            <a:off x="2915251" y="2267231"/>
            <a:ext cx="2937810" cy="873286"/>
          </a:xfrm>
          <a:prstGeom prst="rect">
            <a:avLst/>
          </a:prstGeom>
          <a:noFill/>
          <a:ln w="12700">
            <a:noFill/>
            <a:miter lim="800000"/>
            <a:headEnd/>
            <a:tailEnd/>
          </a:ln>
          <a:effectLst/>
          <a:scene3d>
            <a:camera prst="orthographicFront"/>
            <a:lightRig rig="threePt" dir="t"/>
          </a:scene3d>
          <a:sp3d>
            <a:bevelT/>
          </a:sp3d>
        </p:spPr>
        <p:txBody>
          <a:bodyPr wrap="square" lIns="0" tIns="0" rIns="0" bIns="0" anchor="ctr" anchorCtr="0">
            <a:noAutofit/>
          </a:bodyPr>
          <a:lstStyle/>
          <a:p>
            <a:pPr marL="171450" marR="0" lvl="0" indent="-171450" algn="l" defTabSz="914400" rtl="0" eaLnBrk="1" fontAlgn="base" latinLnBrk="0" hangingPunct="1">
              <a:lnSpc>
                <a:spcPct val="100000"/>
              </a:lnSpc>
              <a:spcBef>
                <a:spcPts val="100"/>
              </a:spcBef>
              <a:spcAft>
                <a:spcPts val="100"/>
              </a:spcAft>
              <a:buClr>
                <a:srgbClr val="FF555F"/>
              </a:buClr>
              <a:buSzTx/>
              <a:buFont typeface="Wingdings" panose="05000000000000000000" pitchFamily="2" charset="2"/>
              <a:buChar char="§"/>
              <a:tabLst/>
              <a:defRPr/>
            </a:pPr>
            <a:r>
              <a:rPr kumimoji="0" lang="en-US" sz="1200" b="0" i="0" u="none" strike="noStrike" kern="1200" cap="none" spc="0" normalizeH="0" baseline="0" noProof="1">
                <a:ln>
                  <a:noFill/>
                </a:ln>
                <a:solidFill>
                  <a:srgbClr val="073262"/>
                </a:solidFill>
                <a:effectLst/>
                <a:uLnTx/>
                <a:uFillTx/>
                <a:latin typeface="Georgia"/>
                <a:ea typeface="+mn-ea"/>
                <a:cs typeface="Arial"/>
              </a:rPr>
              <a:t>Executive governance review</a:t>
            </a:r>
          </a:p>
        </p:txBody>
      </p:sp>
      <p:sp>
        <p:nvSpPr>
          <p:cNvPr id="155" name="Rectangle 154">
            <a:extLst>
              <a:ext uri="{FF2B5EF4-FFF2-40B4-BE49-F238E27FC236}">
                <a16:creationId xmlns:a16="http://schemas.microsoft.com/office/drawing/2014/main" id="{E5BF305E-0910-476A-8779-A52A2D2ED296}"/>
              </a:ext>
            </a:extLst>
          </p:cNvPr>
          <p:cNvSpPr>
            <a:spLocks noChangeArrowheads="1"/>
          </p:cNvSpPr>
          <p:nvPr/>
        </p:nvSpPr>
        <p:spPr bwMode="gray">
          <a:xfrm>
            <a:off x="2916421" y="3237517"/>
            <a:ext cx="2937810" cy="873286"/>
          </a:xfrm>
          <a:prstGeom prst="rect">
            <a:avLst/>
          </a:prstGeom>
          <a:noFill/>
          <a:ln w="12700">
            <a:noFill/>
            <a:miter lim="800000"/>
            <a:headEnd/>
            <a:tailEnd/>
          </a:ln>
          <a:effectLst/>
          <a:scene3d>
            <a:camera prst="orthographicFront"/>
            <a:lightRig rig="threePt" dir="t"/>
          </a:scene3d>
          <a:sp3d>
            <a:bevelT/>
          </a:sp3d>
        </p:spPr>
        <p:txBody>
          <a:bodyPr wrap="square" lIns="0" tIns="0" rIns="0" bIns="0" anchor="ctr" anchorCtr="0">
            <a:noAutofit/>
          </a:bodyPr>
          <a:lstStyle/>
          <a:p>
            <a:pPr marL="171450" marR="0" lvl="0" indent="-171450" algn="l" defTabSz="914400" rtl="0" eaLnBrk="1" fontAlgn="base" latinLnBrk="0" hangingPunct="1">
              <a:lnSpc>
                <a:spcPct val="100000"/>
              </a:lnSpc>
              <a:spcBef>
                <a:spcPts val="100"/>
              </a:spcBef>
              <a:spcAft>
                <a:spcPts val="100"/>
              </a:spcAft>
              <a:buClr>
                <a:srgbClr val="FF555F"/>
              </a:buClr>
              <a:buSzTx/>
              <a:buFont typeface="Wingdings" panose="05000000000000000000" pitchFamily="2" charset="2"/>
              <a:buChar char="§"/>
              <a:tabLst/>
              <a:defRPr/>
            </a:pPr>
            <a:r>
              <a:rPr kumimoji="0" lang="en-US" sz="1200" b="0" i="0" u="none" strike="noStrike" kern="1200" cap="none" spc="0" normalizeH="0" baseline="0" noProof="1">
                <a:ln>
                  <a:noFill/>
                </a:ln>
                <a:solidFill>
                  <a:srgbClr val="073262"/>
                </a:solidFill>
                <a:effectLst/>
                <a:uLnTx/>
                <a:uFillTx/>
                <a:latin typeface="Georgia"/>
                <a:ea typeface="+mn-ea"/>
                <a:cs typeface="Arial"/>
              </a:rPr>
              <a:t>Monthly productivity pacing</a:t>
            </a:r>
          </a:p>
          <a:p>
            <a:pPr marL="171450" marR="0" lvl="0" indent="-171450" algn="l" defTabSz="914400" rtl="0" eaLnBrk="1" fontAlgn="base" latinLnBrk="0" hangingPunct="1">
              <a:lnSpc>
                <a:spcPct val="100000"/>
              </a:lnSpc>
              <a:spcBef>
                <a:spcPts val="100"/>
              </a:spcBef>
              <a:spcAft>
                <a:spcPts val="100"/>
              </a:spcAft>
              <a:buClr>
                <a:srgbClr val="FF555F"/>
              </a:buClr>
              <a:buSzTx/>
              <a:buFont typeface="Wingdings" panose="05000000000000000000" pitchFamily="2" charset="2"/>
              <a:buChar char="§"/>
              <a:tabLst/>
              <a:defRPr/>
            </a:pPr>
            <a:r>
              <a:rPr kumimoji="0" lang="en-US" sz="1200" b="0" i="0" u="none" strike="noStrike" kern="1200" cap="none" spc="0" normalizeH="0" baseline="0" noProof="1">
                <a:ln>
                  <a:noFill/>
                </a:ln>
                <a:solidFill>
                  <a:srgbClr val="073262"/>
                </a:solidFill>
                <a:effectLst/>
                <a:uLnTx/>
                <a:uFillTx/>
                <a:latin typeface="Georgia"/>
                <a:ea typeface="+mn-ea"/>
                <a:cs typeface="Arial"/>
              </a:rPr>
              <a:t>Monthly OC Touchpoint</a:t>
            </a:r>
          </a:p>
        </p:txBody>
      </p:sp>
      <p:sp>
        <p:nvSpPr>
          <p:cNvPr id="156" name="Rectangle 155">
            <a:extLst>
              <a:ext uri="{FF2B5EF4-FFF2-40B4-BE49-F238E27FC236}">
                <a16:creationId xmlns:a16="http://schemas.microsoft.com/office/drawing/2014/main" id="{F5761F44-28F8-46E6-8DEF-D75CD8BF419B}"/>
              </a:ext>
            </a:extLst>
          </p:cNvPr>
          <p:cNvSpPr>
            <a:spLocks noChangeArrowheads="1"/>
          </p:cNvSpPr>
          <p:nvPr/>
        </p:nvSpPr>
        <p:spPr bwMode="gray">
          <a:xfrm>
            <a:off x="2862908" y="4311501"/>
            <a:ext cx="2937810" cy="873286"/>
          </a:xfrm>
          <a:prstGeom prst="rect">
            <a:avLst/>
          </a:prstGeom>
          <a:noFill/>
          <a:ln w="12700">
            <a:noFill/>
            <a:miter lim="800000"/>
            <a:headEnd/>
            <a:tailEnd/>
          </a:ln>
          <a:effectLst/>
          <a:scene3d>
            <a:camera prst="orthographicFront"/>
            <a:lightRig rig="threePt" dir="t"/>
          </a:scene3d>
          <a:sp3d>
            <a:bevelT/>
          </a:sp3d>
        </p:spPr>
        <p:txBody>
          <a:bodyPr wrap="square" lIns="0" tIns="0" rIns="0" bIns="0" anchor="ctr" anchorCtr="0">
            <a:noAutofit/>
          </a:bodyPr>
          <a:lstStyle/>
          <a:p>
            <a:pPr marL="171450" marR="0" lvl="0" indent="-171450" algn="l" defTabSz="914400" rtl="0" eaLnBrk="1" fontAlgn="base" latinLnBrk="0" hangingPunct="1">
              <a:lnSpc>
                <a:spcPct val="100000"/>
              </a:lnSpc>
              <a:spcBef>
                <a:spcPts val="100"/>
              </a:spcBef>
              <a:spcAft>
                <a:spcPts val="100"/>
              </a:spcAft>
              <a:buClr>
                <a:srgbClr val="FF555F"/>
              </a:buClr>
              <a:buSzTx/>
              <a:buFont typeface="Wingdings" panose="05000000000000000000" pitchFamily="2" charset="2"/>
              <a:buChar char="§"/>
              <a:tabLst/>
              <a:defRPr/>
            </a:pPr>
            <a:r>
              <a:rPr kumimoji="0" lang="en-US" sz="1200" b="0" i="0" u="none" strike="noStrike" kern="1200" cap="none" spc="0" normalizeH="0" baseline="0" noProof="1">
                <a:ln>
                  <a:noFill/>
                </a:ln>
                <a:solidFill>
                  <a:srgbClr val="073262"/>
                </a:solidFill>
                <a:effectLst/>
                <a:uLnTx/>
                <a:uFillTx/>
                <a:latin typeface="Georgia"/>
                <a:ea typeface="+mn-ea"/>
                <a:cs typeface="Arial"/>
              </a:rPr>
              <a:t>GE-G Weekly transformation pulse</a:t>
            </a:r>
          </a:p>
          <a:p>
            <a:pPr marL="171450" marR="0" lvl="0" indent="-171450" algn="l" defTabSz="914400" rtl="0" eaLnBrk="1" fontAlgn="base" latinLnBrk="0" hangingPunct="1">
              <a:lnSpc>
                <a:spcPct val="100000"/>
              </a:lnSpc>
              <a:spcBef>
                <a:spcPts val="100"/>
              </a:spcBef>
              <a:spcAft>
                <a:spcPts val="100"/>
              </a:spcAft>
              <a:buClr>
                <a:srgbClr val="FF555F"/>
              </a:buClr>
              <a:buSzTx/>
              <a:buFont typeface="Wingdings" panose="05000000000000000000" pitchFamily="2" charset="2"/>
              <a:buChar char="§"/>
              <a:tabLst/>
              <a:defRPr/>
            </a:pPr>
            <a:r>
              <a:rPr kumimoji="0" lang="en-US" sz="1200" b="0" i="0" u="none" strike="noStrike" kern="1200" cap="none" spc="0" normalizeH="0" baseline="0" noProof="1">
                <a:ln>
                  <a:noFill/>
                </a:ln>
                <a:solidFill>
                  <a:srgbClr val="073262"/>
                </a:solidFill>
                <a:effectLst/>
                <a:uLnTx/>
                <a:uFillTx/>
                <a:latin typeface="Georgia"/>
                <a:ea typeface="+mn-ea"/>
                <a:cs typeface="Arial"/>
              </a:rPr>
              <a:t>Weekly digital program update</a:t>
            </a:r>
          </a:p>
        </p:txBody>
      </p:sp>
      <p:sp>
        <p:nvSpPr>
          <p:cNvPr id="3" name="Rectangle 2">
            <a:extLst>
              <a:ext uri="{FF2B5EF4-FFF2-40B4-BE49-F238E27FC236}">
                <a16:creationId xmlns:a16="http://schemas.microsoft.com/office/drawing/2014/main" id="{EBC51440-2E1F-446A-8F6B-56EB57AEA75F}"/>
              </a:ext>
            </a:extLst>
          </p:cNvPr>
          <p:cNvSpPr/>
          <p:nvPr/>
        </p:nvSpPr>
        <p:spPr>
          <a:xfrm>
            <a:off x="6101583" y="2095465"/>
            <a:ext cx="5923132" cy="3370153"/>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73262"/>
                </a:solidFill>
                <a:effectLst/>
                <a:uLnTx/>
                <a:uFillTx/>
                <a:latin typeface="Georgia"/>
                <a:ea typeface="+mn-ea"/>
                <a:cs typeface="+mn-cs"/>
              </a:rPr>
              <a:t>Leadership call GP/REN early March to schedule</a:t>
            </a:r>
            <a:br>
              <a:rPr kumimoji="0" lang="en-US" sz="500" b="1" i="0" u="none" strike="noStrike" kern="1200" cap="none" spc="0" normalizeH="0" baseline="0" noProof="0" dirty="0">
                <a:ln>
                  <a:noFill/>
                </a:ln>
                <a:solidFill>
                  <a:srgbClr val="073262"/>
                </a:solidFill>
                <a:effectLst/>
                <a:uLnTx/>
                <a:uFillTx/>
                <a:latin typeface="Georgia"/>
                <a:ea typeface="+mn-ea"/>
                <a:cs typeface="+mn-cs"/>
              </a:rPr>
            </a:br>
            <a:endParaRPr kumimoji="0" lang="en-US" sz="500" b="0" i="0" u="none" strike="noStrike" kern="1200" cap="none" spc="0" normalizeH="0" baseline="0" noProof="0" dirty="0">
              <a:ln>
                <a:noFill/>
              </a:ln>
              <a:solidFill>
                <a:srgbClr val="073262"/>
              </a:solidFill>
              <a:effectLst/>
              <a:uLnTx/>
              <a:uFillTx/>
              <a:latin typeface="Georgia"/>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00" b="0" i="0" u="none" strike="noStrike" kern="1200" cap="none" spc="0" normalizeH="0" baseline="0" noProof="0" dirty="0">
                <a:ln>
                  <a:noFill/>
                </a:ln>
                <a:solidFill>
                  <a:srgbClr val="073262"/>
                </a:solidFill>
                <a:effectLst/>
                <a:uLnTx/>
                <a:uFillTx/>
                <a:latin typeface="Georgia"/>
                <a:ea typeface="+mn-ea"/>
                <a:cs typeface="+mn-cs"/>
              </a:rPr>
              <a:t>Agreement on productivity target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00" b="0" i="0" u="none" strike="noStrike" kern="1200" cap="none" spc="0" normalizeH="0" baseline="0" noProof="0" dirty="0">
                <a:ln>
                  <a:noFill/>
                </a:ln>
                <a:solidFill>
                  <a:srgbClr val="073262"/>
                </a:solidFill>
                <a:effectLst/>
                <a:uLnTx/>
                <a:uFillTx/>
                <a:latin typeface="Georgia"/>
                <a:ea typeface="+mn-ea"/>
                <a:cs typeface="+mn-cs"/>
              </a:rPr>
              <a:t>Buy-in for organizational accountability</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00" b="0" i="0" u="none" strike="noStrike" kern="1200" cap="none" spc="0" normalizeH="0" baseline="0" noProof="0" dirty="0">
                <a:ln>
                  <a:noFill/>
                </a:ln>
                <a:solidFill>
                  <a:srgbClr val="073262"/>
                </a:solidFill>
                <a:effectLst/>
                <a:uLnTx/>
                <a:uFillTx/>
                <a:latin typeface="Georgia"/>
                <a:ea typeface="+mn-ea"/>
                <a:cs typeface="+mn-cs"/>
              </a:rPr>
              <a:t>Approval to move ahead with proposed model /</a:t>
            </a:r>
            <a:br>
              <a:rPr kumimoji="0" lang="en-US" sz="1600" b="0" i="0" u="none" strike="noStrike" kern="1200" cap="none" spc="0" normalizeH="0" baseline="0" noProof="0" dirty="0">
                <a:ln>
                  <a:noFill/>
                </a:ln>
                <a:solidFill>
                  <a:srgbClr val="073262"/>
                </a:solidFill>
                <a:effectLst/>
                <a:uLnTx/>
                <a:uFillTx/>
                <a:latin typeface="Georgia"/>
                <a:ea typeface="+mn-ea"/>
                <a:cs typeface="+mn-cs"/>
              </a:rPr>
            </a:br>
            <a:r>
              <a:rPr kumimoji="0" lang="pl-PL" sz="1600" b="0" i="0" u="none" strike="noStrike" kern="1200" cap="none" spc="0" normalizeH="0" baseline="0" noProof="0" dirty="0">
                <a:ln>
                  <a:noFill/>
                </a:ln>
                <a:solidFill>
                  <a:srgbClr val="073262"/>
                </a:solidFill>
                <a:effectLst/>
                <a:uLnTx/>
                <a:uFillTx/>
                <a:latin typeface="Georgia"/>
                <a:ea typeface="+mn-ea"/>
                <a:cs typeface="+mn-cs"/>
              </a:rPr>
              <a:t>go/no</a:t>
            </a:r>
            <a:r>
              <a:rPr kumimoji="0" lang="de-DE" sz="1600" b="0" i="0" u="none" strike="noStrike" kern="1200" cap="none" spc="0" normalizeH="0" baseline="0" noProof="0" dirty="0">
                <a:ln>
                  <a:noFill/>
                </a:ln>
                <a:solidFill>
                  <a:srgbClr val="073262"/>
                </a:solidFill>
                <a:effectLst/>
                <a:uLnTx/>
                <a:uFillTx/>
                <a:latin typeface="Georgia"/>
                <a:ea typeface="+mn-ea"/>
                <a:cs typeface="+mn-cs"/>
              </a:rPr>
              <a:t>-</a:t>
            </a:r>
            <a:r>
              <a:rPr kumimoji="0" lang="pl-PL" sz="1600" b="0" i="0" u="none" strike="noStrike" kern="1200" cap="none" spc="0" normalizeH="0" baseline="0" noProof="0" dirty="0">
                <a:ln>
                  <a:noFill/>
                </a:ln>
                <a:solidFill>
                  <a:srgbClr val="073262"/>
                </a:solidFill>
                <a:effectLst/>
                <a:uLnTx/>
                <a:uFillTx/>
                <a:latin typeface="Georgia"/>
                <a:ea typeface="+mn-ea"/>
                <a:cs typeface="+mn-cs"/>
              </a:rPr>
              <a:t>go </a:t>
            </a:r>
            <a:r>
              <a:rPr kumimoji="0" lang="de-DE" sz="1600" b="0" i="0" u="none" strike="noStrike" kern="1200" cap="none" spc="0" normalizeH="0" baseline="0" noProof="0" dirty="0">
                <a:ln>
                  <a:noFill/>
                </a:ln>
                <a:solidFill>
                  <a:srgbClr val="073262"/>
                </a:solidFill>
                <a:effectLst/>
                <a:uLnTx/>
                <a:uFillTx/>
                <a:latin typeface="Georgia"/>
                <a:ea typeface="+mn-ea"/>
                <a:cs typeface="+mn-cs"/>
              </a:rPr>
              <a:t>diecission </a:t>
            </a:r>
            <a:r>
              <a:rPr kumimoji="0" lang="pl-PL" sz="1600" b="0" i="0" u="none" strike="noStrike" kern="1200" cap="none" spc="0" normalizeH="0" baseline="0" noProof="0" dirty="0">
                <a:ln>
                  <a:noFill/>
                </a:ln>
                <a:solidFill>
                  <a:srgbClr val="073262"/>
                </a:solidFill>
                <a:effectLst/>
                <a:uLnTx/>
                <a:uFillTx/>
                <a:latin typeface="Georgia"/>
                <a:ea typeface="+mn-ea"/>
                <a:cs typeface="+mn-cs"/>
              </a:rPr>
              <a:t>on Autobank </a:t>
            </a:r>
            <a:r>
              <a:rPr kumimoji="0" lang="en-US" sz="1600" b="0" i="0" u="none" strike="noStrike" kern="1200" cap="none" spc="0" normalizeH="0" baseline="0" noProof="0" dirty="0">
                <a:ln>
                  <a:noFill/>
                </a:ln>
                <a:solidFill>
                  <a:srgbClr val="073262"/>
                </a:solidFill>
                <a:effectLst/>
                <a:uLnTx/>
                <a:uFillTx/>
                <a:latin typeface="Georgia"/>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00" b="0" i="0" u="none" strike="noStrike" kern="1200" cap="none" spc="0" normalizeH="0" baseline="0" noProof="0" dirty="0">
                <a:ln>
                  <a:noFill/>
                </a:ln>
                <a:solidFill>
                  <a:srgbClr val="073262"/>
                </a:solidFill>
                <a:effectLst/>
                <a:uLnTx/>
                <a:uFillTx/>
                <a:latin typeface="Georgia"/>
                <a:ea typeface="+mn-ea"/>
                <a:cs typeface="+mn-cs"/>
              </a:rPr>
              <a:t>Agreement on governance for 2021 </a:t>
            </a:r>
            <a:br>
              <a:rPr kumimoji="0" lang="en-US" sz="1600" b="0" i="0" u="none" strike="noStrike" kern="1200" cap="none" spc="0" normalizeH="0" baseline="0" noProof="0" dirty="0">
                <a:ln>
                  <a:noFill/>
                </a:ln>
                <a:solidFill>
                  <a:srgbClr val="073262"/>
                </a:solidFill>
                <a:effectLst/>
                <a:uLnTx/>
                <a:uFillTx/>
                <a:latin typeface="Georgia"/>
                <a:ea typeface="+mn-ea"/>
                <a:cs typeface="+mn-cs"/>
              </a:rPr>
            </a:br>
            <a:r>
              <a:rPr kumimoji="0" lang="en-US" sz="1600" b="0" i="0" u="none" strike="noStrike" kern="1200" cap="none" spc="0" normalizeH="0" baseline="0" noProof="0" dirty="0">
                <a:ln>
                  <a:noFill/>
                </a:ln>
                <a:solidFill>
                  <a:srgbClr val="073262"/>
                </a:solidFill>
                <a:effectLst/>
                <a:uLnTx/>
                <a:uFillTx/>
                <a:latin typeface="Georgia"/>
                <a:ea typeface="+mn-ea"/>
                <a:cs typeface="+mn-cs"/>
              </a:rPr>
              <a:t>(Ownership &amp; accountability for the 2021 </a:t>
            </a:r>
            <a:r>
              <a:rPr kumimoji="0" lang="en-US" sz="1600" b="0" i="0" u="none" strike="noStrike" kern="1200" cap="none" spc="0" normalizeH="0" baseline="0" noProof="0" dirty="0" err="1">
                <a:ln>
                  <a:noFill/>
                </a:ln>
                <a:solidFill>
                  <a:srgbClr val="073262"/>
                </a:solidFill>
                <a:effectLst/>
                <a:uLnTx/>
                <a:uFillTx/>
                <a:latin typeface="Georgia"/>
                <a:ea typeface="+mn-ea"/>
                <a:cs typeface="+mn-cs"/>
              </a:rPr>
              <a:t>Pdty</a:t>
            </a:r>
            <a:r>
              <a:rPr kumimoji="0" lang="en-US" sz="1600" b="0" i="0" u="none" strike="noStrike" kern="1200" cap="none" spc="0" normalizeH="0" baseline="0" noProof="0" dirty="0">
                <a:ln>
                  <a:noFill/>
                </a:ln>
                <a:solidFill>
                  <a:srgbClr val="073262"/>
                </a:solidFill>
                <a:effectLst/>
                <a:uLnTx/>
                <a:uFillTx/>
                <a:latin typeface="Georgia"/>
                <a:ea typeface="+mn-ea"/>
                <a:cs typeface="+mn-cs"/>
              </a:rPr>
              <a:t>)</a:t>
            </a:r>
            <a:br>
              <a:rPr kumimoji="0" lang="en-US" sz="1600" b="0" i="0" u="none" strike="noStrike" kern="1200" cap="none" spc="0" normalizeH="0" baseline="0" noProof="0" dirty="0">
                <a:ln>
                  <a:noFill/>
                </a:ln>
                <a:solidFill>
                  <a:srgbClr val="073262"/>
                </a:solidFill>
                <a:effectLst/>
                <a:uLnTx/>
                <a:uFillTx/>
                <a:latin typeface="Georgia"/>
                <a:ea typeface="+mn-ea"/>
                <a:cs typeface="+mn-cs"/>
              </a:rPr>
            </a:br>
            <a:endParaRPr kumimoji="0" lang="en-US" sz="400" b="0" i="0" u="none" strike="noStrike" kern="1200" cap="none" spc="0" normalizeH="0" baseline="0" noProof="0" dirty="0">
              <a:ln>
                <a:noFill/>
              </a:ln>
              <a:solidFill>
                <a:srgbClr val="073262"/>
              </a:solidFill>
              <a:effectLst/>
              <a:uLnTx/>
              <a:uFillTx/>
              <a:latin typeface="Georgi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73262"/>
                </a:solidFill>
                <a:effectLst/>
                <a:uLnTx/>
                <a:uFillTx/>
                <a:latin typeface="Georgia"/>
                <a:ea typeface="+mn-ea"/>
                <a:cs typeface="+mn-cs"/>
              </a:rPr>
              <a:t>Bowler agre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73262"/>
                </a:solidFill>
                <a:effectLst/>
                <a:uLnTx/>
                <a:uFillTx/>
                <a:latin typeface="Georgia"/>
                <a:ea typeface="+mn-ea"/>
                <a:cs typeface="+mn-cs"/>
              </a:rPr>
              <a:t>Define and setup detailed Governance </a:t>
            </a:r>
            <a:r>
              <a:rPr kumimoji="0" lang="en-US" sz="1800" b="1" i="0" u="none" strike="noStrike" kern="1200" cap="none" spc="0" normalizeH="0" baseline="0" noProof="0" dirty="0" err="1">
                <a:ln>
                  <a:noFill/>
                </a:ln>
                <a:solidFill>
                  <a:srgbClr val="073262"/>
                </a:solidFill>
                <a:effectLst/>
                <a:uLnTx/>
                <a:uFillTx/>
                <a:latin typeface="Georgia"/>
                <a:ea typeface="+mn-ea"/>
                <a:cs typeface="+mn-cs"/>
              </a:rPr>
              <a:t>rythm</a:t>
            </a:r>
            <a:endParaRPr kumimoji="0" lang="en-US" sz="1800" b="1" i="0" u="none" strike="noStrike" kern="1200" cap="none" spc="0" normalizeH="0" baseline="0" noProof="0" dirty="0">
              <a:ln>
                <a:noFill/>
              </a:ln>
              <a:solidFill>
                <a:srgbClr val="073262"/>
              </a:solidFill>
              <a:effectLst/>
              <a:uLnTx/>
              <a:uFillTx/>
              <a:latin typeface="Georgi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73262"/>
                </a:solidFill>
                <a:effectLst/>
                <a:uLnTx/>
                <a:uFillTx/>
                <a:latin typeface="Georgia"/>
                <a:ea typeface="+mn-ea"/>
                <a:cs typeface="+mn-cs"/>
              </a:rPr>
              <a:t>Execution on </a:t>
            </a:r>
            <a:r>
              <a:rPr kumimoji="0" lang="en-US" sz="1800" b="1" i="0" u="none" strike="noStrike" kern="1200" cap="none" spc="0" normalizeH="0" baseline="0" noProof="0" dirty="0" err="1">
                <a:ln>
                  <a:noFill/>
                </a:ln>
                <a:solidFill>
                  <a:srgbClr val="073262"/>
                </a:solidFill>
                <a:effectLst/>
                <a:uLnTx/>
                <a:uFillTx/>
                <a:latin typeface="Georgia"/>
                <a:ea typeface="+mn-ea"/>
                <a:cs typeface="+mn-cs"/>
              </a:rPr>
              <a:t>Kaizan</a:t>
            </a:r>
            <a:r>
              <a:rPr kumimoji="0" lang="en-US" sz="1800" b="1" i="0" u="none" strike="noStrike" kern="1200" cap="none" spc="0" normalizeH="0" baseline="0" noProof="0" dirty="0">
                <a:ln>
                  <a:noFill/>
                </a:ln>
                <a:solidFill>
                  <a:srgbClr val="073262"/>
                </a:solidFill>
                <a:effectLst/>
                <a:uLnTx/>
                <a:uFillTx/>
                <a:latin typeface="Georgi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73262"/>
              </a:solidFill>
              <a:effectLst/>
              <a:uLnTx/>
              <a:uFillTx/>
              <a:latin typeface="Georgia"/>
              <a:ea typeface="+mn-ea"/>
              <a:cs typeface="+mn-cs"/>
            </a:endParaRPr>
          </a:p>
        </p:txBody>
      </p:sp>
      <p:sp>
        <p:nvSpPr>
          <p:cNvPr id="74" name="Text Placeholder 1">
            <a:extLst>
              <a:ext uri="{FF2B5EF4-FFF2-40B4-BE49-F238E27FC236}">
                <a16:creationId xmlns:a16="http://schemas.microsoft.com/office/drawing/2014/main" id="{A49B7276-5BFC-4C5A-9D64-A16E79BF4652}"/>
              </a:ext>
            </a:extLst>
          </p:cNvPr>
          <p:cNvSpPr txBox="1">
            <a:spLocks/>
          </p:cNvSpPr>
          <p:nvPr/>
        </p:nvSpPr>
        <p:spPr>
          <a:xfrm>
            <a:off x="6109842" y="1701791"/>
            <a:ext cx="5923129" cy="400110"/>
          </a:xfrm>
          <a:prstGeom prst="rect">
            <a:avLst/>
          </a:prstGeom>
          <a:solidFill>
            <a:schemeClr val="accent2"/>
          </a:solidFill>
          <a:ln>
            <a:noFill/>
          </a:ln>
        </p:spPr>
        <p:txBody>
          <a:bodyPr wrap="square" lIns="0" tIns="0" rIns="0" bIns="0" anchor="ctr" anchorCtr="0">
            <a:noAutofit/>
          </a:bodyPr>
          <a:lstStyle>
            <a:lvl1pPr marL="285750" indent="-285750">
              <a:lnSpc>
                <a:spcPct val="100000"/>
              </a:lnSpc>
              <a:spcBef>
                <a:spcPts val="600"/>
              </a:spcBef>
              <a:spcAft>
                <a:spcPts val="600"/>
              </a:spcAft>
              <a:buClr>
                <a:srgbClr val="FF545F"/>
              </a:buClr>
              <a:buFont typeface="Wingdings" panose="05000000000000000000" pitchFamily="2" charset="2"/>
              <a:buChar char="§"/>
              <a:defRPr sz="1600">
                <a:solidFill>
                  <a:srgbClr val="063161"/>
                </a:solidFill>
                <a:latin typeface="Georgia" panose="02040502050405020303" pitchFamily="18" charset="0"/>
                <a:ea typeface="+mn-ea"/>
                <a:cs typeface="+mn-cs"/>
              </a:defRPr>
            </a:lvl1pPr>
            <a:lvl2pPr marL="742950" indent="-285750">
              <a:spcBef>
                <a:spcPts val="600"/>
              </a:spcBef>
              <a:spcAft>
                <a:spcPts val="600"/>
              </a:spcAft>
              <a:buClr>
                <a:srgbClr val="EA3946"/>
              </a:buClr>
              <a:buFont typeface="Arial" panose="020B0604020202020204" pitchFamily="34" charset="0"/>
              <a:buChar char="•"/>
              <a:defRPr sz="1600">
                <a:solidFill>
                  <a:srgbClr val="063161"/>
                </a:solidFill>
                <a:latin typeface="+mn-lt"/>
                <a:ea typeface="+mn-ea"/>
                <a:cs typeface="+mn-cs"/>
              </a:defRPr>
            </a:lvl2pPr>
            <a:lvl3pPr marL="1200150" indent="-285750">
              <a:spcBef>
                <a:spcPts val="600"/>
              </a:spcBef>
              <a:spcAft>
                <a:spcPts val="600"/>
              </a:spcAft>
              <a:buClr>
                <a:srgbClr val="C00000"/>
              </a:buClr>
              <a:buFont typeface="Georgia" panose="02040502050405020303" pitchFamily="18" charset="0"/>
              <a:buChar char="─"/>
              <a:defRPr sz="1200">
                <a:solidFill>
                  <a:srgbClr val="063161"/>
                </a:solidFill>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
                <a:srgbClr val="FF545F"/>
              </a:buClr>
              <a:buSzTx/>
              <a:buFont typeface="Wingdings" panose="05000000000000000000" pitchFamily="2" charset="2"/>
              <a:buNone/>
              <a:tabLst/>
              <a:defRPr/>
            </a:pPr>
            <a:r>
              <a:rPr kumimoji="0" lang="en-US" sz="1400" b="1" i="0" u="none" strike="noStrike" kern="0" cap="none" spc="0" normalizeH="0" baseline="0" noProof="0" dirty="0">
                <a:ln>
                  <a:noFill/>
                </a:ln>
                <a:solidFill>
                  <a:prstClr val="white"/>
                </a:solidFill>
                <a:effectLst/>
                <a:uLnTx/>
                <a:uFillTx/>
                <a:latin typeface="Georgia"/>
                <a:ea typeface="+mn-ea"/>
                <a:cs typeface="+mn-cs"/>
              </a:rPr>
              <a:t>Next Steps…</a:t>
            </a:r>
          </a:p>
        </p:txBody>
      </p:sp>
    </p:spTree>
    <p:extLst>
      <p:ext uri="{BB962C8B-B14F-4D97-AF65-F5344CB8AC3E}">
        <p14:creationId xmlns:p14="http://schemas.microsoft.com/office/powerpoint/2010/main" val="1551153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57AFC34F-2CFF-4777-9A05-1CBB6F0856A0}"/>
              </a:ext>
            </a:extLst>
          </p:cNvPr>
          <p:cNvSpPr txBox="1">
            <a:spLocks/>
          </p:cNvSpPr>
          <p:nvPr/>
        </p:nvSpPr>
        <p:spPr>
          <a:xfrm>
            <a:off x="623888" y="2600766"/>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lvl="0" algn="ctr">
              <a:defRPr/>
            </a:pPr>
            <a:r>
              <a:rPr lang="en-US" kern="0" dirty="0">
                <a:solidFill>
                  <a:srgbClr val="073262"/>
                </a:solidFill>
              </a:rPr>
              <a:t>Annexure</a:t>
            </a:r>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2333663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C524D3A-F784-4D13-8487-9A61DE5C17B0}"/>
              </a:ext>
            </a:extLst>
          </p:cNvPr>
          <p:cNvSpPr/>
          <p:nvPr/>
        </p:nvSpPr>
        <p:spPr>
          <a:xfrm>
            <a:off x="0" y="2293034"/>
            <a:ext cx="12192000" cy="2926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7200" b="1" dirty="0"/>
              <a:t>I</a:t>
            </a:r>
            <a:r>
              <a:rPr lang="en-IN" sz="5400" b="1" dirty="0"/>
              <a:t>NVOICE </a:t>
            </a:r>
            <a:r>
              <a:rPr lang="en-IN" sz="7200" b="1" dirty="0"/>
              <a:t>T</a:t>
            </a:r>
            <a:r>
              <a:rPr lang="en-IN" sz="5400" b="1" dirty="0"/>
              <a:t>O </a:t>
            </a:r>
            <a:r>
              <a:rPr lang="en-IN" sz="7200" b="1" dirty="0"/>
              <a:t>C</a:t>
            </a:r>
            <a:r>
              <a:rPr lang="en-IN" sz="5400" b="1" dirty="0"/>
              <a:t>ASH</a:t>
            </a:r>
            <a:endParaRPr lang="en-IN" sz="7200" b="1" dirty="0"/>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1654060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717948D3-4001-4BF5-9EA0-E1C489914C92}"/>
              </a:ext>
            </a:extLst>
          </p:cNvPr>
          <p:cNvSpPr txBox="1">
            <a:spLocks/>
          </p:cNvSpPr>
          <p:nvPr/>
        </p:nvSpPr>
        <p:spPr>
          <a:xfrm>
            <a:off x="0" y="89604"/>
            <a:ext cx="7235456" cy="533400"/>
          </a:xfrm>
          <a:prstGeom prst="rect">
            <a:avLst/>
          </a:prstGeom>
        </p:spPr>
        <p:txBody>
          <a:bodyPr anchor="ctr"/>
          <a:lstStyle>
            <a:lvl1pPr marL="0">
              <a:defRPr sz="3000">
                <a:solidFill>
                  <a:srgbClr val="06316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400" b="1" kern="0" dirty="0">
                <a:latin typeface="+mj-lt"/>
              </a:rPr>
              <a:t>Charter | HMS GE Grid Workout  </a:t>
            </a:r>
          </a:p>
        </p:txBody>
      </p:sp>
      <p:sp>
        <p:nvSpPr>
          <p:cNvPr id="16" name="Rectangle 3">
            <a:extLst>
              <a:ext uri="{FF2B5EF4-FFF2-40B4-BE49-F238E27FC236}">
                <a16:creationId xmlns:a16="http://schemas.microsoft.com/office/drawing/2014/main" id="{85C9B4D2-FBF5-4ECA-9C1E-AC366F194DCD}"/>
              </a:ext>
            </a:extLst>
          </p:cNvPr>
          <p:cNvSpPr>
            <a:spLocks noChangeArrowheads="1"/>
          </p:cNvSpPr>
          <p:nvPr/>
        </p:nvSpPr>
        <p:spPr bwMode="auto">
          <a:xfrm>
            <a:off x="162286" y="623004"/>
            <a:ext cx="5793337" cy="293956"/>
          </a:xfrm>
          <a:prstGeom prst="rect">
            <a:avLst/>
          </a:prstGeom>
          <a:solidFill>
            <a:srgbClr val="073262"/>
          </a:solidFill>
          <a:ln w="9525">
            <a:solidFill>
              <a:srgbClr val="DDDDDD"/>
            </a:solidFill>
            <a:miter lim="800000"/>
            <a:headEnd/>
            <a:tailEnd/>
          </a:ln>
          <a:effectLst/>
        </p:spPr>
        <p:txBody>
          <a:bodyPr wrap="none" anchor="ctr"/>
          <a:lstStyle/>
          <a:p>
            <a:pPr defTabSz="820738" eaLnBrk="0" hangingPunct="0"/>
            <a:r>
              <a:rPr lang="en-US" sz="1600" dirty="0">
                <a:solidFill>
                  <a:schemeClr val="bg1"/>
                </a:solidFill>
              </a:rPr>
              <a:t>Business Case</a:t>
            </a:r>
          </a:p>
        </p:txBody>
      </p:sp>
      <p:sp>
        <p:nvSpPr>
          <p:cNvPr id="17" name="Rectangle 5">
            <a:extLst>
              <a:ext uri="{FF2B5EF4-FFF2-40B4-BE49-F238E27FC236}">
                <a16:creationId xmlns:a16="http://schemas.microsoft.com/office/drawing/2014/main" id="{E7B8808E-1222-4702-BC87-A44278A20CC7}"/>
              </a:ext>
            </a:extLst>
          </p:cNvPr>
          <p:cNvSpPr>
            <a:spLocks noChangeArrowheads="1"/>
          </p:cNvSpPr>
          <p:nvPr/>
        </p:nvSpPr>
        <p:spPr bwMode="auto">
          <a:xfrm>
            <a:off x="154120" y="978134"/>
            <a:ext cx="5801504" cy="2465608"/>
          </a:xfrm>
          <a:prstGeom prst="rect">
            <a:avLst/>
          </a:prstGeom>
          <a:noFill/>
          <a:ln>
            <a:noFill/>
          </a:ln>
          <a:effectLst/>
          <a:extLst>
            <a:ext uri="{909E8E84-426E-40DD-AFC4-6F175D3DCCD1}">
              <a14:hiddenFill xmlns:a14="http://schemas.microsoft.com/office/drawing/2010/main">
                <a:solidFill>
                  <a:schemeClr val="accent1">
                    <a:alpha val="89803"/>
                  </a:scheme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just">
              <a:spcBef>
                <a:spcPct val="20000"/>
              </a:spcBef>
              <a:buClr>
                <a:srgbClr val="002060"/>
              </a:buClr>
              <a:buSzPct val="90000"/>
            </a:pPr>
            <a:r>
              <a:rPr lang="en-US" sz="1200" dirty="0"/>
              <a:t>GE Grid one of the most strategic business accounts, have made various investments over last few years to hold even stronger footprint in the industry, providing best in class services to clients. </a:t>
            </a:r>
          </a:p>
          <a:p>
            <a:pPr algn="just">
              <a:spcBef>
                <a:spcPct val="20000"/>
              </a:spcBef>
              <a:buClr>
                <a:srgbClr val="002060"/>
              </a:buClr>
              <a:buSzPct val="90000"/>
            </a:pPr>
            <a:r>
              <a:rPr lang="en-US" sz="1200" dirty="0"/>
              <a:t>Auto Bank is one such initiative where the current performance clearly directs towards transformation, both in terms of Cash Process and enhancing automation to generate accuracy and productivity. To meet the Organization vision around Ops Excellence, it is inevitable for all inter process / upstream teams including I2C and OC Cash to design an optimization framework focusing on standardize approach, overcomes derived challenges, including </a:t>
            </a:r>
          </a:p>
          <a:p>
            <a:pPr marL="171450" indent="-171450" algn="just">
              <a:spcBef>
                <a:spcPct val="20000"/>
              </a:spcBef>
              <a:buClr>
                <a:srgbClr val="002060"/>
              </a:buClr>
              <a:buSzPct val="90000"/>
              <a:buFont typeface="Arial" panose="020B0604020202020204" pitchFamily="34" charset="0"/>
              <a:buChar char="•"/>
            </a:pPr>
            <a:r>
              <a:rPr lang="en-US" sz="1200" dirty="0"/>
              <a:t>Revisit and Adherence to Performance Metric </a:t>
            </a:r>
          </a:p>
          <a:p>
            <a:pPr marL="171450" indent="-171450" algn="just">
              <a:spcBef>
                <a:spcPct val="20000"/>
              </a:spcBef>
              <a:buClr>
                <a:srgbClr val="002060"/>
              </a:buClr>
              <a:buSzPct val="90000"/>
              <a:buFont typeface="Arial" panose="020B0604020202020204" pitchFamily="34" charset="0"/>
              <a:buChar char="•"/>
            </a:pPr>
            <a:r>
              <a:rPr lang="en-US" sz="1200" dirty="0"/>
              <a:t>Automation </a:t>
            </a:r>
          </a:p>
          <a:p>
            <a:pPr marL="171450" indent="-171450" algn="just">
              <a:spcBef>
                <a:spcPct val="20000"/>
              </a:spcBef>
              <a:buClr>
                <a:srgbClr val="002060"/>
              </a:buClr>
              <a:buSzPct val="90000"/>
              <a:buFont typeface="Arial" panose="020B0604020202020204" pitchFamily="34" charset="0"/>
              <a:buChar char="•"/>
            </a:pPr>
            <a:r>
              <a:rPr lang="en-US" sz="1200" dirty="0"/>
              <a:t>Synergies - wing to wing process</a:t>
            </a:r>
          </a:p>
        </p:txBody>
      </p:sp>
      <p:sp>
        <p:nvSpPr>
          <p:cNvPr id="18" name="Rectangle 6">
            <a:extLst>
              <a:ext uri="{FF2B5EF4-FFF2-40B4-BE49-F238E27FC236}">
                <a16:creationId xmlns:a16="http://schemas.microsoft.com/office/drawing/2014/main" id="{86E234E2-99CB-4E27-8E20-E77E2D40EBB2}"/>
              </a:ext>
            </a:extLst>
          </p:cNvPr>
          <p:cNvSpPr>
            <a:spLocks noChangeArrowheads="1"/>
          </p:cNvSpPr>
          <p:nvPr/>
        </p:nvSpPr>
        <p:spPr bwMode="auto">
          <a:xfrm>
            <a:off x="6082517" y="2623058"/>
            <a:ext cx="5221818" cy="2422939"/>
          </a:xfrm>
          <a:prstGeom prst="rect">
            <a:avLst/>
          </a:prstGeom>
          <a:noFill/>
          <a:ln w="9525">
            <a:noFill/>
            <a:miter lim="800000"/>
            <a:headEnd/>
            <a:tailEnd/>
          </a:ln>
          <a:effectLst/>
        </p:spPr>
        <p:txBody>
          <a:bodyPr wrap="none" anchor="ctr"/>
          <a:lstStyle/>
          <a:p>
            <a:pPr marL="171450" indent="-171450">
              <a:spcBef>
                <a:spcPct val="20000"/>
              </a:spcBef>
              <a:buClr>
                <a:srgbClr val="002060"/>
              </a:buClr>
              <a:buSzPct val="90000"/>
              <a:buFont typeface="Wingdings" panose="05000000000000000000" pitchFamily="2" charset="2"/>
              <a:buChar char="§"/>
            </a:pPr>
            <a:r>
              <a:rPr lang="en-US" sz="1200" dirty="0"/>
              <a:t>Functions: OC Cash / Intercompany , I2C, S2P &amp; C&amp;B</a:t>
            </a:r>
          </a:p>
          <a:p>
            <a:pPr marL="171450" indent="-171450">
              <a:spcBef>
                <a:spcPct val="20000"/>
              </a:spcBef>
              <a:buClr>
                <a:srgbClr val="002060"/>
              </a:buClr>
              <a:buSzPct val="90000"/>
              <a:buFont typeface="Wingdings" panose="05000000000000000000" pitchFamily="2" charset="2"/>
              <a:buChar char="§"/>
            </a:pPr>
            <a:r>
              <a:rPr lang="en-US" sz="1200" dirty="0"/>
              <a:t>Region: Global</a:t>
            </a:r>
          </a:p>
          <a:p>
            <a:pPr marL="171450" indent="-171450">
              <a:spcBef>
                <a:spcPct val="20000"/>
              </a:spcBef>
              <a:buClr>
                <a:srgbClr val="002060"/>
              </a:buClr>
              <a:buSzPct val="90000"/>
              <a:buFont typeface="Wingdings" panose="05000000000000000000" pitchFamily="2" charset="2"/>
              <a:buChar char="§"/>
            </a:pPr>
            <a:r>
              <a:rPr lang="en-US" sz="1200" dirty="0"/>
              <a:t>Focus on ALTAIS bank accounts serviced by GENPACT </a:t>
            </a:r>
          </a:p>
          <a:p>
            <a:pPr marL="171450" indent="-171450">
              <a:spcBef>
                <a:spcPct val="20000"/>
              </a:spcBef>
              <a:buClr>
                <a:srgbClr val="002060"/>
              </a:buClr>
              <a:buSzPct val="90000"/>
              <a:buFont typeface="Wingdings" panose="05000000000000000000" pitchFamily="2" charset="2"/>
              <a:buChar char="§"/>
            </a:pPr>
            <a:r>
              <a:rPr lang="en-US" sz="1200" dirty="0"/>
              <a:t>Any transaction in the bank account posted manually to a S/L or </a:t>
            </a:r>
            <a:br>
              <a:rPr lang="en-US" sz="1200" dirty="0"/>
            </a:br>
            <a:r>
              <a:rPr lang="en-US" sz="1200" dirty="0"/>
              <a:t>to a B/s account will be considered as a defect.</a:t>
            </a:r>
          </a:p>
          <a:p>
            <a:pPr marL="171450" indent="-171450">
              <a:spcBef>
                <a:spcPct val="20000"/>
              </a:spcBef>
              <a:buClr>
                <a:srgbClr val="002060"/>
              </a:buClr>
              <a:buSzPct val="90000"/>
              <a:buFont typeface="Wingdings" panose="05000000000000000000" pitchFamily="2" charset="2"/>
              <a:buChar char="§"/>
            </a:pPr>
            <a:r>
              <a:rPr lang="en-US" sz="1200" dirty="0"/>
              <a:t>Goal: 100% of the transactions in the bank statement should be applied to a S/L item</a:t>
            </a:r>
            <a:br>
              <a:rPr lang="en-US" sz="1200" dirty="0"/>
            </a:br>
            <a:r>
              <a:rPr lang="en-US" sz="1200" dirty="0"/>
              <a:t>or booked in the correct B/s account automatically – </a:t>
            </a:r>
            <a:br>
              <a:rPr lang="en-US" sz="1200" dirty="0"/>
            </a:br>
            <a:r>
              <a:rPr lang="en-US" sz="1200" dirty="0"/>
              <a:t>100% of the cash accounts should be automatically reconciled on a monthly basis.</a:t>
            </a:r>
          </a:p>
          <a:p>
            <a:pPr>
              <a:spcBef>
                <a:spcPct val="20000"/>
              </a:spcBef>
              <a:buClr>
                <a:srgbClr val="002060"/>
              </a:buClr>
              <a:buSzPct val="90000"/>
            </a:pPr>
            <a:endParaRPr lang="en-US" sz="1200" dirty="0"/>
          </a:p>
        </p:txBody>
      </p:sp>
      <p:sp>
        <p:nvSpPr>
          <p:cNvPr id="19" name="Rectangle 10">
            <a:extLst>
              <a:ext uri="{FF2B5EF4-FFF2-40B4-BE49-F238E27FC236}">
                <a16:creationId xmlns:a16="http://schemas.microsoft.com/office/drawing/2014/main" id="{FE34EB92-701F-425D-8C03-80F5CA77AA30}"/>
              </a:ext>
            </a:extLst>
          </p:cNvPr>
          <p:cNvSpPr>
            <a:spLocks noChangeArrowheads="1"/>
          </p:cNvSpPr>
          <p:nvPr/>
        </p:nvSpPr>
        <p:spPr bwMode="auto">
          <a:xfrm>
            <a:off x="154121" y="3443742"/>
            <a:ext cx="5801502" cy="323119"/>
          </a:xfrm>
          <a:prstGeom prst="rect">
            <a:avLst/>
          </a:prstGeom>
          <a:solidFill>
            <a:srgbClr val="073262"/>
          </a:solidFill>
          <a:ln w="9525">
            <a:solidFill>
              <a:srgbClr val="DDDDDD"/>
            </a:solidFill>
            <a:miter lim="800000"/>
            <a:headEnd/>
            <a:tailEnd/>
          </a:ln>
        </p:spPr>
        <p:txBody>
          <a:bodyPr wrap="none" anchor="ctr"/>
          <a:lstStyle/>
          <a:p>
            <a:pPr defTabSz="820738" eaLnBrk="0" hangingPunct="0"/>
            <a:r>
              <a:rPr lang="en-US" sz="1600" dirty="0">
                <a:solidFill>
                  <a:schemeClr val="bg1"/>
                </a:solidFill>
              </a:rPr>
              <a:t>Problem Statement</a:t>
            </a:r>
          </a:p>
        </p:txBody>
      </p:sp>
      <p:sp>
        <p:nvSpPr>
          <p:cNvPr id="20" name="Rectangle 11">
            <a:extLst>
              <a:ext uri="{FF2B5EF4-FFF2-40B4-BE49-F238E27FC236}">
                <a16:creationId xmlns:a16="http://schemas.microsoft.com/office/drawing/2014/main" id="{26DC7113-2882-4D4E-9D7A-409D9CD785E5}"/>
              </a:ext>
            </a:extLst>
          </p:cNvPr>
          <p:cNvSpPr>
            <a:spLocks noChangeArrowheads="1"/>
          </p:cNvSpPr>
          <p:nvPr/>
        </p:nvSpPr>
        <p:spPr bwMode="auto">
          <a:xfrm>
            <a:off x="138879" y="3747083"/>
            <a:ext cx="5816744" cy="1089967"/>
          </a:xfrm>
          <a:prstGeom prst="rect">
            <a:avLst/>
          </a:prstGeom>
          <a:noFill/>
          <a:ln>
            <a:noFill/>
          </a:ln>
          <a:effectLst/>
          <a:extLst>
            <a:ext uri="{909E8E84-426E-40DD-AFC4-6F175D3DCCD1}">
              <a14:hiddenFill xmlns:a14="http://schemas.microsoft.com/office/drawing/2010/main">
                <a:solidFill>
                  <a:schemeClr val="accent1">
                    <a:alpha val="89803"/>
                  </a:scheme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171450" indent="-171450" algn="just">
              <a:spcBef>
                <a:spcPct val="20000"/>
              </a:spcBef>
              <a:buClr>
                <a:srgbClr val="002060"/>
              </a:buClr>
              <a:buSzPct val="90000"/>
              <a:buFont typeface="Wingdings" panose="05000000000000000000" pitchFamily="2" charset="2"/>
              <a:buChar char="§"/>
            </a:pPr>
            <a:r>
              <a:rPr lang="en-US" sz="1200" dirty="0">
                <a:solidFill>
                  <a:schemeClr val="tx1"/>
                </a:solidFill>
              </a:rPr>
              <a:t>Model Line approach between OC Cash and other Service Lines to ensure better coordinated outcomes for business</a:t>
            </a:r>
          </a:p>
          <a:p>
            <a:pPr marL="171450" indent="-171450" algn="just">
              <a:spcBef>
                <a:spcPct val="20000"/>
              </a:spcBef>
              <a:buClr>
                <a:srgbClr val="002060"/>
              </a:buClr>
              <a:buSzPct val="90000"/>
              <a:buFont typeface="Wingdings" panose="05000000000000000000" pitchFamily="2" charset="2"/>
              <a:buChar char="§"/>
            </a:pPr>
            <a:r>
              <a:rPr lang="en-US" sz="1200" dirty="0">
                <a:solidFill>
                  <a:schemeClr val="tx1"/>
                </a:solidFill>
              </a:rPr>
              <a:t>Accelerated Transformation Strategy, better utilization of Automation tools to drive impact </a:t>
            </a:r>
            <a:r>
              <a:rPr lang="en-US" sz="1200" dirty="0"/>
              <a:t>faster </a:t>
            </a:r>
            <a:r>
              <a:rPr lang="en-US" sz="1200" dirty="0">
                <a:solidFill>
                  <a:srgbClr val="FF0000"/>
                </a:solidFill>
              </a:rPr>
              <a:t>- </a:t>
            </a:r>
            <a:r>
              <a:rPr lang="en-US" sz="1200" dirty="0"/>
              <a:t>S/L and account rec automation % is below market averages impacting achieving the productivity targets</a:t>
            </a:r>
            <a:endParaRPr lang="en-US" sz="1200" dirty="0">
              <a:solidFill>
                <a:schemeClr val="tx1"/>
              </a:solidFill>
            </a:endParaRPr>
          </a:p>
        </p:txBody>
      </p:sp>
      <p:sp>
        <p:nvSpPr>
          <p:cNvPr id="21" name="Rectangle 18">
            <a:extLst>
              <a:ext uri="{FF2B5EF4-FFF2-40B4-BE49-F238E27FC236}">
                <a16:creationId xmlns:a16="http://schemas.microsoft.com/office/drawing/2014/main" id="{5BF1CDEB-2458-4658-AA8E-9BEF183A1F8C}"/>
              </a:ext>
            </a:extLst>
          </p:cNvPr>
          <p:cNvSpPr>
            <a:spLocks noChangeArrowheads="1"/>
          </p:cNvSpPr>
          <p:nvPr/>
        </p:nvSpPr>
        <p:spPr bwMode="auto">
          <a:xfrm>
            <a:off x="6158376" y="1024114"/>
            <a:ext cx="5698038" cy="1255404"/>
          </a:xfrm>
          <a:prstGeom prst="rect">
            <a:avLst/>
          </a:prstGeom>
          <a:noFill/>
          <a:ln w="9525">
            <a:noFill/>
            <a:miter lim="800000"/>
            <a:headEnd/>
            <a:tailEnd/>
          </a:ln>
          <a:effectLst/>
        </p:spPr>
        <p:txBody>
          <a:bodyPr/>
          <a:lstStyle/>
          <a:p>
            <a:r>
              <a:rPr lang="en-US" sz="1200" dirty="0"/>
              <a:t>End to End Deep dive Analysis on processing time and capacity by looking at end to end of I2C, S2P and Cash Process. </a:t>
            </a:r>
            <a:br>
              <a:rPr lang="en-US" sz="1200" dirty="0"/>
            </a:br>
            <a:r>
              <a:rPr lang="en-US" sz="1200" dirty="0"/>
              <a:t>Preparation consists of process mapping, data collections &amp; analytics</a:t>
            </a:r>
          </a:p>
          <a:p>
            <a:r>
              <a:rPr lang="en-US" sz="1200" dirty="0"/>
              <a:t>a. Make a complete inventory of the problems in Auto bank </a:t>
            </a:r>
          </a:p>
          <a:p>
            <a:r>
              <a:rPr lang="en-US" sz="1200" dirty="0"/>
              <a:t>b. Define detailed actions to get 100% automation and accelerate productivity benefits. c. Agreement about ownership of the automation going forward / Define R&amp;R</a:t>
            </a:r>
          </a:p>
          <a:p>
            <a:endParaRPr lang="en-US" sz="1200" dirty="0"/>
          </a:p>
          <a:p>
            <a:endParaRPr lang="en-US" sz="1200" dirty="0"/>
          </a:p>
          <a:p>
            <a:pPr marL="171450" indent="-171450">
              <a:spcBef>
                <a:spcPct val="20000"/>
              </a:spcBef>
              <a:buClr>
                <a:srgbClr val="002060"/>
              </a:buClr>
              <a:buSzPct val="90000"/>
              <a:buFont typeface="Arial" pitchFamily="34" charset="0"/>
              <a:buChar char="•"/>
            </a:pPr>
            <a:endParaRPr lang="en-US" sz="1200" b="0" dirty="0">
              <a:latin typeface="Georgia" panose="02040502050405020303" pitchFamily="18" charset="0"/>
            </a:endParaRPr>
          </a:p>
        </p:txBody>
      </p:sp>
      <p:sp>
        <p:nvSpPr>
          <p:cNvPr id="22" name="Rectangle 10">
            <a:extLst>
              <a:ext uri="{FF2B5EF4-FFF2-40B4-BE49-F238E27FC236}">
                <a16:creationId xmlns:a16="http://schemas.microsoft.com/office/drawing/2014/main" id="{3ABC2655-8503-40E5-B516-EA46708A029D}"/>
              </a:ext>
            </a:extLst>
          </p:cNvPr>
          <p:cNvSpPr>
            <a:spLocks noChangeArrowheads="1"/>
          </p:cNvSpPr>
          <p:nvPr/>
        </p:nvSpPr>
        <p:spPr bwMode="auto">
          <a:xfrm>
            <a:off x="6191201" y="623004"/>
            <a:ext cx="5483964" cy="323119"/>
          </a:xfrm>
          <a:prstGeom prst="rect">
            <a:avLst/>
          </a:prstGeom>
          <a:solidFill>
            <a:srgbClr val="073262"/>
          </a:solidFill>
          <a:ln w="9525">
            <a:solidFill>
              <a:srgbClr val="DDDDDD"/>
            </a:solidFill>
            <a:miter lim="800000"/>
            <a:headEnd/>
            <a:tailEnd/>
          </a:ln>
        </p:spPr>
        <p:txBody>
          <a:bodyPr wrap="none" anchor="ctr"/>
          <a:lstStyle/>
          <a:p>
            <a:pPr defTabSz="820738" eaLnBrk="0" hangingPunct="0"/>
            <a:r>
              <a:rPr lang="en-US" sz="1600" dirty="0">
                <a:solidFill>
                  <a:schemeClr val="bg1"/>
                </a:solidFill>
              </a:rPr>
              <a:t>Goal Statement</a:t>
            </a:r>
          </a:p>
        </p:txBody>
      </p:sp>
      <p:sp>
        <p:nvSpPr>
          <p:cNvPr id="23" name="Rectangle 10">
            <a:extLst>
              <a:ext uri="{FF2B5EF4-FFF2-40B4-BE49-F238E27FC236}">
                <a16:creationId xmlns:a16="http://schemas.microsoft.com/office/drawing/2014/main" id="{B43085DF-7736-4E2A-9F6C-D12514AEA069}"/>
              </a:ext>
            </a:extLst>
          </p:cNvPr>
          <p:cNvSpPr>
            <a:spLocks noChangeArrowheads="1"/>
          </p:cNvSpPr>
          <p:nvPr/>
        </p:nvSpPr>
        <p:spPr bwMode="auto">
          <a:xfrm>
            <a:off x="6130658" y="2541939"/>
            <a:ext cx="5425238" cy="323119"/>
          </a:xfrm>
          <a:prstGeom prst="rect">
            <a:avLst/>
          </a:prstGeom>
          <a:solidFill>
            <a:srgbClr val="073262"/>
          </a:solidFill>
          <a:ln w="9525">
            <a:solidFill>
              <a:srgbClr val="DDDDDD"/>
            </a:solidFill>
            <a:miter lim="800000"/>
            <a:headEnd/>
            <a:tailEnd/>
          </a:ln>
        </p:spPr>
        <p:txBody>
          <a:bodyPr wrap="none" anchor="ctr"/>
          <a:lstStyle/>
          <a:p>
            <a:pPr defTabSz="820738" eaLnBrk="0" hangingPunct="0"/>
            <a:r>
              <a:rPr lang="en-US" sz="1600" dirty="0">
                <a:solidFill>
                  <a:schemeClr val="bg1"/>
                </a:solidFill>
              </a:rPr>
              <a:t>Scop</a:t>
            </a:r>
            <a:r>
              <a:rPr lang="en-US" sz="1400" dirty="0">
                <a:solidFill>
                  <a:schemeClr val="bg1"/>
                </a:solidFill>
                <a:latin typeface="Georgia" panose="02040502050405020303" pitchFamily="18" charset="0"/>
              </a:rPr>
              <a:t>e</a:t>
            </a:r>
          </a:p>
        </p:txBody>
      </p:sp>
      <p:sp>
        <p:nvSpPr>
          <p:cNvPr id="24" name="Rectangle 3">
            <a:extLst>
              <a:ext uri="{FF2B5EF4-FFF2-40B4-BE49-F238E27FC236}">
                <a16:creationId xmlns:a16="http://schemas.microsoft.com/office/drawing/2014/main" id="{7DCC2B1F-E475-4FCC-98D9-926F36B978C7}"/>
              </a:ext>
            </a:extLst>
          </p:cNvPr>
          <p:cNvSpPr>
            <a:spLocks noChangeArrowheads="1"/>
          </p:cNvSpPr>
          <p:nvPr/>
        </p:nvSpPr>
        <p:spPr bwMode="auto">
          <a:xfrm>
            <a:off x="6191201" y="4623011"/>
            <a:ext cx="5364695" cy="321964"/>
          </a:xfrm>
          <a:prstGeom prst="rect">
            <a:avLst/>
          </a:prstGeom>
          <a:solidFill>
            <a:srgbClr val="073262"/>
          </a:solidFill>
          <a:ln w="9525">
            <a:solidFill>
              <a:srgbClr val="DDDDDD"/>
            </a:solidFill>
            <a:miter lim="800000"/>
            <a:headEnd/>
            <a:tailEnd/>
          </a:ln>
          <a:effectLst/>
        </p:spPr>
        <p:txBody>
          <a:bodyPr wrap="none" anchor="ctr"/>
          <a:lstStyle/>
          <a:p>
            <a:pPr defTabSz="820738" eaLnBrk="0" hangingPunct="0"/>
            <a:r>
              <a:rPr lang="en-US" sz="1600" dirty="0">
                <a:solidFill>
                  <a:schemeClr val="bg1"/>
                </a:solidFill>
              </a:rPr>
              <a:t>Key Stakeholders and Team</a:t>
            </a:r>
          </a:p>
        </p:txBody>
      </p:sp>
      <p:sp>
        <p:nvSpPr>
          <p:cNvPr id="25" name="Rectangle 20">
            <a:extLst>
              <a:ext uri="{FF2B5EF4-FFF2-40B4-BE49-F238E27FC236}">
                <a16:creationId xmlns:a16="http://schemas.microsoft.com/office/drawing/2014/main" id="{2A9A8FD9-2C1F-4DCD-A447-AA4BAB45DC37}"/>
              </a:ext>
            </a:extLst>
          </p:cNvPr>
          <p:cNvSpPr>
            <a:spLocks noChangeArrowheads="1"/>
          </p:cNvSpPr>
          <p:nvPr/>
        </p:nvSpPr>
        <p:spPr bwMode="auto">
          <a:xfrm>
            <a:off x="6236378" y="4986499"/>
            <a:ext cx="5801501" cy="982053"/>
          </a:xfrm>
          <a:prstGeom prst="rect">
            <a:avLst/>
          </a:prstGeom>
          <a:noFill/>
          <a:ln w="9525">
            <a:noFill/>
            <a:miter lim="800000"/>
            <a:headEnd/>
            <a:tailEnd/>
          </a:ln>
          <a:effectLst/>
        </p:spPr>
        <p:txBody>
          <a:bodyPr/>
          <a:lstStyle/>
          <a:p>
            <a:pPr marL="171450" indent="-171450">
              <a:spcBef>
                <a:spcPct val="20000"/>
              </a:spcBef>
              <a:buClr>
                <a:srgbClr val="002060"/>
              </a:buClr>
              <a:buSzPct val="90000"/>
              <a:buFont typeface="Arial" pitchFamily="34" charset="0"/>
              <a:buChar char="•"/>
            </a:pPr>
            <a:r>
              <a:rPr lang="en-US" sz="1100" b="1" dirty="0"/>
              <a:t>Genpact Sponsorship: </a:t>
            </a:r>
            <a:r>
              <a:rPr lang="en-US" sz="1100" dirty="0"/>
              <a:t>Sriram Nagarajan (OC) / Darryl Stratton (C2C)</a:t>
            </a:r>
          </a:p>
          <a:p>
            <a:pPr marL="171450" indent="-171450">
              <a:spcBef>
                <a:spcPct val="20000"/>
              </a:spcBef>
              <a:buClr>
                <a:srgbClr val="002060"/>
              </a:buClr>
              <a:buSzPct val="90000"/>
              <a:buFont typeface="Arial" pitchFamily="34" charset="0"/>
              <a:buChar char="•"/>
            </a:pPr>
            <a:endParaRPr lang="en-US" sz="1100" b="1" dirty="0"/>
          </a:p>
          <a:p>
            <a:pPr marL="171450" indent="-171450">
              <a:spcBef>
                <a:spcPct val="20000"/>
              </a:spcBef>
              <a:buClr>
                <a:srgbClr val="002060"/>
              </a:buClr>
              <a:buSzPct val="90000"/>
              <a:buFont typeface="Arial" pitchFamily="34" charset="0"/>
              <a:buChar char="•"/>
            </a:pPr>
            <a:r>
              <a:rPr lang="en-US" sz="1100" b="1" dirty="0"/>
              <a:t>Genpact Leadership</a:t>
            </a:r>
            <a:r>
              <a:rPr lang="en-US" sz="1100" dirty="0"/>
              <a:t>: Holger Schramm / Andrew Zimpfer</a:t>
            </a:r>
          </a:p>
          <a:p>
            <a:pPr marL="171450" indent="-171450">
              <a:spcBef>
                <a:spcPct val="20000"/>
              </a:spcBef>
              <a:buClr>
                <a:srgbClr val="002060"/>
              </a:buClr>
              <a:buSzPct val="90000"/>
              <a:buFont typeface="Arial" pitchFamily="34" charset="0"/>
              <a:buChar char="•"/>
            </a:pPr>
            <a:r>
              <a:rPr lang="en-US" sz="1100" b="1" dirty="0"/>
              <a:t>GE REN Workout Lead: </a:t>
            </a:r>
            <a:r>
              <a:rPr lang="en-US" sz="1100" dirty="0"/>
              <a:t>Giuseppe Farago</a:t>
            </a:r>
            <a:r>
              <a:rPr lang="en-US" sz="1100" b="1" dirty="0"/>
              <a:t> </a:t>
            </a:r>
            <a:r>
              <a:rPr lang="en-US" sz="1100" dirty="0"/>
              <a:t> </a:t>
            </a:r>
          </a:p>
          <a:p>
            <a:pPr>
              <a:spcBef>
                <a:spcPct val="20000"/>
              </a:spcBef>
              <a:buClr>
                <a:srgbClr val="002060"/>
              </a:buClr>
              <a:buSzPct val="90000"/>
            </a:pPr>
            <a:endParaRPr lang="en-US" sz="1100" dirty="0"/>
          </a:p>
        </p:txBody>
      </p:sp>
      <p:sp>
        <p:nvSpPr>
          <p:cNvPr id="27" name="Rectangle 10">
            <a:extLst>
              <a:ext uri="{FF2B5EF4-FFF2-40B4-BE49-F238E27FC236}">
                <a16:creationId xmlns:a16="http://schemas.microsoft.com/office/drawing/2014/main" id="{53F57B22-DB72-44F9-9253-9C9733449CFC}"/>
              </a:ext>
            </a:extLst>
          </p:cNvPr>
          <p:cNvSpPr>
            <a:spLocks noChangeArrowheads="1"/>
          </p:cNvSpPr>
          <p:nvPr/>
        </p:nvSpPr>
        <p:spPr bwMode="auto">
          <a:xfrm>
            <a:off x="164165" y="4978831"/>
            <a:ext cx="5791458" cy="323119"/>
          </a:xfrm>
          <a:prstGeom prst="rect">
            <a:avLst/>
          </a:prstGeom>
          <a:solidFill>
            <a:srgbClr val="073262"/>
          </a:solidFill>
          <a:ln w="9525">
            <a:solidFill>
              <a:srgbClr val="DDDDDD"/>
            </a:solidFill>
            <a:miter lim="800000"/>
            <a:headEnd/>
            <a:tailEnd/>
          </a:ln>
        </p:spPr>
        <p:txBody>
          <a:bodyPr wrap="none" anchor="ctr"/>
          <a:lstStyle/>
          <a:p>
            <a:pPr defTabSz="820738" eaLnBrk="0" hangingPunct="0"/>
            <a:r>
              <a:rPr lang="en-US" sz="1600" dirty="0">
                <a:solidFill>
                  <a:schemeClr val="bg1"/>
                </a:solidFill>
              </a:rPr>
              <a:t>Identify Business Outcome &amp; Impact</a:t>
            </a:r>
          </a:p>
        </p:txBody>
      </p:sp>
      <p:sp>
        <p:nvSpPr>
          <p:cNvPr id="28" name="Rectangle 6">
            <a:extLst>
              <a:ext uri="{FF2B5EF4-FFF2-40B4-BE49-F238E27FC236}">
                <a16:creationId xmlns:a16="http://schemas.microsoft.com/office/drawing/2014/main" id="{2D6873C8-038F-46D9-BC73-1C634014C598}"/>
              </a:ext>
            </a:extLst>
          </p:cNvPr>
          <p:cNvSpPr>
            <a:spLocks noChangeArrowheads="1"/>
          </p:cNvSpPr>
          <p:nvPr/>
        </p:nvSpPr>
        <p:spPr bwMode="auto">
          <a:xfrm>
            <a:off x="154120" y="5927016"/>
            <a:ext cx="5522159" cy="622639"/>
          </a:xfrm>
          <a:prstGeom prst="rect">
            <a:avLst/>
          </a:prstGeom>
          <a:noFill/>
          <a:ln w="9525">
            <a:noFill/>
            <a:miter lim="800000"/>
            <a:headEnd/>
            <a:tailEnd/>
          </a:ln>
          <a:effectLst/>
        </p:spPr>
        <p:txBody>
          <a:bodyPr wrap="none" anchor="ctr"/>
          <a:lstStyle/>
          <a:p>
            <a:pPr marL="171450" indent="-171450">
              <a:spcBef>
                <a:spcPct val="20000"/>
              </a:spcBef>
              <a:buClr>
                <a:srgbClr val="002060"/>
              </a:buClr>
              <a:buSzPct val="90000"/>
              <a:buFont typeface="Wingdings" panose="05000000000000000000" pitchFamily="2" charset="2"/>
              <a:buChar char="§"/>
            </a:pPr>
            <a:r>
              <a:rPr lang="en-GB" sz="1200" dirty="0"/>
              <a:t>Identify End to End Cash process improvement opportunity </a:t>
            </a:r>
          </a:p>
          <a:p>
            <a:pPr marL="171450" indent="-171450">
              <a:spcBef>
                <a:spcPct val="20000"/>
              </a:spcBef>
              <a:buClr>
                <a:srgbClr val="002060"/>
              </a:buClr>
              <a:buSzPct val="90000"/>
              <a:buFont typeface="Wingdings" panose="05000000000000000000" pitchFamily="2" charset="2"/>
              <a:buChar char="§"/>
            </a:pPr>
            <a:r>
              <a:rPr lang="en-US" sz="1200" dirty="0" err="1"/>
              <a:t>Valuestream</a:t>
            </a:r>
            <a:r>
              <a:rPr lang="en-US" sz="1200" dirty="0"/>
              <a:t> with list of Defects/Waste prioritized by Impact on Automation</a:t>
            </a:r>
            <a:endParaRPr lang="en-GB" sz="1200" dirty="0"/>
          </a:p>
          <a:p>
            <a:pPr marL="171450" indent="-171450">
              <a:spcBef>
                <a:spcPct val="20000"/>
              </a:spcBef>
              <a:buClr>
                <a:srgbClr val="002060"/>
              </a:buClr>
              <a:buSzPct val="90000"/>
              <a:buFont typeface="Wingdings" panose="05000000000000000000" pitchFamily="2" charset="2"/>
              <a:buChar char="§"/>
            </a:pPr>
            <a:r>
              <a:rPr lang="en-US" sz="1200" dirty="0"/>
              <a:t>Action plan / solutions to eliminate defects also in the upstream processes </a:t>
            </a:r>
          </a:p>
          <a:p>
            <a:pPr marL="171450" indent="-171450">
              <a:spcBef>
                <a:spcPct val="20000"/>
              </a:spcBef>
              <a:buClr>
                <a:srgbClr val="002060"/>
              </a:buClr>
              <a:buSzPct val="90000"/>
              <a:buFont typeface="Wingdings" panose="05000000000000000000" pitchFamily="2" charset="2"/>
              <a:buChar char="§"/>
            </a:pPr>
            <a:r>
              <a:rPr lang="en-GB" sz="1200" dirty="0"/>
              <a:t>Improve usage % in </a:t>
            </a:r>
            <a:r>
              <a:rPr lang="en-GB" sz="1200" dirty="0" err="1"/>
              <a:t>Autobank</a:t>
            </a:r>
            <a:r>
              <a:rPr lang="en-GB" sz="1200" dirty="0"/>
              <a:t> booking and matching</a:t>
            </a:r>
          </a:p>
          <a:p>
            <a:pPr marL="171450" indent="-171450">
              <a:spcBef>
                <a:spcPct val="20000"/>
              </a:spcBef>
              <a:buClr>
                <a:srgbClr val="002060"/>
              </a:buClr>
              <a:buSzPct val="90000"/>
              <a:buFont typeface="Wingdings" panose="05000000000000000000" pitchFamily="2" charset="2"/>
              <a:buChar char="§"/>
            </a:pPr>
            <a:r>
              <a:rPr lang="en-US" sz="1200" dirty="0"/>
              <a:t>Measurement progress / Bowler</a:t>
            </a:r>
          </a:p>
          <a:p>
            <a:pPr marL="171450" indent="-171450">
              <a:spcBef>
                <a:spcPct val="20000"/>
              </a:spcBef>
              <a:buClr>
                <a:srgbClr val="002060"/>
              </a:buClr>
              <a:buSzPct val="90000"/>
              <a:buFont typeface="Wingdings" panose="05000000000000000000" pitchFamily="2" charset="2"/>
              <a:buChar char="§"/>
            </a:pPr>
            <a:r>
              <a:rPr lang="en-US" sz="1200" dirty="0"/>
              <a:t>Agreement on benefits actual / future</a:t>
            </a:r>
          </a:p>
          <a:p>
            <a:pPr>
              <a:spcBef>
                <a:spcPct val="20000"/>
              </a:spcBef>
              <a:buClr>
                <a:srgbClr val="002060"/>
              </a:buClr>
              <a:buSzPct val="90000"/>
            </a:pPr>
            <a:endParaRPr lang="en-US" sz="1200" dirty="0">
              <a:solidFill>
                <a:schemeClr val="dk1"/>
              </a:solidFill>
            </a:endParaRPr>
          </a:p>
          <a:p>
            <a:pPr>
              <a:spcBef>
                <a:spcPct val="20000"/>
              </a:spcBef>
              <a:buClr>
                <a:srgbClr val="002060"/>
              </a:buClr>
              <a:buSzPct val="90000"/>
            </a:pPr>
            <a:endParaRPr lang="en-GB" sz="1200" dirty="0">
              <a:solidFill>
                <a:schemeClr val="dk1"/>
              </a:solidFill>
            </a:endParaRPr>
          </a:p>
          <a:p>
            <a:pPr>
              <a:spcBef>
                <a:spcPct val="20000"/>
              </a:spcBef>
              <a:buClr>
                <a:srgbClr val="002060"/>
              </a:buClr>
              <a:buSzPct val="90000"/>
            </a:pPr>
            <a:endParaRPr lang="en-US" sz="1200" dirty="0">
              <a:solidFill>
                <a:schemeClr val="dk1"/>
              </a:solidFill>
              <a:latin typeface="Georgia" panose="02040502050405020303" pitchFamily="18" charset="0"/>
            </a:endParaRPr>
          </a:p>
        </p:txBody>
      </p:sp>
      <p:sp>
        <p:nvSpPr>
          <p:cNvPr id="2" name="Rectangle 1">
            <a:extLst>
              <a:ext uri="{FF2B5EF4-FFF2-40B4-BE49-F238E27FC236}">
                <a16:creationId xmlns:a16="http://schemas.microsoft.com/office/drawing/2014/main" id="{BD44AD69-B3C8-41B7-83BF-999B6000333D}"/>
              </a:ext>
            </a:extLst>
          </p:cNvPr>
          <p:cNvSpPr/>
          <p:nvPr/>
        </p:nvSpPr>
        <p:spPr>
          <a:xfrm>
            <a:off x="6310236" y="5968552"/>
            <a:ext cx="2826892" cy="464743"/>
          </a:xfrm>
          <a:prstGeom prst="rect">
            <a:avLst/>
          </a:prstGeom>
        </p:spPr>
        <p:txBody>
          <a:bodyPr wrap="square">
            <a:spAutoFit/>
          </a:bodyPr>
          <a:lstStyle/>
          <a:p>
            <a:pPr>
              <a:spcBef>
                <a:spcPct val="20000"/>
              </a:spcBef>
              <a:buClr>
                <a:srgbClr val="002060"/>
              </a:buClr>
              <a:buSzPct val="90000"/>
            </a:pPr>
            <a:r>
              <a:rPr lang="en-US" sz="1100" b="1" dirty="0"/>
              <a:t>Core Team to Workout:</a:t>
            </a:r>
          </a:p>
          <a:p>
            <a:pPr marL="171450" indent="-171450">
              <a:spcBef>
                <a:spcPct val="20000"/>
              </a:spcBef>
              <a:buClr>
                <a:srgbClr val="002060"/>
              </a:buClr>
              <a:buSzPct val="90000"/>
              <a:buFont typeface="Arial" pitchFamily="34" charset="0"/>
              <a:buChar char="•"/>
            </a:pPr>
            <a:r>
              <a:rPr lang="en-US" sz="1100" b="1" dirty="0"/>
              <a:t>See Page 5</a:t>
            </a:r>
            <a:endParaRPr lang="en-US" sz="1100" dirty="0"/>
          </a:p>
        </p:txBody>
      </p:sp>
    </p:spTree>
    <p:extLst>
      <p:ext uri="{BB962C8B-B14F-4D97-AF65-F5344CB8AC3E}">
        <p14:creationId xmlns:p14="http://schemas.microsoft.com/office/powerpoint/2010/main" val="36797557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037228" y="2281745"/>
            <a:ext cx="1610436" cy="545910"/>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Matching/Clearing</a:t>
            </a:r>
          </a:p>
        </p:txBody>
      </p:sp>
      <p:sp>
        <p:nvSpPr>
          <p:cNvPr id="6" name="Chevron 5"/>
          <p:cNvSpPr/>
          <p:nvPr/>
        </p:nvSpPr>
        <p:spPr>
          <a:xfrm>
            <a:off x="641445" y="859810"/>
            <a:ext cx="3657600" cy="320040"/>
          </a:xfrm>
          <a:prstGeom prst="chevron">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aily / Weekly Tasks</a:t>
            </a:r>
          </a:p>
        </p:txBody>
      </p:sp>
      <p:sp>
        <p:nvSpPr>
          <p:cNvPr id="7" name="Chevron 6"/>
          <p:cNvSpPr/>
          <p:nvPr/>
        </p:nvSpPr>
        <p:spPr>
          <a:xfrm>
            <a:off x="4406169" y="859808"/>
            <a:ext cx="3657600" cy="320040"/>
          </a:xfrm>
          <a:prstGeom prst="chevron">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Month / Quarter Closing</a:t>
            </a:r>
          </a:p>
        </p:txBody>
      </p:sp>
      <p:sp>
        <p:nvSpPr>
          <p:cNvPr id="8" name="Chevron 7"/>
          <p:cNvSpPr/>
          <p:nvPr/>
        </p:nvSpPr>
        <p:spPr>
          <a:xfrm>
            <a:off x="8170893" y="859809"/>
            <a:ext cx="3657600" cy="320040"/>
          </a:xfrm>
          <a:prstGeom prst="chevron">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Reconciliation Cycle</a:t>
            </a:r>
          </a:p>
        </p:txBody>
      </p:sp>
      <p:sp>
        <p:nvSpPr>
          <p:cNvPr id="10" name="Oval 9"/>
          <p:cNvSpPr/>
          <p:nvPr/>
        </p:nvSpPr>
        <p:spPr>
          <a:xfrm>
            <a:off x="1095124" y="1327459"/>
            <a:ext cx="1494643" cy="64208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Bank Statement Upload</a:t>
            </a:r>
          </a:p>
        </p:txBody>
      </p:sp>
      <p:cxnSp>
        <p:nvCxnSpPr>
          <p:cNvPr id="15" name="Straight Arrow Connector 14"/>
          <p:cNvCxnSpPr>
            <a:endCxn id="5" idx="0"/>
          </p:cNvCxnSpPr>
          <p:nvPr/>
        </p:nvCxnSpPr>
        <p:spPr>
          <a:xfrm>
            <a:off x="1842445" y="2087712"/>
            <a:ext cx="1" cy="1940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20" idx="1"/>
            <a:endCxn id="5" idx="0"/>
          </p:cNvCxnSpPr>
          <p:nvPr/>
        </p:nvCxnSpPr>
        <p:spPr>
          <a:xfrm flipH="1">
            <a:off x="1842446" y="2006379"/>
            <a:ext cx="799948" cy="27536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642394" y="1798630"/>
            <a:ext cx="1097089" cy="415498"/>
          </a:xfrm>
          <a:prstGeom prst="rect">
            <a:avLst/>
          </a:prstGeom>
          <a:noFill/>
          <a:ln>
            <a:solidFill>
              <a:schemeClr val="accent1"/>
            </a:solidFill>
            <a:prstDash val="dash"/>
          </a:ln>
        </p:spPr>
        <p:txBody>
          <a:bodyPr wrap="square" rtlCol="0">
            <a:spAutoFit/>
          </a:bodyPr>
          <a:lstStyle/>
          <a:p>
            <a:pPr algn="ctr"/>
            <a:r>
              <a:rPr lang="en-US" sz="1050" dirty="0">
                <a:solidFill>
                  <a:srgbClr val="002060"/>
                </a:solidFill>
              </a:rPr>
              <a:t>Upstream Feed for ‘Offset’</a:t>
            </a:r>
          </a:p>
        </p:txBody>
      </p:sp>
      <p:sp>
        <p:nvSpPr>
          <p:cNvPr id="22" name="Rounded Rectangle 21"/>
          <p:cNvSpPr/>
          <p:nvPr/>
        </p:nvSpPr>
        <p:spPr>
          <a:xfrm>
            <a:off x="975812" y="3100837"/>
            <a:ext cx="1733265" cy="652297"/>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Pull GL Activity, Identify unmatched transactions</a:t>
            </a:r>
          </a:p>
        </p:txBody>
      </p:sp>
      <p:cxnSp>
        <p:nvCxnSpPr>
          <p:cNvPr id="23" name="Straight Arrow Connector 22"/>
          <p:cNvCxnSpPr>
            <a:stCxn id="5" idx="2"/>
            <a:endCxn id="22" idx="0"/>
          </p:cNvCxnSpPr>
          <p:nvPr/>
        </p:nvCxnSpPr>
        <p:spPr>
          <a:xfrm flipH="1">
            <a:off x="1842445" y="2827655"/>
            <a:ext cx="1" cy="2731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Rounded Rectangle 25"/>
          <p:cNvSpPr/>
          <p:nvPr/>
        </p:nvSpPr>
        <p:spPr>
          <a:xfrm>
            <a:off x="875723" y="3987546"/>
            <a:ext cx="1943372" cy="652297"/>
          </a:xfrm>
          <a:prstGeom prst="round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Categorize &amp; Investigate  unmatched transactions</a:t>
            </a:r>
          </a:p>
        </p:txBody>
      </p:sp>
      <p:cxnSp>
        <p:nvCxnSpPr>
          <p:cNvPr id="27" name="Straight Arrow Connector 26"/>
          <p:cNvCxnSpPr>
            <a:stCxn id="22" idx="2"/>
            <a:endCxn id="26" idx="0"/>
          </p:cNvCxnSpPr>
          <p:nvPr/>
        </p:nvCxnSpPr>
        <p:spPr>
          <a:xfrm>
            <a:off x="1842445" y="3753134"/>
            <a:ext cx="4964" cy="2344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ounded Rectangle 29"/>
          <p:cNvSpPr/>
          <p:nvPr/>
        </p:nvSpPr>
        <p:spPr>
          <a:xfrm>
            <a:off x="975812" y="4951795"/>
            <a:ext cx="1733265" cy="652297"/>
          </a:xfrm>
          <a:prstGeom prst="round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Open Items Follow-up /Reporting</a:t>
            </a:r>
          </a:p>
        </p:txBody>
      </p:sp>
      <p:sp>
        <p:nvSpPr>
          <p:cNvPr id="31" name="TextBox 30"/>
          <p:cNvSpPr txBox="1"/>
          <p:nvPr/>
        </p:nvSpPr>
        <p:spPr>
          <a:xfrm>
            <a:off x="-48737" y="3626221"/>
            <a:ext cx="1444626" cy="415498"/>
          </a:xfrm>
          <a:prstGeom prst="rect">
            <a:avLst/>
          </a:prstGeom>
          <a:noFill/>
        </p:spPr>
        <p:txBody>
          <a:bodyPr wrap="none" rtlCol="0">
            <a:spAutoFit/>
          </a:bodyPr>
          <a:lstStyle/>
          <a:p>
            <a:pPr marL="171450" indent="-171450">
              <a:buFont typeface="Wingdings" panose="05000000000000000000" pitchFamily="2" charset="2"/>
              <a:buChar char="§"/>
            </a:pPr>
            <a:r>
              <a:rPr lang="en-US" sz="1050" dirty="0">
                <a:solidFill>
                  <a:srgbClr val="002060"/>
                </a:solidFill>
              </a:rPr>
              <a:t>Checklist</a:t>
            </a:r>
          </a:p>
          <a:p>
            <a:pPr marL="171450" indent="-171450">
              <a:buFont typeface="Wingdings" panose="05000000000000000000" pitchFamily="2" charset="2"/>
              <a:buChar char="§"/>
            </a:pPr>
            <a:r>
              <a:rPr lang="en-US" sz="1050" dirty="0">
                <a:solidFill>
                  <a:srgbClr val="002060"/>
                </a:solidFill>
              </a:rPr>
              <a:t>Prior Categorization</a:t>
            </a:r>
          </a:p>
        </p:txBody>
      </p:sp>
      <p:cxnSp>
        <p:nvCxnSpPr>
          <p:cNvPr id="32" name="Elbow Connector 31"/>
          <p:cNvCxnSpPr>
            <a:endCxn id="26" idx="1"/>
          </p:cNvCxnSpPr>
          <p:nvPr/>
        </p:nvCxnSpPr>
        <p:spPr>
          <a:xfrm>
            <a:off x="393145" y="3987546"/>
            <a:ext cx="482578" cy="326149"/>
          </a:xfrm>
          <a:prstGeom prst="bentConnector3">
            <a:avLst>
              <a:gd name="adj1" fmla="val -906"/>
            </a:avLst>
          </a:prstGeom>
          <a:ln>
            <a:tailEnd type="oval"/>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6" idx="2"/>
            <a:endCxn id="30" idx="0"/>
          </p:cNvCxnSpPr>
          <p:nvPr/>
        </p:nvCxnSpPr>
        <p:spPr>
          <a:xfrm flipH="1">
            <a:off x="1842445" y="4639843"/>
            <a:ext cx="4964" cy="3119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975811" y="5877274"/>
            <a:ext cx="1733265" cy="652297"/>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OpMac calls with upstream</a:t>
            </a:r>
          </a:p>
        </p:txBody>
      </p:sp>
      <p:cxnSp>
        <p:nvCxnSpPr>
          <p:cNvPr id="39" name="Straight Arrow Connector 38"/>
          <p:cNvCxnSpPr>
            <a:stCxn id="30" idx="2"/>
            <a:endCxn id="38" idx="0"/>
          </p:cNvCxnSpPr>
          <p:nvPr/>
        </p:nvCxnSpPr>
        <p:spPr>
          <a:xfrm flipH="1">
            <a:off x="1842444" y="5604092"/>
            <a:ext cx="1" cy="2731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Rounded Rectangle 42"/>
          <p:cNvSpPr/>
          <p:nvPr/>
        </p:nvSpPr>
        <p:spPr>
          <a:xfrm>
            <a:off x="5181596" y="1322353"/>
            <a:ext cx="1833353" cy="652297"/>
          </a:xfrm>
          <a:prstGeom prst="round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CP Interest, Edit Check, Reval Check &amp; other MJE booking</a:t>
            </a:r>
          </a:p>
        </p:txBody>
      </p:sp>
      <p:cxnSp>
        <p:nvCxnSpPr>
          <p:cNvPr id="45" name="Elbow Connector 44"/>
          <p:cNvCxnSpPr>
            <a:stCxn id="38" idx="3"/>
            <a:endCxn id="43" idx="1"/>
          </p:cNvCxnSpPr>
          <p:nvPr/>
        </p:nvCxnSpPr>
        <p:spPr>
          <a:xfrm flipV="1">
            <a:off x="2709076" y="1648502"/>
            <a:ext cx="2472520" cy="4554921"/>
          </a:xfrm>
          <a:prstGeom prst="bentConnector3">
            <a:avLst>
              <a:gd name="adj1" fmla="val 53312"/>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ounded Rectangle 47"/>
          <p:cNvSpPr/>
          <p:nvPr/>
        </p:nvSpPr>
        <p:spPr>
          <a:xfrm>
            <a:off x="5181595" y="2214128"/>
            <a:ext cx="1833353" cy="652297"/>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Perform matching for MJE / OI resolved by upstream</a:t>
            </a:r>
          </a:p>
        </p:txBody>
      </p:sp>
      <p:cxnSp>
        <p:nvCxnSpPr>
          <p:cNvPr id="49" name="Straight Arrow Connector 48"/>
          <p:cNvCxnSpPr>
            <a:stCxn id="43" idx="2"/>
            <a:endCxn id="48" idx="0"/>
          </p:cNvCxnSpPr>
          <p:nvPr/>
        </p:nvCxnSpPr>
        <p:spPr>
          <a:xfrm flipH="1">
            <a:off x="6098272" y="1974650"/>
            <a:ext cx="1" cy="2394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Rounded Rectangle 52"/>
          <p:cNvSpPr/>
          <p:nvPr/>
        </p:nvSpPr>
        <p:spPr>
          <a:xfrm>
            <a:off x="5181595" y="3100837"/>
            <a:ext cx="1833353" cy="652297"/>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Prepare final list of OI not resolved</a:t>
            </a:r>
          </a:p>
        </p:txBody>
      </p:sp>
      <p:sp>
        <p:nvSpPr>
          <p:cNvPr id="54" name="Rounded Rectangle 53"/>
          <p:cNvSpPr/>
          <p:nvPr/>
        </p:nvSpPr>
        <p:spPr>
          <a:xfrm>
            <a:off x="5011360" y="4069252"/>
            <a:ext cx="2173825" cy="827840"/>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Propose MJE for moving unresolved balance from CC to respective upstream BS category  </a:t>
            </a:r>
          </a:p>
        </p:txBody>
      </p:sp>
      <p:cxnSp>
        <p:nvCxnSpPr>
          <p:cNvPr id="55" name="Straight Arrow Connector 54"/>
          <p:cNvCxnSpPr>
            <a:stCxn id="53" idx="2"/>
            <a:endCxn id="54" idx="0"/>
          </p:cNvCxnSpPr>
          <p:nvPr/>
        </p:nvCxnSpPr>
        <p:spPr>
          <a:xfrm>
            <a:off x="6098272" y="3753134"/>
            <a:ext cx="1" cy="3161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48" idx="2"/>
            <a:endCxn id="53" idx="0"/>
          </p:cNvCxnSpPr>
          <p:nvPr/>
        </p:nvCxnSpPr>
        <p:spPr>
          <a:xfrm>
            <a:off x="6098272" y="2866425"/>
            <a:ext cx="0" cy="2344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ounded Rectangle 69"/>
          <p:cNvSpPr/>
          <p:nvPr/>
        </p:nvSpPr>
        <p:spPr>
          <a:xfrm>
            <a:off x="5252224" y="5131322"/>
            <a:ext cx="1692095" cy="516057"/>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Post MJE &amp; perform matching </a:t>
            </a:r>
          </a:p>
        </p:txBody>
      </p:sp>
      <p:cxnSp>
        <p:nvCxnSpPr>
          <p:cNvPr id="71" name="Straight Arrow Connector 70"/>
          <p:cNvCxnSpPr>
            <a:stCxn id="54" idx="2"/>
            <a:endCxn id="70" idx="0"/>
          </p:cNvCxnSpPr>
          <p:nvPr/>
        </p:nvCxnSpPr>
        <p:spPr>
          <a:xfrm flipH="1">
            <a:off x="6098272" y="4897092"/>
            <a:ext cx="1" cy="2342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Rounded Rectangle 73"/>
          <p:cNvSpPr/>
          <p:nvPr/>
        </p:nvSpPr>
        <p:spPr>
          <a:xfrm>
            <a:off x="8634485" y="3384479"/>
            <a:ext cx="2304789" cy="516057"/>
          </a:xfrm>
          <a:prstGeom prst="round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Prepare reconciliation template</a:t>
            </a:r>
          </a:p>
        </p:txBody>
      </p:sp>
      <p:sp>
        <p:nvSpPr>
          <p:cNvPr id="75" name="Rounded Rectangle 74"/>
          <p:cNvSpPr/>
          <p:nvPr/>
        </p:nvSpPr>
        <p:spPr>
          <a:xfrm>
            <a:off x="8634485" y="1322353"/>
            <a:ext cx="2304789" cy="739943"/>
          </a:xfrm>
          <a:prstGeom prst="round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Gather supporting back-up for Bank &amp; GL balances</a:t>
            </a:r>
          </a:p>
        </p:txBody>
      </p:sp>
      <p:sp>
        <p:nvSpPr>
          <p:cNvPr id="76" name="Rounded Rectangle 75"/>
          <p:cNvSpPr/>
          <p:nvPr/>
        </p:nvSpPr>
        <p:spPr>
          <a:xfrm>
            <a:off x="8634485" y="2280886"/>
            <a:ext cx="2304789" cy="886527"/>
          </a:xfrm>
          <a:prstGeom prst="round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Prepare &amp; attach OI list, if OI balance not moved due to not meeting ES</a:t>
            </a:r>
          </a:p>
        </p:txBody>
      </p:sp>
      <p:sp>
        <p:nvSpPr>
          <p:cNvPr id="78" name="Rounded Rectangle 77"/>
          <p:cNvSpPr/>
          <p:nvPr/>
        </p:nvSpPr>
        <p:spPr>
          <a:xfrm>
            <a:off x="8634485" y="4129628"/>
            <a:ext cx="2304789" cy="516057"/>
          </a:xfrm>
          <a:prstGeom prst="round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Upload reconciliation in ARM</a:t>
            </a:r>
          </a:p>
        </p:txBody>
      </p:sp>
      <p:sp>
        <p:nvSpPr>
          <p:cNvPr id="79" name="Oval 78"/>
          <p:cNvSpPr/>
          <p:nvPr/>
        </p:nvSpPr>
        <p:spPr>
          <a:xfrm>
            <a:off x="8883013" y="4854820"/>
            <a:ext cx="1807731" cy="770205"/>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Reconciliation reviewed &amp; approved</a:t>
            </a:r>
          </a:p>
        </p:txBody>
      </p:sp>
      <p:cxnSp>
        <p:nvCxnSpPr>
          <p:cNvPr id="80" name="Elbow Connector 79"/>
          <p:cNvCxnSpPr>
            <a:stCxn id="111" idx="3"/>
            <a:endCxn id="75" idx="1"/>
          </p:cNvCxnSpPr>
          <p:nvPr/>
        </p:nvCxnSpPr>
        <p:spPr>
          <a:xfrm flipV="1">
            <a:off x="7185185" y="1692325"/>
            <a:ext cx="1449300" cy="456195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75" idx="2"/>
            <a:endCxn id="76" idx="0"/>
          </p:cNvCxnSpPr>
          <p:nvPr/>
        </p:nvCxnSpPr>
        <p:spPr>
          <a:xfrm>
            <a:off x="9786880" y="2062296"/>
            <a:ext cx="0" cy="2185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76" idx="2"/>
          </p:cNvCxnSpPr>
          <p:nvPr/>
        </p:nvCxnSpPr>
        <p:spPr>
          <a:xfrm>
            <a:off x="9786880" y="3167413"/>
            <a:ext cx="0" cy="2245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74" idx="2"/>
            <a:endCxn id="78" idx="0"/>
          </p:cNvCxnSpPr>
          <p:nvPr/>
        </p:nvCxnSpPr>
        <p:spPr>
          <a:xfrm>
            <a:off x="9786880" y="3900536"/>
            <a:ext cx="0" cy="2290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78" idx="2"/>
            <a:endCxn id="79" idx="0"/>
          </p:cNvCxnSpPr>
          <p:nvPr/>
        </p:nvCxnSpPr>
        <p:spPr>
          <a:xfrm flipH="1">
            <a:off x="9786879" y="4645685"/>
            <a:ext cx="1" cy="2091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152659" y="-31394"/>
            <a:ext cx="11379698" cy="553998"/>
          </a:xfrm>
          <a:prstGeom prst="rect">
            <a:avLst/>
          </a:prstGeom>
        </p:spPr>
        <p:txBody>
          <a:bodyPr vert="horz" lIns="91440" tIns="45720" rIns="91440" bIns="45720" rtlCol="0" anchor="ctr">
            <a:normAutofit/>
          </a:bodyPr>
          <a:lstStyle>
            <a:defPPr>
              <a:defRPr lang="en-US"/>
            </a:defPPr>
            <a:lvl1pPr indent="0">
              <a:lnSpc>
                <a:spcPct val="90000"/>
              </a:lnSpc>
              <a:spcBef>
                <a:spcPts val="1000"/>
              </a:spcBef>
              <a:buFont typeface="Arial" panose="020B0604020202020204" pitchFamily="34" charset="0"/>
              <a:buNone/>
              <a:defRPr sz="2400" b="1">
                <a:solidFill>
                  <a:srgbClr val="063161"/>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Process Map As Is – Cash Accounting &amp; Reconciliation (PL7) </a:t>
            </a:r>
          </a:p>
        </p:txBody>
      </p:sp>
      <p:cxnSp>
        <p:nvCxnSpPr>
          <p:cNvPr id="99" name="Straight Connector 98"/>
          <p:cNvCxnSpPr/>
          <p:nvPr/>
        </p:nvCxnSpPr>
        <p:spPr>
          <a:xfrm>
            <a:off x="-13065" y="591400"/>
            <a:ext cx="12205065"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11" name="Rounded Rectangle 110"/>
          <p:cNvSpPr/>
          <p:nvPr/>
        </p:nvSpPr>
        <p:spPr>
          <a:xfrm>
            <a:off x="5011360" y="5887170"/>
            <a:ext cx="2173825" cy="734215"/>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GL v/s Bank account balance validation – TB Tie Out</a:t>
            </a:r>
          </a:p>
        </p:txBody>
      </p:sp>
      <p:cxnSp>
        <p:nvCxnSpPr>
          <p:cNvPr id="112" name="Straight Arrow Connector 111"/>
          <p:cNvCxnSpPr>
            <a:stCxn id="70" idx="2"/>
            <a:endCxn id="111" idx="0"/>
          </p:cNvCxnSpPr>
          <p:nvPr/>
        </p:nvCxnSpPr>
        <p:spPr>
          <a:xfrm>
            <a:off x="6098272" y="5647379"/>
            <a:ext cx="1" cy="2397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a:xfrm>
            <a:off x="2850210" y="6437473"/>
            <a:ext cx="1423700" cy="254889"/>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AutoBank / Manual </a:t>
            </a:r>
          </a:p>
        </p:txBody>
      </p:sp>
      <p:sp>
        <p:nvSpPr>
          <p:cNvPr id="47" name="Rounded Rectangle 46"/>
          <p:cNvSpPr/>
          <p:nvPr/>
        </p:nvSpPr>
        <p:spPr>
          <a:xfrm>
            <a:off x="7843506" y="6433531"/>
            <a:ext cx="1943372" cy="285190"/>
          </a:xfrm>
          <a:prstGeom prst="round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Upstream Process Issues</a:t>
            </a:r>
          </a:p>
        </p:txBody>
      </p:sp>
    </p:spTree>
    <p:extLst>
      <p:ext uri="{BB962C8B-B14F-4D97-AF65-F5344CB8AC3E}">
        <p14:creationId xmlns:p14="http://schemas.microsoft.com/office/powerpoint/2010/main" val="37494364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Arrow: Pentagon 16">
            <a:extLst>
              <a:ext uri="{FF2B5EF4-FFF2-40B4-BE49-F238E27FC236}">
                <a16:creationId xmlns:a16="http://schemas.microsoft.com/office/drawing/2014/main" id="{0D046938-C47F-4D0C-A372-13EFB54336F6}"/>
              </a:ext>
            </a:extLst>
          </p:cNvPr>
          <p:cNvSpPr/>
          <p:nvPr/>
        </p:nvSpPr>
        <p:spPr>
          <a:xfrm rot="5400000">
            <a:off x="-755211" y="3568552"/>
            <a:ext cx="4017171" cy="1190122"/>
          </a:xfrm>
          <a:prstGeom prst="homePlate">
            <a:avLst/>
          </a:prstGeom>
          <a:solidFill>
            <a:srgbClr val="6BE7E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of unmapped accou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Bank statement quality issu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Payment Failure</a:t>
            </a:r>
          </a:p>
        </p:txBody>
      </p:sp>
      <p:sp>
        <p:nvSpPr>
          <p:cNvPr id="63" name="Arrow: Pentagon 24">
            <a:extLst>
              <a:ext uri="{FF2B5EF4-FFF2-40B4-BE49-F238E27FC236}">
                <a16:creationId xmlns:a16="http://schemas.microsoft.com/office/drawing/2014/main" id="{3BBE8998-7934-447A-B1E1-93F0A30509A5}"/>
              </a:ext>
            </a:extLst>
          </p:cNvPr>
          <p:cNvSpPr/>
          <p:nvPr/>
        </p:nvSpPr>
        <p:spPr>
          <a:xfrm rot="5400000">
            <a:off x="553677" y="3568552"/>
            <a:ext cx="4017171" cy="1190122"/>
          </a:xfrm>
          <a:prstGeom prst="homePlate">
            <a:avLst/>
          </a:prstGeom>
          <a:solidFill>
            <a:srgbClr val="6BE7E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Vendor Master Data Missing/Accurac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Customer Master Data Missing/ Accuracy (Customer set-up issue with UK ent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p:txBody>
      </p:sp>
      <p:sp>
        <p:nvSpPr>
          <p:cNvPr id="64" name="Arrow: Pentagon 25">
            <a:extLst>
              <a:ext uri="{FF2B5EF4-FFF2-40B4-BE49-F238E27FC236}">
                <a16:creationId xmlns:a16="http://schemas.microsoft.com/office/drawing/2014/main" id="{9B5DBE22-F8D0-4A45-AC74-7AFDB74DCBA2}"/>
              </a:ext>
            </a:extLst>
          </p:cNvPr>
          <p:cNvSpPr/>
          <p:nvPr/>
        </p:nvSpPr>
        <p:spPr>
          <a:xfrm rot="5400000">
            <a:off x="1856859" y="3568552"/>
            <a:ext cx="4017171" cy="1190122"/>
          </a:xfrm>
          <a:prstGeom prst="homePlate">
            <a:avLst/>
          </a:prstGeom>
          <a:solidFill>
            <a:srgbClr val="6BE7E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Aged Open Item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Payment cut-off adherenc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Timeliness of invoice closures in S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Payalone flag (Payment at invoice level – one to one matching)</a:t>
            </a:r>
          </a:p>
        </p:txBody>
      </p:sp>
      <p:sp>
        <p:nvSpPr>
          <p:cNvPr id="74" name="Arrow: Pentagon 27">
            <a:extLst>
              <a:ext uri="{FF2B5EF4-FFF2-40B4-BE49-F238E27FC236}">
                <a16:creationId xmlns:a16="http://schemas.microsoft.com/office/drawing/2014/main" id="{362C5C38-AB63-4B57-A9B4-F90E7862F834}"/>
              </a:ext>
            </a:extLst>
          </p:cNvPr>
          <p:cNvSpPr/>
          <p:nvPr/>
        </p:nvSpPr>
        <p:spPr>
          <a:xfrm rot="5400000">
            <a:off x="3180708" y="3568552"/>
            <a:ext cx="4017171" cy="1190122"/>
          </a:xfrm>
          <a:prstGeom prst="homePlate">
            <a:avLst/>
          </a:prstGeom>
          <a:solidFill>
            <a:srgbClr val="6BE7E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Aged Open Item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Payment cut-off adherence (LCD-3 or LCD-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Direct Debits proc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Manual Payments proc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AP FX Transac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Supplier Returns/Refund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Payment at vendor level and GL booking at invoice lev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a:t>
            </a:r>
          </a:p>
        </p:txBody>
      </p:sp>
      <p:sp>
        <p:nvSpPr>
          <p:cNvPr id="76" name="Arrow: Pentagon 29">
            <a:extLst>
              <a:ext uri="{FF2B5EF4-FFF2-40B4-BE49-F238E27FC236}">
                <a16:creationId xmlns:a16="http://schemas.microsoft.com/office/drawing/2014/main" id="{BF0F8D97-9E18-431D-B9FF-3688FD8728B5}"/>
              </a:ext>
            </a:extLst>
          </p:cNvPr>
          <p:cNvSpPr/>
          <p:nvPr/>
        </p:nvSpPr>
        <p:spPr>
          <a:xfrm rot="5400000">
            <a:off x="4485512" y="3568552"/>
            <a:ext cx="4017171" cy="1190122"/>
          </a:xfrm>
          <a:prstGeom prst="homePlate">
            <a:avLst/>
          </a:prstGeom>
          <a:solidFill>
            <a:srgbClr val="6BE7E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Aging of AR related open item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Delay in Cash Appli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Partial application (over/und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Customer Refund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 Auto Applic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p:txBody>
      </p:sp>
      <p:sp>
        <p:nvSpPr>
          <p:cNvPr id="15" name="Arrow: Chevron 14">
            <a:extLst>
              <a:ext uri="{FF2B5EF4-FFF2-40B4-BE49-F238E27FC236}">
                <a16:creationId xmlns:a16="http://schemas.microsoft.com/office/drawing/2014/main" id="{701C13AE-7653-462B-8648-EFCAFDFBCB93}"/>
              </a:ext>
            </a:extLst>
          </p:cNvPr>
          <p:cNvSpPr/>
          <p:nvPr/>
        </p:nvSpPr>
        <p:spPr>
          <a:xfrm>
            <a:off x="8329676" y="1134480"/>
            <a:ext cx="1620000" cy="792000"/>
          </a:xfrm>
          <a:prstGeom prst="chevron">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ccount &amp; Reconcile Cash</a:t>
            </a:r>
          </a:p>
        </p:txBody>
      </p:sp>
      <p:sp>
        <p:nvSpPr>
          <p:cNvPr id="45" name="Arrow: Chevron 44">
            <a:extLst>
              <a:ext uri="{FF2B5EF4-FFF2-40B4-BE49-F238E27FC236}">
                <a16:creationId xmlns:a16="http://schemas.microsoft.com/office/drawing/2014/main" id="{7712D230-DB6F-4795-BD48-071CD74FF8DF}"/>
              </a:ext>
            </a:extLst>
          </p:cNvPr>
          <p:cNvSpPr/>
          <p:nvPr/>
        </p:nvSpPr>
        <p:spPr>
          <a:xfrm>
            <a:off x="8329676" y="883054"/>
            <a:ext cx="1368000" cy="252000"/>
          </a:xfrm>
          <a:prstGeom prst="chevron">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PL 6</a:t>
            </a:r>
          </a:p>
        </p:txBody>
      </p:sp>
      <p:sp>
        <p:nvSpPr>
          <p:cNvPr id="32" name="Arrow: Pentagon 31">
            <a:extLst>
              <a:ext uri="{FF2B5EF4-FFF2-40B4-BE49-F238E27FC236}">
                <a16:creationId xmlns:a16="http://schemas.microsoft.com/office/drawing/2014/main" id="{D64FAD74-DCB7-4DB8-A9C2-00F70BE36CCC}"/>
              </a:ext>
            </a:extLst>
          </p:cNvPr>
          <p:cNvSpPr/>
          <p:nvPr/>
        </p:nvSpPr>
        <p:spPr>
          <a:xfrm rot="5400000">
            <a:off x="7085370" y="3568553"/>
            <a:ext cx="4017171" cy="1190122"/>
          </a:xfrm>
          <a:prstGeom prst="homePlate">
            <a:avLst/>
          </a:prstGeom>
          <a:solidFill>
            <a:srgbClr val="6BE7E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rPr>
              <a:t>% Auto book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rPr>
              <a:t>% Auto-matching and Clear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rPr>
              <a:t>% Automated reconciliation -ATM to ARM / BOT solu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rPr>
              <a:t>% Zero unreconciled  Accou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rPr>
              <a:t>No open items &gt;15 day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rPr>
              <a:t>Auto Categorization and OI dashboar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A0A37"/>
              </a:solidFill>
              <a:effectLst/>
              <a:uLnTx/>
              <a:uFillTx/>
              <a:latin typeface="Calibri" panose="020F0502020204030204"/>
              <a:ea typeface="+mn-ea"/>
              <a:cs typeface="+mn-cs"/>
            </a:endParaRPr>
          </a:p>
        </p:txBody>
      </p:sp>
      <p:sp>
        <p:nvSpPr>
          <p:cNvPr id="9" name="Arrow: Chevron 8">
            <a:extLst>
              <a:ext uri="{FF2B5EF4-FFF2-40B4-BE49-F238E27FC236}">
                <a16:creationId xmlns:a16="http://schemas.microsoft.com/office/drawing/2014/main" id="{237EC527-998D-45BC-B8EE-C47796DBF1EE}"/>
              </a:ext>
            </a:extLst>
          </p:cNvPr>
          <p:cNvSpPr/>
          <p:nvPr/>
        </p:nvSpPr>
        <p:spPr>
          <a:xfrm>
            <a:off x="580535" y="1134480"/>
            <a:ext cx="1620000" cy="792000"/>
          </a:xfrm>
          <a:prstGeom prst="chevron">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Bank Account Set-ups</a:t>
            </a:r>
          </a:p>
        </p:txBody>
      </p:sp>
      <p:sp>
        <p:nvSpPr>
          <p:cNvPr id="33" name="Arrow: Chevron 32">
            <a:extLst>
              <a:ext uri="{FF2B5EF4-FFF2-40B4-BE49-F238E27FC236}">
                <a16:creationId xmlns:a16="http://schemas.microsoft.com/office/drawing/2014/main" id="{7F56E80E-E972-402C-BF70-F477BC9DD0DA}"/>
              </a:ext>
            </a:extLst>
          </p:cNvPr>
          <p:cNvSpPr/>
          <p:nvPr/>
        </p:nvSpPr>
        <p:spPr>
          <a:xfrm>
            <a:off x="580535" y="883054"/>
            <a:ext cx="1368000" cy="252000"/>
          </a:xfrm>
          <a:prstGeom prst="chevron">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A0A37"/>
                </a:solidFill>
                <a:effectLst/>
                <a:uLnTx/>
                <a:uFillTx/>
                <a:latin typeface="Calibri" panose="020F0502020204030204"/>
                <a:ea typeface="+mn-ea"/>
                <a:cs typeface="+mn-cs"/>
              </a:rPr>
              <a:t>PL  1</a:t>
            </a:r>
          </a:p>
        </p:txBody>
      </p:sp>
      <p:sp>
        <p:nvSpPr>
          <p:cNvPr id="10" name="Arrow: Chevron 9">
            <a:extLst>
              <a:ext uri="{FF2B5EF4-FFF2-40B4-BE49-F238E27FC236}">
                <a16:creationId xmlns:a16="http://schemas.microsoft.com/office/drawing/2014/main" id="{856961F1-C55A-42BE-A66B-790445B2532D}"/>
              </a:ext>
            </a:extLst>
          </p:cNvPr>
          <p:cNvSpPr/>
          <p:nvPr/>
        </p:nvSpPr>
        <p:spPr>
          <a:xfrm>
            <a:off x="1874183" y="1134480"/>
            <a:ext cx="1620000" cy="792000"/>
          </a:xfrm>
          <a:prstGeom prst="chevron">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Vendor Master COE / AR Set-up</a:t>
            </a:r>
          </a:p>
        </p:txBody>
      </p:sp>
      <p:sp>
        <p:nvSpPr>
          <p:cNvPr id="40" name="Arrow: Chevron 39">
            <a:extLst>
              <a:ext uri="{FF2B5EF4-FFF2-40B4-BE49-F238E27FC236}">
                <a16:creationId xmlns:a16="http://schemas.microsoft.com/office/drawing/2014/main" id="{F6CF3B1E-453D-49F6-B212-CE60E338EC26}"/>
              </a:ext>
            </a:extLst>
          </p:cNvPr>
          <p:cNvSpPr/>
          <p:nvPr/>
        </p:nvSpPr>
        <p:spPr>
          <a:xfrm>
            <a:off x="1874183" y="883054"/>
            <a:ext cx="1368000" cy="252000"/>
          </a:xfrm>
          <a:prstGeom prst="chevron">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A0A37"/>
                </a:solidFill>
                <a:effectLst/>
                <a:uLnTx/>
                <a:uFillTx/>
                <a:latin typeface="Calibri" panose="020F0502020204030204"/>
                <a:ea typeface="+mn-ea"/>
                <a:cs typeface="+mn-cs"/>
              </a:rPr>
              <a:t>PL  2</a:t>
            </a:r>
          </a:p>
        </p:txBody>
      </p:sp>
      <p:sp>
        <p:nvSpPr>
          <p:cNvPr id="11" name="Arrow: Chevron 10">
            <a:extLst>
              <a:ext uri="{FF2B5EF4-FFF2-40B4-BE49-F238E27FC236}">
                <a16:creationId xmlns:a16="http://schemas.microsoft.com/office/drawing/2014/main" id="{311DAE68-6FDE-4833-A3B0-21C43F46E230}"/>
              </a:ext>
            </a:extLst>
          </p:cNvPr>
          <p:cNvSpPr/>
          <p:nvPr/>
        </p:nvSpPr>
        <p:spPr>
          <a:xfrm>
            <a:off x="3177365" y="1134480"/>
            <a:ext cx="1620000" cy="792000"/>
          </a:xfrm>
          <a:prstGeom prst="chevron">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nitiate/ settle/ reconcile ICO payments</a:t>
            </a:r>
          </a:p>
        </p:txBody>
      </p:sp>
      <p:sp>
        <p:nvSpPr>
          <p:cNvPr id="41" name="Arrow: Chevron 40">
            <a:extLst>
              <a:ext uri="{FF2B5EF4-FFF2-40B4-BE49-F238E27FC236}">
                <a16:creationId xmlns:a16="http://schemas.microsoft.com/office/drawing/2014/main" id="{69837370-1147-4D63-9125-ACB16741A20D}"/>
              </a:ext>
            </a:extLst>
          </p:cNvPr>
          <p:cNvSpPr/>
          <p:nvPr/>
        </p:nvSpPr>
        <p:spPr>
          <a:xfrm>
            <a:off x="3177365" y="883054"/>
            <a:ext cx="1368000" cy="252000"/>
          </a:xfrm>
          <a:prstGeom prst="chevron">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A0A37"/>
                </a:solidFill>
                <a:effectLst/>
                <a:uLnTx/>
                <a:uFillTx/>
                <a:latin typeface="Calibri" panose="020F0502020204030204"/>
                <a:ea typeface="+mn-ea"/>
                <a:cs typeface="+mn-cs"/>
              </a:rPr>
              <a:t>PL  3</a:t>
            </a:r>
          </a:p>
        </p:txBody>
      </p:sp>
      <p:sp>
        <p:nvSpPr>
          <p:cNvPr id="12" name="Arrow: Chevron 11">
            <a:extLst>
              <a:ext uri="{FF2B5EF4-FFF2-40B4-BE49-F238E27FC236}">
                <a16:creationId xmlns:a16="http://schemas.microsoft.com/office/drawing/2014/main" id="{47EB758D-7080-4F40-9A6D-83FC98B03ECA}"/>
              </a:ext>
            </a:extLst>
          </p:cNvPr>
          <p:cNvSpPr/>
          <p:nvPr/>
        </p:nvSpPr>
        <p:spPr>
          <a:xfrm>
            <a:off x="4470734" y="1134480"/>
            <a:ext cx="1620000" cy="792000"/>
          </a:xfrm>
          <a:prstGeom prst="chevron">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nvoice closure &amp; reconcile AP in SL</a:t>
            </a:r>
          </a:p>
        </p:txBody>
      </p:sp>
      <p:sp>
        <p:nvSpPr>
          <p:cNvPr id="42" name="Arrow: Chevron 41">
            <a:extLst>
              <a:ext uri="{FF2B5EF4-FFF2-40B4-BE49-F238E27FC236}">
                <a16:creationId xmlns:a16="http://schemas.microsoft.com/office/drawing/2014/main" id="{17E5E3FA-2553-49CC-B289-54A6281693D8}"/>
              </a:ext>
            </a:extLst>
          </p:cNvPr>
          <p:cNvSpPr/>
          <p:nvPr/>
        </p:nvSpPr>
        <p:spPr>
          <a:xfrm>
            <a:off x="4470734" y="883054"/>
            <a:ext cx="1368000" cy="252000"/>
          </a:xfrm>
          <a:prstGeom prst="chevron">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A0A37"/>
                </a:solidFill>
                <a:effectLst/>
                <a:uLnTx/>
                <a:uFillTx/>
                <a:latin typeface="Calibri" panose="020F0502020204030204"/>
                <a:ea typeface="+mn-ea"/>
                <a:cs typeface="+mn-cs"/>
              </a:rPr>
              <a:t>PL  4</a:t>
            </a:r>
          </a:p>
        </p:txBody>
      </p:sp>
      <p:sp>
        <p:nvSpPr>
          <p:cNvPr id="14" name="Arrow: Chevron 13">
            <a:extLst>
              <a:ext uri="{FF2B5EF4-FFF2-40B4-BE49-F238E27FC236}">
                <a16:creationId xmlns:a16="http://schemas.microsoft.com/office/drawing/2014/main" id="{C4D97D8A-61A7-4CFC-89FD-9BF3B9F44DDF}"/>
              </a:ext>
            </a:extLst>
          </p:cNvPr>
          <p:cNvSpPr/>
          <p:nvPr/>
        </p:nvSpPr>
        <p:spPr>
          <a:xfrm>
            <a:off x="5760298" y="1134480"/>
            <a:ext cx="1620000" cy="792000"/>
          </a:xfrm>
          <a:prstGeom prst="chevron">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ollect/ Apply Cash</a:t>
            </a:r>
          </a:p>
        </p:txBody>
      </p:sp>
      <p:sp>
        <p:nvSpPr>
          <p:cNvPr id="44" name="Arrow: Chevron 43">
            <a:extLst>
              <a:ext uri="{FF2B5EF4-FFF2-40B4-BE49-F238E27FC236}">
                <a16:creationId xmlns:a16="http://schemas.microsoft.com/office/drawing/2014/main" id="{C31B009C-CC56-4FDF-BB38-BBA2F64F17F9}"/>
              </a:ext>
            </a:extLst>
          </p:cNvPr>
          <p:cNvSpPr/>
          <p:nvPr/>
        </p:nvSpPr>
        <p:spPr>
          <a:xfrm>
            <a:off x="5760298" y="883054"/>
            <a:ext cx="1368000" cy="252000"/>
          </a:xfrm>
          <a:prstGeom prst="chevron">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A0A37"/>
                </a:solidFill>
                <a:effectLst/>
                <a:uLnTx/>
                <a:uFillTx/>
                <a:latin typeface="Calibri" panose="020F0502020204030204"/>
                <a:ea typeface="+mn-ea"/>
                <a:cs typeface="+mn-cs"/>
              </a:rPr>
              <a:t>PL  5</a:t>
            </a:r>
          </a:p>
        </p:txBody>
      </p:sp>
      <p:sp>
        <p:nvSpPr>
          <p:cNvPr id="53" name="Flowchart: Document 52">
            <a:extLst>
              <a:ext uri="{FF2B5EF4-FFF2-40B4-BE49-F238E27FC236}">
                <a16:creationId xmlns:a16="http://schemas.microsoft.com/office/drawing/2014/main" id="{ABF5B2B7-77A8-48A1-AE04-3902276AF15A}"/>
              </a:ext>
            </a:extLst>
          </p:cNvPr>
          <p:cNvSpPr/>
          <p:nvPr/>
        </p:nvSpPr>
        <p:spPr>
          <a:xfrm>
            <a:off x="874675" y="440026"/>
            <a:ext cx="994054" cy="377115"/>
          </a:xfrm>
          <a:prstGeom prst="flowChartDocumen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Treasury </a:t>
            </a:r>
          </a:p>
        </p:txBody>
      </p:sp>
      <p:sp>
        <p:nvSpPr>
          <p:cNvPr id="54" name="Flowchart: Document 53">
            <a:extLst>
              <a:ext uri="{FF2B5EF4-FFF2-40B4-BE49-F238E27FC236}">
                <a16:creationId xmlns:a16="http://schemas.microsoft.com/office/drawing/2014/main" id="{DF9B26CD-06EF-4168-A619-A97199C86F3B}"/>
              </a:ext>
            </a:extLst>
          </p:cNvPr>
          <p:cNvSpPr/>
          <p:nvPr/>
        </p:nvSpPr>
        <p:spPr>
          <a:xfrm>
            <a:off x="2189783" y="440026"/>
            <a:ext cx="994054" cy="377115"/>
          </a:xfrm>
          <a:prstGeom prst="flowChartDocumen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Vendor Master COE / AR</a:t>
            </a:r>
          </a:p>
        </p:txBody>
      </p:sp>
      <p:sp>
        <p:nvSpPr>
          <p:cNvPr id="55" name="Flowchart: Document 54">
            <a:extLst>
              <a:ext uri="{FF2B5EF4-FFF2-40B4-BE49-F238E27FC236}">
                <a16:creationId xmlns:a16="http://schemas.microsoft.com/office/drawing/2014/main" id="{F354BD68-DD27-4C71-A3C8-EE1C8A9D87C4}"/>
              </a:ext>
            </a:extLst>
          </p:cNvPr>
          <p:cNvSpPr/>
          <p:nvPr/>
        </p:nvSpPr>
        <p:spPr>
          <a:xfrm>
            <a:off x="3459248" y="440026"/>
            <a:ext cx="994054" cy="377115"/>
          </a:xfrm>
          <a:prstGeom prst="flowChartDocumen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Inter-Co</a:t>
            </a:r>
          </a:p>
        </p:txBody>
      </p:sp>
      <p:sp>
        <p:nvSpPr>
          <p:cNvPr id="56" name="Flowchart: Document 55">
            <a:extLst>
              <a:ext uri="{FF2B5EF4-FFF2-40B4-BE49-F238E27FC236}">
                <a16:creationId xmlns:a16="http://schemas.microsoft.com/office/drawing/2014/main" id="{288C6BB2-194C-4003-94BB-3C7C7907B466}"/>
              </a:ext>
            </a:extLst>
          </p:cNvPr>
          <p:cNvSpPr/>
          <p:nvPr/>
        </p:nvSpPr>
        <p:spPr>
          <a:xfrm>
            <a:off x="5966832" y="440026"/>
            <a:ext cx="994054" cy="377115"/>
          </a:xfrm>
          <a:prstGeom prst="flowChartDocumen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AR</a:t>
            </a:r>
          </a:p>
        </p:txBody>
      </p:sp>
      <p:sp>
        <p:nvSpPr>
          <p:cNvPr id="57" name="Flowchart: Document 56">
            <a:extLst>
              <a:ext uri="{FF2B5EF4-FFF2-40B4-BE49-F238E27FC236}">
                <a16:creationId xmlns:a16="http://schemas.microsoft.com/office/drawing/2014/main" id="{9D38572E-5203-4008-9A1C-2524CA245463}"/>
              </a:ext>
            </a:extLst>
          </p:cNvPr>
          <p:cNvSpPr/>
          <p:nvPr/>
        </p:nvSpPr>
        <p:spPr>
          <a:xfrm>
            <a:off x="8568899" y="440026"/>
            <a:ext cx="994054" cy="377115"/>
          </a:xfrm>
          <a:prstGeom prst="flowChartDocumen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A0A37"/>
                </a:solidFill>
                <a:effectLst/>
                <a:uLnTx/>
                <a:uFillTx/>
                <a:latin typeface="Calibri" panose="020F0502020204030204"/>
                <a:ea typeface="+mn-ea"/>
                <a:cs typeface="+mn-cs"/>
              </a:rPr>
              <a:t>Cash R2R</a:t>
            </a:r>
          </a:p>
        </p:txBody>
      </p:sp>
      <p:sp>
        <p:nvSpPr>
          <p:cNvPr id="58" name="Flowchart: Document 57">
            <a:extLst>
              <a:ext uri="{FF2B5EF4-FFF2-40B4-BE49-F238E27FC236}">
                <a16:creationId xmlns:a16="http://schemas.microsoft.com/office/drawing/2014/main" id="{4AA23E5F-8015-41F6-B395-FBDDF7DF9426}"/>
              </a:ext>
            </a:extLst>
          </p:cNvPr>
          <p:cNvSpPr/>
          <p:nvPr/>
        </p:nvSpPr>
        <p:spPr>
          <a:xfrm>
            <a:off x="4715926" y="440026"/>
            <a:ext cx="994054" cy="377115"/>
          </a:xfrm>
          <a:prstGeom prst="flowChartDocumen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mn-cs"/>
              </a:rPr>
              <a:t>B2P</a:t>
            </a:r>
          </a:p>
        </p:txBody>
      </p:sp>
      <p:sp>
        <p:nvSpPr>
          <p:cNvPr id="60" name="TextBox 59">
            <a:extLst>
              <a:ext uri="{FF2B5EF4-FFF2-40B4-BE49-F238E27FC236}">
                <a16:creationId xmlns:a16="http://schemas.microsoft.com/office/drawing/2014/main" id="{4F2E55DF-6999-4398-A89C-A47954DF8B03}"/>
              </a:ext>
            </a:extLst>
          </p:cNvPr>
          <p:cNvSpPr txBox="1"/>
          <p:nvPr/>
        </p:nvSpPr>
        <p:spPr>
          <a:xfrm>
            <a:off x="37433" y="-51277"/>
            <a:ext cx="9220719" cy="461665"/>
          </a:xfrm>
          <a:prstGeom prst="rect">
            <a:avLst/>
          </a:prstGeom>
        </p:spPr>
        <p:txBody>
          <a:bodyPr vert="horz" lIns="91440" tIns="45720" rIns="91440" bIns="45720" rtlCol="0" anchor="ctr">
            <a:normAutofit/>
          </a:bodyPr>
          <a:lstStyle>
            <a:lvl1pPr indent="0">
              <a:lnSpc>
                <a:spcPct val="90000"/>
              </a:lnSpc>
              <a:spcBef>
                <a:spcPts val="1000"/>
              </a:spcBef>
              <a:buFont typeface="Arial" panose="020B0604020202020204" pitchFamily="34" charset="0"/>
              <a:buNone/>
              <a:defRPr sz="2400" b="1">
                <a:solidFill>
                  <a:srgbClr val="063161"/>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63161"/>
                </a:solidFill>
                <a:effectLst/>
                <a:uLnTx/>
                <a:uFillTx/>
                <a:latin typeface="Calibri" panose="020F0502020204030204"/>
                <a:ea typeface="+mn-ea"/>
                <a:cs typeface="+mn-cs"/>
              </a:rPr>
              <a:t>Cash </a:t>
            </a:r>
            <a:r>
              <a:rPr kumimoji="0" lang="en-US" sz="2200" b="1" i="0" u="none" strike="noStrike" kern="1200" cap="none" spc="0" normalizeH="0" baseline="0" noProof="0" dirty="0">
                <a:ln>
                  <a:noFill/>
                </a:ln>
                <a:solidFill>
                  <a:srgbClr val="063161"/>
                </a:solidFill>
                <a:effectLst/>
                <a:uLnTx/>
                <a:uFillTx/>
                <a:latin typeface="Calibri" panose="020F0502020204030204"/>
                <a:ea typeface="+mn-ea"/>
                <a:cs typeface="+mn-cs"/>
              </a:rPr>
              <a:t>R2R</a:t>
            </a:r>
          </a:p>
        </p:txBody>
      </p:sp>
      <p:sp>
        <p:nvSpPr>
          <p:cNvPr id="6" name="Rectangle 5">
            <a:extLst>
              <a:ext uri="{FF2B5EF4-FFF2-40B4-BE49-F238E27FC236}">
                <a16:creationId xmlns:a16="http://schemas.microsoft.com/office/drawing/2014/main" id="{7B88C7BE-45FA-460C-AB84-A902BABFCFA5}"/>
              </a:ext>
            </a:extLst>
          </p:cNvPr>
          <p:cNvSpPr/>
          <p:nvPr/>
        </p:nvSpPr>
        <p:spPr>
          <a:xfrm rot="5400000">
            <a:off x="5732108" y="1393374"/>
            <a:ext cx="360000" cy="10233267"/>
          </a:xfrm>
          <a:prstGeom prst="rect">
            <a:avLst/>
          </a:prstGeom>
          <a:solidFill>
            <a:srgbClr val="FFD9D5"/>
          </a:solidFill>
          <a:ln/>
        </p:spPr>
        <p:style>
          <a:lnRef idx="1">
            <a:schemeClr val="accent5"/>
          </a:lnRef>
          <a:fillRef idx="2">
            <a:schemeClr val="accent5"/>
          </a:fillRef>
          <a:effectRef idx="1">
            <a:schemeClr val="accent5"/>
          </a:effectRef>
          <a:fontRef idx="minor">
            <a:schemeClr val="dk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Priority Areas</a:t>
            </a:r>
          </a:p>
        </p:txBody>
      </p:sp>
      <p:sp>
        <p:nvSpPr>
          <p:cNvPr id="62" name="Arrow: Chevron 61">
            <a:extLst>
              <a:ext uri="{FF2B5EF4-FFF2-40B4-BE49-F238E27FC236}">
                <a16:creationId xmlns:a16="http://schemas.microsoft.com/office/drawing/2014/main" id="{3D173E4C-4DE7-4FD7-A113-6F06D102ED81}"/>
              </a:ext>
            </a:extLst>
          </p:cNvPr>
          <p:cNvSpPr/>
          <p:nvPr/>
        </p:nvSpPr>
        <p:spPr>
          <a:xfrm>
            <a:off x="9623681" y="1134480"/>
            <a:ext cx="1620000" cy="792000"/>
          </a:xfrm>
          <a:prstGeom prst="chevron">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Reporting &amp; Forecasting</a:t>
            </a:r>
          </a:p>
        </p:txBody>
      </p:sp>
      <p:sp>
        <p:nvSpPr>
          <p:cNvPr id="67" name="Arrow: Chevron 66">
            <a:extLst>
              <a:ext uri="{FF2B5EF4-FFF2-40B4-BE49-F238E27FC236}">
                <a16:creationId xmlns:a16="http://schemas.microsoft.com/office/drawing/2014/main" id="{23D00997-3CF6-40C5-BDCA-57E46F0226DC}"/>
              </a:ext>
            </a:extLst>
          </p:cNvPr>
          <p:cNvSpPr/>
          <p:nvPr/>
        </p:nvSpPr>
        <p:spPr>
          <a:xfrm>
            <a:off x="9598280" y="883054"/>
            <a:ext cx="1368000" cy="252000"/>
          </a:xfrm>
          <a:prstGeom prst="chevron">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PL  7</a:t>
            </a:r>
          </a:p>
        </p:txBody>
      </p:sp>
      <p:sp>
        <p:nvSpPr>
          <p:cNvPr id="73" name="Arrow: Pentagon 72">
            <a:extLst>
              <a:ext uri="{FF2B5EF4-FFF2-40B4-BE49-F238E27FC236}">
                <a16:creationId xmlns:a16="http://schemas.microsoft.com/office/drawing/2014/main" id="{0688C513-B073-4BAB-8BBB-75CA98DBCBEA}"/>
              </a:ext>
            </a:extLst>
          </p:cNvPr>
          <p:cNvSpPr/>
          <p:nvPr/>
        </p:nvSpPr>
        <p:spPr>
          <a:xfrm rot="5400000">
            <a:off x="8364135" y="3568553"/>
            <a:ext cx="4017171" cy="1190122"/>
          </a:xfrm>
          <a:prstGeom prst="homePlate">
            <a:avLst/>
          </a:prstGeom>
          <a:solidFill>
            <a:srgbClr val="6BE7E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A0A37"/>
              </a:solidFill>
              <a:effectLst/>
              <a:uLnTx/>
              <a:uFillTx/>
              <a:latin typeface="Calibri" panose="020F0502020204030204"/>
              <a:ea typeface="+mn-ea"/>
              <a:cs typeface="+mn-cs"/>
            </a:endParaRPr>
          </a:p>
        </p:txBody>
      </p:sp>
      <p:sp>
        <p:nvSpPr>
          <p:cNvPr id="84" name="Flowchart: Document 83">
            <a:extLst>
              <a:ext uri="{FF2B5EF4-FFF2-40B4-BE49-F238E27FC236}">
                <a16:creationId xmlns:a16="http://schemas.microsoft.com/office/drawing/2014/main" id="{B33263D8-B805-4044-8F7D-E85A9B0AA823}"/>
              </a:ext>
            </a:extLst>
          </p:cNvPr>
          <p:cNvSpPr/>
          <p:nvPr/>
        </p:nvSpPr>
        <p:spPr>
          <a:xfrm>
            <a:off x="9904231" y="440026"/>
            <a:ext cx="994054" cy="377115"/>
          </a:xfrm>
          <a:prstGeom prst="flowChartDocumen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Calibri" panose="020F0502020204030204"/>
                <a:ea typeface="+mn-ea"/>
                <a:cs typeface="+mn-cs"/>
              </a:rPr>
              <a:t>FP&amp;A</a:t>
            </a:r>
          </a:p>
        </p:txBody>
      </p:sp>
      <p:sp>
        <p:nvSpPr>
          <p:cNvPr id="51" name="Arrow: Pentagon 29">
            <a:extLst>
              <a:ext uri="{FF2B5EF4-FFF2-40B4-BE49-F238E27FC236}">
                <a16:creationId xmlns:a16="http://schemas.microsoft.com/office/drawing/2014/main" id="{BF0F8D97-9E18-431D-B9FF-3688FD8728B5}"/>
              </a:ext>
            </a:extLst>
          </p:cNvPr>
          <p:cNvSpPr/>
          <p:nvPr/>
        </p:nvSpPr>
        <p:spPr>
          <a:xfrm rot="5400000">
            <a:off x="5800250" y="3569333"/>
            <a:ext cx="4015610" cy="1190122"/>
          </a:xfrm>
          <a:prstGeom prst="homePlate">
            <a:avLst/>
          </a:prstGeom>
          <a:solidFill>
            <a:srgbClr val="6BE7E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Aged Open Item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rPr>
              <a:t>Booking cut-off adher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A0A37"/>
              </a:solidFill>
              <a:effectLst/>
              <a:uLnTx/>
              <a:uFillTx/>
              <a:latin typeface="Calibri" panose="020F0502020204030204"/>
              <a:ea typeface="+mn-ea"/>
              <a:cs typeface="+mn-cs"/>
            </a:endParaRPr>
          </a:p>
        </p:txBody>
      </p:sp>
      <p:sp>
        <p:nvSpPr>
          <p:cNvPr id="77" name="Arrow: Chevron 13">
            <a:extLst>
              <a:ext uri="{FF2B5EF4-FFF2-40B4-BE49-F238E27FC236}">
                <a16:creationId xmlns:a16="http://schemas.microsoft.com/office/drawing/2014/main" id="{C4D97D8A-61A7-4CFC-89FD-9BF3B9F44DDF}"/>
              </a:ext>
            </a:extLst>
          </p:cNvPr>
          <p:cNvSpPr/>
          <p:nvPr/>
        </p:nvSpPr>
        <p:spPr>
          <a:xfrm>
            <a:off x="7043775" y="1136041"/>
            <a:ext cx="1620000" cy="792000"/>
          </a:xfrm>
          <a:prstGeom prst="chevron">
            <a:avLst/>
          </a:prstGeom>
          <a:solidFill>
            <a:srgbClr val="FFFFCC"/>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ollect/ Apply Cash</a:t>
            </a:r>
          </a:p>
        </p:txBody>
      </p:sp>
      <p:sp>
        <p:nvSpPr>
          <p:cNvPr id="78" name="Arrow: Chevron 43">
            <a:extLst>
              <a:ext uri="{FF2B5EF4-FFF2-40B4-BE49-F238E27FC236}">
                <a16:creationId xmlns:a16="http://schemas.microsoft.com/office/drawing/2014/main" id="{C31B009C-CC56-4FDF-BB38-BBA2F64F17F9}"/>
              </a:ext>
            </a:extLst>
          </p:cNvPr>
          <p:cNvSpPr/>
          <p:nvPr/>
        </p:nvSpPr>
        <p:spPr>
          <a:xfrm>
            <a:off x="7043775" y="884615"/>
            <a:ext cx="1368000" cy="252000"/>
          </a:xfrm>
          <a:prstGeom prst="chevron">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A0A37"/>
                </a:solidFill>
                <a:effectLst/>
                <a:uLnTx/>
                <a:uFillTx/>
                <a:latin typeface="Calibri" panose="020F0502020204030204"/>
                <a:ea typeface="+mn-ea"/>
                <a:cs typeface="+mn-cs"/>
              </a:rPr>
              <a:t>PL  5</a:t>
            </a:r>
          </a:p>
        </p:txBody>
      </p:sp>
      <p:sp>
        <p:nvSpPr>
          <p:cNvPr id="79" name="Flowchart: Document 78">
            <a:extLst>
              <a:ext uri="{FF2B5EF4-FFF2-40B4-BE49-F238E27FC236}">
                <a16:creationId xmlns:a16="http://schemas.microsoft.com/office/drawing/2014/main" id="{288C6BB2-194C-4003-94BB-3C7C7907B466}"/>
              </a:ext>
            </a:extLst>
          </p:cNvPr>
          <p:cNvSpPr/>
          <p:nvPr/>
        </p:nvSpPr>
        <p:spPr>
          <a:xfrm>
            <a:off x="7250309" y="441587"/>
            <a:ext cx="994054" cy="377115"/>
          </a:xfrm>
          <a:prstGeom prst="flowChartDocumen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C&amp;B</a:t>
            </a:r>
          </a:p>
        </p:txBody>
      </p:sp>
    </p:spTree>
    <p:extLst>
      <p:ext uri="{BB962C8B-B14F-4D97-AF65-F5344CB8AC3E}">
        <p14:creationId xmlns:p14="http://schemas.microsoft.com/office/powerpoint/2010/main" val="34145233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extBox 97"/>
          <p:cNvSpPr txBox="1"/>
          <p:nvPr/>
        </p:nvSpPr>
        <p:spPr>
          <a:xfrm>
            <a:off x="152659" y="-31394"/>
            <a:ext cx="11379698" cy="553998"/>
          </a:xfrm>
          <a:prstGeom prst="rect">
            <a:avLst/>
          </a:prstGeom>
        </p:spPr>
        <p:txBody>
          <a:bodyPr vert="horz" lIns="91440" tIns="45720" rIns="91440" bIns="45720" rtlCol="0" anchor="ctr">
            <a:normAutofit/>
          </a:bodyPr>
          <a:lstStyle>
            <a:defPPr>
              <a:defRPr lang="en-US"/>
            </a:defPPr>
            <a:lvl1pPr indent="0">
              <a:lnSpc>
                <a:spcPct val="90000"/>
              </a:lnSpc>
              <a:spcBef>
                <a:spcPts val="1000"/>
              </a:spcBef>
              <a:buFont typeface="Arial" panose="020B0604020202020204" pitchFamily="34" charset="0"/>
              <a:buNone/>
              <a:defRPr sz="2400" b="1">
                <a:solidFill>
                  <a:srgbClr val="063161"/>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Process Map As Is – Auto Bank </a:t>
            </a:r>
          </a:p>
        </p:txBody>
      </p:sp>
      <p:cxnSp>
        <p:nvCxnSpPr>
          <p:cNvPr id="99" name="Straight Connector 98"/>
          <p:cNvCxnSpPr/>
          <p:nvPr/>
        </p:nvCxnSpPr>
        <p:spPr>
          <a:xfrm>
            <a:off x="-13065" y="591400"/>
            <a:ext cx="12205065"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1013237" y="1286519"/>
            <a:ext cx="1494643" cy="642087"/>
          </a:xfrm>
          <a:prstGeom prst="ellipse">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Treasury sends Bank data input file to EBS team</a:t>
            </a:r>
          </a:p>
        </p:txBody>
      </p:sp>
      <p:sp>
        <p:nvSpPr>
          <p:cNvPr id="51" name="Rounded Rectangle 50"/>
          <p:cNvSpPr/>
          <p:nvPr/>
        </p:nvSpPr>
        <p:spPr>
          <a:xfrm>
            <a:off x="893925" y="2159145"/>
            <a:ext cx="1733265" cy="570411"/>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EBS team upload input file in SAP</a:t>
            </a:r>
          </a:p>
        </p:txBody>
      </p:sp>
      <p:sp>
        <p:nvSpPr>
          <p:cNvPr id="52" name="Rounded Rectangle 51"/>
          <p:cNvSpPr/>
          <p:nvPr/>
        </p:nvSpPr>
        <p:spPr>
          <a:xfrm>
            <a:off x="893925" y="2960095"/>
            <a:ext cx="1733265" cy="686323"/>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AutoBank books transactions to Main Bank and then to Misc. GL account (XX5)</a:t>
            </a:r>
          </a:p>
        </p:txBody>
      </p:sp>
      <p:sp>
        <p:nvSpPr>
          <p:cNvPr id="2" name="Flowchart: Decision 1"/>
          <p:cNvSpPr/>
          <p:nvPr/>
        </p:nvSpPr>
        <p:spPr>
          <a:xfrm>
            <a:off x="3162756" y="1348577"/>
            <a:ext cx="1893736" cy="1160059"/>
          </a:xfrm>
          <a:prstGeom prst="flowChartDecision">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Is Target GL account booking set-up?</a:t>
            </a:r>
          </a:p>
        </p:txBody>
      </p:sp>
      <p:sp>
        <p:nvSpPr>
          <p:cNvPr id="56" name="Rounded Rectangle 55"/>
          <p:cNvSpPr/>
          <p:nvPr/>
        </p:nvSpPr>
        <p:spPr>
          <a:xfrm>
            <a:off x="5413609" y="1585444"/>
            <a:ext cx="1733265" cy="686323"/>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AutoBank books transactions to Target GL account</a:t>
            </a:r>
          </a:p>
        </p:txBody>
      </p:sp>
      <p:sp>
        <p:nvSpPr>
          <p:cNvPr id="57" name="Rounded Rectangle 56"/>
          <p:cNvSpPr/>
          <p:nvPr/>
        </p:nvSpPr>
        <p:spPr>
          <a:xfrm>
            <a:off x="7503991" y="1517204"/>
            <a:ext cx="2005769" cy="826670"/>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Manual matching or AutoBank perform auto clearing between Main Bank line and interface line from Sub Ledger (One To One Clearing)</a:t>
            </a:r>
          </a:p>
        </p:txBody>
      </p:sp>
      <p:cxnSp>
        <p:nvCxnSpPr>
          <p:cNvPr id="4" name="Straight Arrow Connector 3"/>
          <p:cNvCxnSpPr>
            <a:stCxn id="2" idx="3"/>
            <a:endCxn id="56" idx="1"/>
          </p:cNvCxnSpPr>
          <p:nvPr/>
        </p:nvCxnSpPr>
        <p:spPr>
          <a:xfrm flipV="1">
            <a:off x="5056492" y="1928606"/>
            <a:ext cx="35711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022155" y="1631056"/>
            <a:ext cx="391454" cy="25391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50">
                <a:solidFill>
                  <a:srgbClr val="002060"/>
                </a:solidFill>
                <a:latin typeface="Georgia" panose="02040502050405020303"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latin typeface="+mn-lt"/>
                <a:ea typeface="+mn-ea"/>
                <a:cs typeface="+mn-cs"/>
              </a:rPr>
              <a:t>Yes</a:t>
            </a:r>
          </a:p>
        </p:txBody>
      </p:sp>
      <p:cxnSp>
        <p:nvCxnSpPr>
          <p:cNvPr id="59" name="Straight Arrow Connector 58"/>
          <p:cNvCxnSpPr>
            <a:stCxn id="56" idx="3"/>
            <a:endCxn id="57" idx="1"/>
          </p:cNvCxnSpPr>
          <p:nvPr/>
        </p:nvCxnSpPr>
        <p:spPr>
          <a:xfrm>
            <a:off x="7146874" y="1928606"/>
            <a:ext cx="357117" cy="1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2" idx="2"/>
            <a:endCxn id="72" idx="0"/>
          </p:cNvCxnSpPr>
          <p:nvPr/>
        </p:nvCxnSpPr>
        <p:spPr>
          <a:xfrm>
            <a:off x="4109624" y="2508636"/>
            <a:ext cx="0" cy="630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Rounded Rectangle 63"/>
          <p:cNvSpPr/>
          <p:nvPr/>
        </p:nvSpPr>
        <p:spPr>
          <a:xfrm>
            <a:off x="5430776" y="3370861"/>
            <a:ext cx="1733265" cy="686323"/>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AutoBank park the transaction in xx2 (Outgoing) GL account</a:t>
            </a:r>
          </a:p>
        </p:txBody>
      </p:sp>
      <p:sp>
        <p:nvSpPr>
          <p:cNvPr id="69" name="TextBox 68"/>
          <p:cNvSpPr txBox="1"/>
          <p:nvPr/>
        </p:nvSpPr>
        <p:spPr>
          <a:xfrm>
            <a:off x="4092457" y="2485259"/>
            <a:ext cx="391454" cy="25391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50">
                <a:solidFill>
                  <a:srgbClr val="002060"/>
                </a:solidFill>
                <a:latin typeface="Georgia" panose="02040502050405020303"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latin typeface="+mn-lt"/>
                <a:ea typeface="+mn-ea"/>
                <a:cs typeface="+mn-cs"/>
              </a:rPr>
              <a:t>No</a:t>
            </a:r>
          </a:p>
        </p:txBody>
      </p:sp>
      <p:sp>
        <p:nvSpPr>
          <p:cNvPr id="72" name="Flowchart: Decision 71"/>
          <p:cNvSpPr/>
          <p:nvPr/>
        </p:nvSpPr>
        <p:spPr>
          <a:xfrm>
            <a:off x="3162756" y="3139206"/>
            <a:ext cx="1893736" cy="1160059"/>
          </a:xfrm>
          <a:prstGeom prst="flowChartDecision">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Is this outgoing payment?</a:t>
            </a:r>
          </a:p>
        </p:txBody>
      </p:sp>
      <p:sp>
        <p:nvSpPr>
          <p:cNvPr id="77" name="TextBox 76"/>
          <p:cNvSpPr txBox="1"/>
          <p:nvPr/>
        </p:nvSpPr>
        <p:spPr>
          <a:xfrm>
            <a:off x="4870265" y="3787520"/>
            <a:ext cx="391454" cy="25391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50">
                <a:solidFill>
                  <a:srgbClr val="002060"/>
                </a:solidFill>
                <a:latin typeface="Georgia" panose="02040502050405020303"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latin typeface="+mn-lt"/>
                <a:ea typeface="+mn-ea"/>
                <a:cs typeface="+mn-cs"/>
              </a:rPr>
              <a:t>Yes</a:t>
            </a:r>
          </a:p>
        </p:txBody>
      </p:sp>
      <p:cxnSp>
        <p:nvCxnSpPr>
          <p:cNvPr id="33" name="Elbow Connector 32"/>
          <p:cNvCxnSpPr>
            <a:stCxn id="52" idx="3"/>
            <a:endCxn id="2" idx="1"/>
          </p:cNvCxnSpPr>
          <p:nvPr/>
        </p:nvCxnSpPr>
        <p:spPr>
          <a:xfrm flipV="1">
            <a:off x="2627190" y="1928607"/>
            <a:ext cx="535566" cy="13746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81" name="Rounded Rectangle 80"/>
          <p:cNvSpPr/>
          <p:nvPr/>
        </p:nvSpPr>
        <p:spPr>
          <a:xfrm>
            <a:off x="5430776" y="4862858"/>
            <a:ext cx="1733265" cy="686323"/>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002060"/>
                </a:solidFill>
                <a:effectLst/>
                <a:uLnTx/>
                <a:uFillTx/>
                <a:ea typeface="+mn-ea"/>
                <a:cs typeface="+mn-cs"/>
              </a:rPr>
              <a:t>AutoBank</a:t>
            </a:r>
            <a:r>
              <a:rPr kumimoji="0" lang="en-US" sz="1050" b="0" i="0" u="none" strike="noStrike" kern="1200" cap="none" spc="0" normalizeH="0" baseline="0" noProof="0" dirty="0">
                <a:ln>
                  <a:noFill/>
                </a:ln>
                <a:solidFill>
                  <a:srgbClr val="002060"/>
                </a:solidFill>
                <a:effectLst/>
                <a:uLnTx/>
                <a:uFillTx/>
                <a:ea typeface="+mn-ea"/>
                <a:cs typeface="+mn-cs"/>
              </a:rPr>
              <a:t> books transaction in AR/Customer SL account</a:t>
            </a:r>
          </a:p>
        </p:txBody>
      </p:sp>
      <p:sp>
        <p:nvSpPr>
          <p:cNvPr id="82" name="Flowchart: Decision 81"/>
          <p:cNvSpPr/>
          <p:nvPr/>
        </p:nvSpPr>
        <p:spPr>
          <a:xfrm>
            <a:off x="3162756" y="4615928"/>
            <a:ext cx="1893736" cy="1160059"/>
          </a:xfrm>
          <a:prstGeom prst="flowChartDecision">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Is this related to AR?</a:t>
            </a:r>
          </a:p>
        </p:txBody>
      </p:sp>
      <p:cxnSp>
        <p:nvCxnSpPr>
          <p:cNvPr id="85" name="Straight Arrow Connector 84"/>
          <p:cNvCxnSpPr>
            <a:stCxn id="72" idx="2"/>
            <a:endCxn id="82" idx="0"/>
          </p:cNvCxnSpPr>
          <p:nvPr/>
        </p:nvCxnSpPr>
        <p:spPr>
          <a:xfrm>
            <a:off x="4109624" y="4299265"/>
            <a:ext cx="0" cy="3166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4109624" y="4262400"/>
            <a:ext cx="391454" cy="25391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50">
                <a:solidFill>
                  <a:srgbClr val="002060"/>
                </a:solidFill>
                <a:latin typeface="Georgia" panose="02040502050405020303"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latin typeface="+mn-lt"/>
                <a:ea typeface="+mn-ea"/>
                <a:cs typeface="+mn-cs"/>
              </a:rPr>
              <a:t>No</a:t>
            </a:r>
          </a:p>
        </p:txBody>
      </p:sp>
      <p:sp>
        <p:nvSpPr>
          <p:cNvPr id="88" name="TextBox 87"/>
          <p:cNvSpPr txBox="1"/>
          <p:nvPr/>
        </p:nvSpPr>
        <p:spPr>
          <a:xfrm>
            <a:off x="4961980" y="4952104"/>
            <a:ext cx="391454" cy="25391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50">
                <a:solidFill>
                  <a:srgbClr val="002060"/>
                </a:solidFill>
                <a:latin typeface="Georgia" panose="02040502050405020303"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latin typeface="+mn-lt"/>
                <a:ea typeface="+mn-ea"/>
                <a:cs typeface="+mn-cs"/>
              </a:rPr>
              <a:t>Yes</a:t>
            </a:r>
          </a:p>
        </p:txBody>
      </p:sp>
      <p:cxnSp>
        <p:nvCxnSpPr>
          <p:cNvPr id="89" name="Straight Arrow Connector 88"/>
          <p:cNvCxnSpPr>
            <a:cxnSpLocks/>
            <a:stCxn id="82" idx="3"/>
            <a:endCxn id="81" idx="1"/>
          </p:cNvCxnSpPr>
          <p:nvPr/>
        </p:nvCxnSpPr>
        <p:spPr>
          <a:xfrm>
            <a:off x="5056492" y="5195958"/>
            <a:ext cx="374284" cy="100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93"/>
          <p:cNvCxnSpPr>
            <a:cxnSpLocks/>
            <a:stCxn id="81" idx="3"/>
            <a:endCxn id="49" idx="2"/>
          </p:cNvCxnSpPr>
          <p:nvPr/>
        </p:nvCxnSpPr>
        <p:spPr>
          <a:xfrm flipV="1">
            <a:off x="7164041" y="5206019"/>
            <a:ext cx="2524481"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7" name="Rounded Rectangle 96"/>
          <p:cNvSpPr/>
          <p:nvPr/>
        </p:nvSpPr>
        <p:spPr>
          <a:xfrm>
            <a:off x="5413608" y="5882281"/>
            <a:ext cx="1733265" cy="686323"/>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AR team books it in xx1 GL Account</a:t>
            </a:r>
          </a:p>
        </p:txBody>
      </p:sp>
      <p:cxnSp>
        <p:nvCxnSpPr>
          <p:cNvPr id="101" name="Elbow Connector 100"/>
          <p:cNvCxnSpPr>
            <a:stCxn id="82" idx="2"/>
            <a:endCxn id="97" idx="1"/>
          </p:cNvCxnSpPr>
          <p:nvPr/>
        </p:nvCxnSpPr>
        <p:spPr>
          <a:xfrm rot="16200000" flipH="1">
            <a:off x="4536888" y="5348723"/>
            <a:ext cx="449456" cy="130398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4092457" y="5938400"/>
            <a:ext cx="391454" cy="25391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050">
                <a:solidFill>
                  <a:srgbClr val="002060"/>
                </a:solidFill>
                <a:latin typeface="Georgia" panose="02040502050405020303"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latin typeface="+mn-lt"/>
                <a:ea typeface="+mn-ea"/>
                <a:cs typeface="+mn-cs"/>
              </a:rPr>
              <a:t>No</a:t>
            </a:r>
          </a:p>
        </p:txBody>
      </p:sp>
      <p:sp>
        <p:nvSpPr>
          <p:cNvPr id="103" name="Rounded Rectangle 102"/>
          <p:cNvSpPr/>
          <p:nvPr/>
        </p:nvSpPr>
        <p:spPr>
          <a:xfrm>
            <a:off x="7633868" y="5882280"/>
            <a:ext cx="1733265" cy="686323"/>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Cash reconciler follow up with respective upstream team for booking. E.g. AP return/refund</a:t>
            </a:r>
          </a:p>
        </p:txBody>
      </p:sp>
      <p:cxnSp>
        <p:nvCxnSpPr>
          <p:cNvPr id="104" name="Straight Arrow Connector 103"/>
          <p:cNvCxnSpPr>
            <a:stCxn id="97" idx="3"/>
            <a:endCxn id="103" idx="1"/>
          </p:cNvCxnSpPr>
          <p:nvPr/>
        </p:nvCxnSpPr>
        <p:spPr>
          <a:xfrm flipV="1">
            <a:off x="7146873" y="6225442"/>
            <a:ext cx="48699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103" idx="0"/>
            <a:endCxn id="57" idx="2"/>
          </p:cNvCxnSpPr>
          <p:nvPr/>
        </p:nvCxnSpPr>
        <p:spPr>
          <a:xfrm flipV="1">
            <a:off x="8500501" y="2343874"/>
            <a:ext cx="6375" cy="35384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Oval 109"/>
          <p:cNvSpPr/>
          <p:nvPr/>
        </p:nvSpPr>
        <p:spPr>
          <a:xfrm>
            <a:off x="9777375" y="1612740"/>
            <a:ext cx="1494643" cy="642087"/>
          </a:xfrm>
          <a:prstGeom prst="ellipse">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END</a:t>
            </a:r>
          </a:p>
        </p:txBody>
      </p:sp>
      <p:cxnSp>
        <p:nvCxnSpPr>
          <p:cNvPr id="113" name="Straight Arrow Connector 112"/>
          <p:cNvCxnSpPr>
            <a:stCxn id="57" idx="3"/>
            <a:endCxn id="110" idx="2"/>
          </p:cNvCxnSpPr>
          <p:nvPr/>
        </p:nvCxnSpPr>
        <p:spPr>
          <a:xfrm>
            <a:off x="9509760" y="1930539"/>
            <a:ext cx="267615" cy="32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47" idx="4"/>
            <a:endCxn id="51" idx="0"/>
          </p:cNvCxnSpPr>
          <p:nvPr/>
        </p:nvCxnSpPr>
        <p:spPr>
          <a:xfrm flipH="1">
            <a:off x="1760558" y="1928606"/>
            <a:ext cx="1" cy="2305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a:stCxn id="51" idx="2"/>
            <a:endCxn id="52" idx="0"/>
          </p:cNvCxnSpPr>
          <p:nvPr/>
        </p:nvCxnSpPr>
        <p:spPr>
          <a:xfrm>
            <a:off x="1760558" y="2729556"/>
            <a:ext cx="0" cy="2305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stCxn id="72" idx="3"/>
            <a:endCxn id="64" idx="1"/>
          </p:cNvCxnSpPr>
          <p:nvPr/>
        </p:nvCxnSpPr>
        <p:spPr>
          <a:xfrm flipV="1">
            <a:off x="5056492" y="3714023"/>
            <a:ext cx="374284" cy="521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6" name="Rounded Rectangle 125"/>
          <p:cNvSpPr/>
          <p:nvPr/>
        </p:nvSpPr>
        <p:spPr>
          <a:xfrm>
            <a:off x="5430776" y="2444971"/>
            <a:ext cx="1733265" cy="686323"/>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Cash reconciler follow up with respective upstream team for booking. E.g. AP, Payroll, IBS</a:t>
            </a:r>
          </a:p>
        </p:txBody>
      </p:sp>
      <p:cxnSp>
        <p:nvCxnSpPr>
          <p:cNvPr id="127" name="Straight Arrow Connector 126"/>
          <p:cNvCxnSpPr>
            <a:stCxn id="64" idx="0"/>
            <a:endCxn id="126" idx="2"/>
          </p:cNvCxnSpPr>
          <p:nvPr/>
        </p:nvCxnSpPr>
        <p:spPr>
          <a:xfrm flipV="1">
            <a:off x="6297409" y="3131294"/>
            <a:ext cx="0" cy="2395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26" idx="3"/>
            <a:endCxn id="57" idx="2"/>
          </p:cNvCxnSpPr>
          <p:nvPr/>
        </p:nvCxnSpPr>
        <p:spPr>
          <a:xfrm flipV="1">
            <a:off x="7164041" y="2343874"/>
            <a:ext cx="1342835" cy="4442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33" name="Rounded Rectangle 132"/>
          <p:cNvSpPr/>
          <p:nvPr/>
        </p:nvSpPr>
        <p:spPr>
          <a:xfrm>
            <a:off x="893925" y="693769"/>
            <a:ext cx="10378093" cy="356364"/>
          </a:xfrm>
          <a:prstGeom prst="roundRect">
            <a:avLst/>
          </a:prstGeom>
          <a:solidFill>
            <a:srgbClr val="002060"/>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ea typeface="+mn-ea"/>
                <a:cs typeface="+mn-cs"/>
              </a:rPr>
              <a:t>DAILY AUTOBANK PROCESS/INTERFACE BY EBS TEAM</a:t>
            </a:r>
          </a:p>
        </p:txBody>
      </p:sp>
      <p:sp>
        <p:nvSpPr>
          <p:cNvPr id="135" name="TextBox 134"/>
          <p:cNvSpPr txBox="1"/>
          <p:nvPr/>
        </p:nvSpPr>
        <p:spPr>
          <a:xfrm>
            <a:off x="9236223" y="1278802"/>
            <a:ext cx="250542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60% TCs (only</a:t>
            </a:r>
            <a:r>
              <a:rPr kumimoji="0" lang="en-US" sz="1200" b="0" i="0" u="none" strike="noStrike" kern="1200" cap="none" spc="0" normalizeH="0" noProof="0" dirty="0">
                <a:ln>
                  <a:noFill/>
                </a:ln>
                <a:solidFill>
                  <a:prstClr val="black"/>
                </a:solidFill>
                <a:effectLst/>
                <a:uLnTx/>
                <a:uFillTx/>
                <a:ea typeface="+mn-ea"/>
                <a:cs typeface="+mn-cs"/>
              </a:rPr>
              <a:t> for Payment Run Rule)</a:t>
            </a: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44" name="Rounded Rectangle 80">
            <a:extLst>
              <a:ext uri="{FF2B5EF4-FFF2-40B4-BE49-F238E27FC236}">
                <a16:creationId xmlns:a16="http://schemas.microsoft.com/office/drawing/2014/main" id="{EEA7D66A-21E6-4E4E-94EF-619C3A6C3FD2}"/>
              </a:ext>
            </a:extLst>
          </p:cNvPr>
          <p:cNvSpPr/>
          <p:nvPr/>
        </p:nvSpPr>
        <p:spPr>
          <a:xfrm>
            <a:off x="5447946" y="4148754"/>
            <a:ext cx="1813188" cy="623113"/>
          </a:xfrm>
          <a:prstGeom prst="roundRect">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AR team books remaining transactions in AR/Customer SL account manually</a:t>
            </a:r>
          </a:p>
        </p:txBody>
      </p:sp>
      <p:cxnSp>
        <p:nvCxnSpPr>
          <p:cNvPr id="48" name="Elbow Connector 32">
            <a:extLst>
              <a:ext uri="{FF2B5EF4-FFF2-40B4-BE49-F238E27FC236}">
                <a16:creationId xmlns:a16="http://schemas.microsoft.com/office/drawing/2014/main" id="{C3F7CBDF-25DE-4A12-9450-D01FEFEEA23A}"/>
              </a:ext>
            </a:extLst>
          </p:cNvPr>
          <p:cNvCxnSpPr>
            <a:cxnSpLocks/>
            <a:stCxn id="88" idx="0"/>
            <a:endCxn id="44" idx="1"/>
          </p:cNvCxnSpPr>
          <p:nvPr/>
        </p:nvCxnSpPr>
        <p:spPr>
          <a:xfrm rot="5400000" flipH="1" flipV="1">
            <a:off x="5056930" y="4561089"/>
            <a:ext cx="491793" cy="29023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FF6C70D-2D3F-4A66-8A23-7487ACB19F42}"/>
              </a:ext>
            </a:extLst>
          </p:cNvPr>
          <p:cNvSpPr txBox="1"/>
          <p:nvPr/>
        </p:nvSpPr>
        <p:spPr>
          <a:xfrm>
            <a:off x="7142076" y="5295013"/>
            <a:ext cx="4956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rPr>
              <a:t>43</a:t>
            </a:r>
            <a:r>
              <a:rPr kumimoji="0" lang="en-US" sz="1400" b="0" i="0" u="none" strike="noStrike" kern="1200" cap="none" spc="0" normalizeH="0" baseline="0" noProof="0" dirty="0">
                <a:ln>
                  <a:noFill/>
                </a:ln>
                <a:solidFill>
                  <a:prstClr val="black"/>
                </a:solidFill>
                <a:effectLst/>
                <a:uLnTx/>
                <a:uFillTx/>
              </a:rPr>
              <a:t>%</a:t>
            </a:r>
          </a:p>
        </p:txBody>
      </p:sp>
      <p:sp>
        <p:nvSpPr>
          <p:cNvPr id="49" name="Oval 48">
            <a:extLst>
              <a:ext uri="{FF2B5EF4-FFF2-40B4-BE49-F238E27FC236}">
                <a16:creationId xmlns:a16="http://schemas.microsoft.com/office/drawing/2014/main" id="{01884922-668D-44FB-9EAB-7B9909EB3421}"/>
              </a:ext>
            </a:extLst>
          </p:cNvPr>
          <p:cNvSpPr/>
          <p:nvPr/>
        </p:nvSpPr>
        <p:spPr>
          <a:xfrm>
            <a:off x="9688522" y="4884975"/>
            <a:ext cx="1494643" cy="642087"/>
          </a:xfrm>
          <a:prstGeom prst="ellipse">
            <a:avLst/>
          </a:prstGeom>
          <a:no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60"/>
                </a:solidFill>
                <a:effectLst/>
                <a:uLnTx/>
                <a:uFillTx/>
                <a:ea typeface="+mn-ea"/>
                <a:cs typeface="+mn-cs"/>
              </a:rPr>
              <a:t>END</a:t>
            </a:r>
          </a:p>
        </p:txBody>
      </p:sp>
      <p:cxnSp>
        <p:nvCxnSpPr>
          <p:cNvPr id="60" name="Elbow Connector 129">
            <a:extLst>
              <a:ext uri="{FF2B5EF4-FFF2-40B4-BE49-F238E27FC236}">
                <a16:creationId xmlns:a16="http://schemas.microsoft.com/office/drawing/2014/main" id="{70767A97-D9CF-426B-8ACE-4D902A3B4A93}"/>
              </a:ext>
            </a:extLst>
          </p:cNvPr>
          <p:cNvCxnSpPr>
            <a:cxnSpLocks/>
            <a:stCxn id="44" idx="3"/>
            <a:endCxn id="49" idx="2"/>
          </p:cNvCxnSpPr>
          <p:nvPr/>
        </p:nvCxnSpPr>
        <p:spPr>
          <a:xfrm>
            <a:off x="7261134" y="4460311"/>
            <a:ext cx="2427388" cy="745708"/>
          </a:xfrm>
          <a:prstGeom prst="bentConnector3">
            <a:avLst>
              <a:gd name="adj1" fmla="val 27398"/>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4624052" y="1305265"/>
            <a:ext cx="787203" cy="276999"/>
          </a:xfrm>
          <a:prstGeom prst="rect">
            <a:avLst/>
          </a:prstGeom>
          <a:noFill/>
          <a:ln w="28575">
            <a:solidFill>
              <a:schemeClr val="accent2">
                <a:lumMod val="75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Avg. 61</a:t>
            </a:r>
            <a:r>
              <a:rPr kumimoji="0" lang="en-US" sz="1200" b="0" i="0" u="none" strike="noStrike" kern="1200" cap="none" spc="0" normalizeH="0" baseline="0" noProof="0" dirty="0">
                <a:ln>
                  <a:noFill/>
                </a:ln>
                <a:solidFill>
                  <a:prstClr val="black"/>
                </a:solidFill>
                <a:effectLst/>
                <a:uLnTx/>
                <a:uFillTx/>
              </a:rPr>
              <a:t>% </a:t>
            </a:r>
          </a:p>
        </p:txBody>
      </p:sp>
      <p:sp>
        <p:nvSpPr>
          <p:cNvPr id="53" name="TextBox 52"/>
          <p:cNvSpPr txBox="1"/>
          <p:nvPr/>
        </p:nvSpPr>
        <p:spPr>
          <a:xfrm>
            <a:off x="978742" y="5664345"/>
            <a:ext cx="1319528" cy="276999"/>
          </a:xfrm>
          <a:prstGeom prst="rect">
            <a:avLst/>
          </a:prstGeom>
          <a:noFill/>
          <a:ln w="28575">
            <a:solidFill>
              <a:schemeClr val="accent2">
                <a:lumMod val="75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Basis Sample Data</a:t>
            </a:r>
            <a:endParaRPr kumimoji="0" lang="en-US" sz="1200" b="0" i="0" u="none" strike="noStrike" kern="120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61118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717948D3-4001-4BF5-9EA0-E1C489914C92}"/>
              </a:ext>
            </a:extLst>
          </p:cNvPr>
          <p:cNvSpPr txBox="1">
            <a:spLocks/>
          </p:cNvSpPr>
          <p:nvPr/>
        </p:nvSpPr>
        <p:spPr>
          <a:xfrm>
            <a:off x="0" y="89604"/>
            <a:ext cx="7235456" cy="533400"/>
          </a:xfrm>
          <a:prstGeom prst="rect">
            <a:avLst/>
          </a:prstGeom>
        </p:spPr>
        <p:txBody>
          <a:bodyPr vert="horz" lIns="91440" tIns="45720" rIns="91440" bIns="45720" rtlCol="0" anchor="ctr">
            <a:normAutofit/>
          </a:bodyPr>
          <a:lstStyle>
            <a:defPPr>
              <a:defRPr lang="en-US"/>
            </a:defPPr>
            <a:lvl1pPr indent="0">
              <a:lnSpc>
                <a:spcPct val="90000"/>
              </a:lnSpc>
              <a:spcBef>
                <a:spcPts val="1000"/>
              </a:spcBef>
              <a:buFont typeface="Arial" panose="020B0604020202020204" pitchFamily="34" charset="0"/>
              <a:buNone/>
              <a:defRPr sz="2400" b="1">
                <a:solidFill>
                  <a:srgbClr val="063161"/>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Bowler (Illustrative)</a:t>
            </a:r>
          </a:p>
        </p:txBody>
      </p:sp>
      <p:graphicFrame>
        <p:nvGraphicFramePr>
          <p:cNvPr id="4" name="Table 3">
            <a:extLst>
              <a:ext uri="{FF2B5EF4-FFF2-40B4-BE49-F238E27FC236}">
                <a16:creationId xmlns:a16="http://schemas.microsoft.com/office/drawing/2014/main" id="{1E63B113-B6FC-44EB-A27B-97D281757A30}"/>
              </a:ext>
            </a:extLst>
          </p:cNvPr>
          <p:cNvGraphicFramePr>
            <a:graphicFrameLocks noGrp="1"/>
          </p:cNvGraphicFramePr>
          <p:nvPr/>
        </p:nvGraphicFramePr>
        <p:xfrm>
          <a:off x="333079" y="1315294"/>
          <a:ext cx="10229824" cy="4495017"/>
        </p:xfrm>
        <a:graphic>
          <a:graphicData uri="http://schemas.openxmlformats.org/drawingml/2006/table">
            <a:tbl>
              <a:tblPr/>
              <a:tblGrid>
                <a:gridCol w="1215651">
                  <a:extLst>
                    <a:ext uri="{9D8B030D-6E8A-4147-A177-3AD203B41FA5}">
                      <a16:colId xmlns:a16="http://schemas.microsoft.com/office/drawing/2014/main" val="3195281799"/>
                    </a:ext>
                  </a:extLst>
                </a:gridCol>
                <a:gridCol w="733978">
                  <a:extLst>
                    <a:ext uri="{9D8B030D-6E8A-4147-A177-3AD203B41FA5}">
                      <a16:colId xmlns:a16="http://schemas.microsoft.com/office/drawing/2014/main" val="3170253068"/>
                    </a:ext>
                  </a:extLst>
                </a:gridCol>
                <a:gridCol w="940410">
                  <a:extLst>
                    <a:ext uri="{9D8B030D-6E8A-4147-A177-3AD203B41FA5}">
                      <a16:colId xmlns:a16="http://schemas.microsoft.com/office/drawing/2014/main" val="1568112411"/>
                    </a:ext>
                  </a:extLst>
                </a:gridCol>
                <a:gridCol w="489319">
                  <a:extLst>
                    <a:ext uri="{9D8B030D-6E8A-4147-A177-3AD203B41FA5}">
                      <a16:colId xmlns:a16="http://schemas.microsoft.com/office/drawing/2014/main" val="107070264"/>
                    </a:ext>
                  </a:extLst>
                </a:gridCol>
                <a:gridCol w="489319">
                  <a:extLst>
                    <a:ext uri="{9D8B030D-6E8A-4147-A177-3AD203B41FA5}">
                      <a16:colId xmlns:a16="http://schemas.microsoft.com/office/drawing/2014/main" val="1299904028"/>
                    </a:ext>
                  </a:extLst>
                </a:gridCol>
                <a:gridCol w="489319">
                  <a:extLst>
                    <a:ext uri="{9D8B030D-6E8A-4147-A177-3AD203B41FA5}">
                      <a16:colId xmlns:a16="http://schemas.microsoft.com/office/drawing/2014/main" val="1837103359"/>
                    </a:ext>
                  </a:extLst>
                </a:gridCol>
                <a:gridCol w="489319">
                  <a:extLst>
                    <a:ext uri="{9D8B030D-6E8A-4147-A177-3AD203B41FA5}">
                      <a16:colId xmlns:a16="http://schemas.microsoft.com/office/drawing/2014/main" val="1666748455"/>
                    </a:ext>
                  </a:extLst>
                </a:gridCol>
                <a:gridCol w="489319">
                  <a:extLst>
                    <a:ext uri="{9D8B030D-6E8A-4147-A177-3AD203B41FA5}">
                      <a16:colId xmlns:a16="http://schemas.microsoft.com/office/drawing/2014/main" val="209992918"/>
                    </a:ext>
                  </a:extLst>
                </a:gridCol>
                <a:gridCol w="489319">
                  <a:extLst>
                    <a:ext uri="{9D8B030D-6E8A-4147-A177-3AD203B41FA5}">
                      <a16:colId xmlns:a16="http://schemas.microsoft.com/office/drawing/2014/main" val="1368476813"/>
                    </a:ext>
                  </a:extLst>
                </a:gridCol>
                <a:gridCol w="489319">
                  <a:extLst>
                    <a:ext uri="{9D8B030D-6E8A-4147-A177-3AD203B41FA5}">
                      <a16:colId xmlns:a16="http://schemas.microsoft.com/office/drawing/2014/main" val="3943717495"/>
                    </a:ext>
                  </a:extLst>
                </a:gridCol>
                <a:gridCol w="489319">
                  <a:extLst>
                    <a:ext uri="{9D8B030D-6E8A-4147-A177-3AD203B41FA5}">
                      <a16:colId xmlns:a16="http://schemas.microsoft.com/office/drawing/2014/main" val="118224093"/>
                    </a:ext>
                  </a:extLst>
                </a:gridCol>
                <a:gridCol w="489319">
                  <a:extLst>
                    <a:ext uri="{9D8B030D-6E8A-4147-A177-3AD203B41FA5}">
                      <a16:colId xmlns:a16="http://schemas.microsoft.com/office/drawing/2014/main" val="1993682032"/>
                    </a:ext>
                  </a:extLst>
                </a:gridCol>
                <a:gridCol w="489319">
                  <a:extLst>
                    <a:ext uri="{9D8B030D-6E8A-4147-A177-3AD203B41FA5}">
                      <a16:colId xmlns:a16="http://schemas.microsoft.com/office/drawing/2014/main" val="3341937663"/>
                    </a:ext>
                  </a:extLst>
                </a:gridCol>
                <a:gridCol w="489319">
                  <a:extLst>
                    <a:ext uri="{9D8B030D-6E8A-4147-A177-3AD203B41FA5}">
                      <a16:colId xmlns:a16="http://schemas.microsoft.com/office/drawing/2014/main" val="672067338"/>
                    </a:ext>
                  </a:extLst>
                </a:gridCol>
                <a:gridCol w="489319">
                  <a:extLst>
                    <a:ext uri="{9D8B030D-6E8A-4147-A177-3AD203B41FA5}">
                      <a16:colId xmlns:a16="http://schemas.microsoft.com/office/drawing/2014/main" val="1056884208"/>
                    </a:ext>
                  </a:extLst>
                </a:gridCol>
                <a:gridCol w="489319">
                  <a:extLst>
                    <a:ext uri="{9D8B030D-6E8A-4147-A177-3AD203B41FA5}">
                      <a16:colId xmlns:a16="http://schemas.microsoft.com/office/drawing/2014/main" val="1197282849"/>
                    </a:ext>
                  </a:extLst>
                </a:gridCol>
                <a:gridCol w="489319">
                  <a:extLst>
                    <a:ext uri="{9D8B030D-6E8A-4147-A177-3AD203B41FA5}">
                      <a16:colId xmlns:a16="http://schemas.microsoft.com/office/drawing/2014/main" val="4115088444"/>
                    </a:ext>
                  </a:extLst>
                </a:gridCol>
                <a:gridCol w="489319">
                  <a:extLst>
                    <a:ext uri="{9D8B030D-6E8A-4147-A177-3AD203B41FA5}">
                      <a16:colId xmlns:a16="http://schemas.microsoft.com/office/drawing/2014/main" val="1804574746"/>
                    </a:ext>
                  </a:extLst>
                </a:gridCol>
              </a:tblGrid>
              <a:tr h="243621">
                <a:tc rowSpan="2">
                  <a:txBody>
                    <a:bodyPr/>
                    <a:lstStyle/>
                    <a:p>
                      <a:pPr algn="ctr" fontAlgn="ctr"/>
                      <a:r>
                        <a:rPr lang="en-GB" sz="1050" b="1" i="0" u="none" strike="noStrike" dirty="0">
                          <a:solidFill>
                            <a:srgbClr val="000000"/>
                          </a:solidFill>
                          <a:effectLst/>
                          <a:latin typeface="Calibri" panose="020F0502020204030204" pitchFamily="34" charset="0"/>
                        </a:rPr>
                        <a:t>Objective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rowSpan="2">
                  <a:txBody>
                    <a:bodyPr/>
                    <a:lstStyle/>
                    <a:p>
                      <a:pPr algn="ctr" fontAlgn="ctr"/>
                      <a:r>
                        <a:rPr lang="en-GB" sz="1050" b="1" i="0" u="none" strike="noStrike">
                          <a:solidFill>
                            <a:srgbClr val="000000"/>
                          </a:solidFill>
                          <a:effectLst/>
                          <a:latin typeface="Calibri" panose="020F0502020204030204" pitchFamily="34" charset="0"/>
                        </a:rPr>
                        <a:t>Target to  Impro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GB"/>
                    </a:p>
                  </a:txBody>
                  <a:tcPr/>
                </a:tc>
                <a:tc gridSpan="12">
                  <a:txBody>
                    <a:bodyPr/>
                    <a:lstStyle/>
                    <a:p>
                      <a:pPr algn="ctr" fontAlgn="ctr"/>
                      <a:r>
                        <a:rPr lang="en-GB" sz="105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endParaRPr lang="en-GB" sz="105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endParaRPr lang="en-GB" sz="105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710068578"/>
                  </a:ext>
                </a:extLst>
              </a:tr>
              <a:tr h="169181">
                <a:tc vMerge="1">
                  <a:txBody>
                    <a:bodyPr/>
                    <a:lstStyle/>
                    <a:p>
                      <a:endParaRPr lang="en-GB"/>
                    </a:p>
                  </a:txBody>
                  <a:tcPr/>
                </a:tc>
                <a:tc vMerge="1">
                  <a:txBody>
                    <a:bodyPr/>
                    <a:lstStyle/>
                    <a:p>
                      <a:endParaRPr lang="en-GB"/>
                    </a:p>
                  </a:txBody>
                  <a:tcPr/>
                </a:tc>
                <a:tc>
                  <a:txBody>
                    <a:bodyPr/>
                    <a:lstStyle/>
                    <a:p>
                      <a:pPr algn="l" fontAlgn="ctr"/>
                      <a:r>
                        <a:rPr lang="en-GB" sz="1050" b="1" i="0" u="none" strike="noStrike">
                          <a:solidFill>
                            <a:srgbClr val="000000"/>
                          </a:solidFill>
                          <a:effectLst/>
                          <a:latin typeface="Calibri" panose="020F0502020204030204" pitchFamily="34" charset="0"/>
                        </a:rPr>
                        <a:t>Targ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Mont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Ja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Fe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M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Ma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Ju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Ju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Au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Se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Oc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a:solidFill>
                            <a:srgbClr val="000000"/>
                          </a:solidFill>
                          <a:effectLst/>
                          <a:latin typeface="Calibri" panose="020F0502020204030204" pitchFamily="34" charset="0"/>
                        </a:rPr>
                        <a:t>No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GB" sz="1050" b="1" i="0" u="none" strike="noStrike" dirty="0">
                          <a:solidFill>
                            <a:srgbClr val="000000"/>
                          </a:solidFill>
                          <a:effectLst/>
                          <a:latin typeface="Calibri" panose="020F0502020204030204" pitchFamily="34" charset="0"/>
                        </a:rPr>
                        <a:t>De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de-DE" sz="1050" b="1" i="0" u="none" strike="noStrike" dirty="0">
                          <a:solidFill>
                            <a:srgbClr val="000000"/>
                          </a:solidFill>
                          <a:effectLst/>
                          <a:latin typeface="Calibri" panose="020F0502020204030204" pitchFamily="34" charset="0"/>
                        </a:rPr>
                        <a:t>2022</a:t>
                      </a:r>
                      <a:endParaRPr lang="en-GB" sz="105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de-DE" sz="1050" b="1" i="0" u="none" strike="noStrike" dirty="0">
                          <a:solidFill>
                            <a:srgbClr val="000000"/>
                          </a:solidFill>
                          <a:effectLst/>
                          <a:latin typeface="Calibri" panose="020F0502020204030204" pitchFamily="34" charset="0"/>
                        </a:rPr>
                        <a:t>2023</a:t>
                      </a:r>
                      <a:endParaRPr lang="en-GB" sz="105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905101989"/>
                  </a:ext>
                </a:extLst>
              </a:tr>
              <a:tr h="243621">
                <a:tc rowSpan="3">
                  <a:txBody>
                    <a:bodyPr/>
                    <a:lstStyle/>
                    <a:p>
                      <a:pPr algn="l" fontAlgn="ctr"/>
                      <a:r>
                        <a:rPr lang="en-GB" sz="1050" b="1" i="0" u="none" strike="noStrike" dirty="0">
                          <a:solidFill>
                            <a:srgbClr val="000000"/>
                          </a:solidFill>
                          <a:effectLst/>
                          <a:latin typeface="Calibri" panose="020F0502020204030204" pitchFamily="34" charset="0"/>
                        </a:rPr>
                        <a:t>Zero Unreconciled accoun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GB" sz="1050" b="1" i="0" u="none" strike="noStrike" dirty="0">
                          <a:solidFill>
                            <a:srgbClr val="000000"/>
                          </a:solidFill>
                          <a:effectLst/>
                          <a:latin typeface="Calibri" panose="020F0502020204030204" pitchFamily="34" charset="0"/>
                        </a:rPr>
                        <a:t>100% reconciled accoun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GB" sz="1050" b="1" i="0" u="none" strike="noStrike">
                          <a:solidFill>
                            <a:srgbClr val="000000"/>
                          </a:solidFill>
                          <a:effectLst/>
                          <a:latin typeface="Calibri" panose="020F0502020204030204" pitchFamily="34" charset="0"/>
                        </a:rPr>
                        <a:t>0 Unrec</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Calibri" panose="020F0502020204030204" pitchFamily="34" charset="0"/>
                        </a:rPr>
                        <a:t>P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r" fontAlgn="ctr"/>
                      <a:r>
                        <a:rPr lang="en-GB" sz="1050" b="0" i="0" u="none" strike="noStrike">
                          <a:solidFill>
                            <a:srgbClr val="000000"/>
                          </a:solidFill>
                          <a:effectLst/>
                          <a:latin typeface="Calibri" panose="020F0502020204030204" pitchFamily="34" charset="0"/>
                        </a:rPr>
                        <a:t>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r" fontAlgn="ctr"/>
                      <a:r>
                        <a:rPr lang="en-GB" sz="1050" b="0"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r" fontAlgn="ctr"/>
                      <a:r>
                        <a:rPr lang="en-GB" sz="1050" b="0" i="0" u="none" strike="noStrike">
                          <a:solidFill>
                            <a:srgbClr val="000000"/>
                          </a:solidFill>
                          <a:effectLst/>
                          <a:latin typeface="Calibri" panose="020F0502020204030204" pitchFamily="34" charset="0"/>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extLst>
                  <a:ext uri="{0D108BD9-81ED-4DB2-BD59-A6C34878D82A}">
                    <a16:rowId xmlns:a16="http://schemas.microsoft.com/office/drawing/2014/main" val="4121768624"/>
                  </a:ext>
                </a:extLst>
              </a:tr>
              <a:tr h="16918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Pla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604672946"/>
                  </a:ext>
                </a:extLst>
              </a:tr>
              <a:tr h="24362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Actu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9899915"/>
                  </a:ext>
                </a:extLst>
              </a:tr>
              <a:tr h="243621">
                <a:tc rowSpan="3">
                  <a:txBody>
                    <a:bodyPr/>
                    <a:lstStyle/>
                    <a:p>
                      <a:pPr algn="l" fontAlgn="ctr"/>
                      <a:r>
                        <a:rPr lang="en-US" sz="1050" b="1" i="0" u="none" strike="noStrike" dirty="0">
                          <a:solidFill>
                            <a:srgbClr val="000000"/>
                          </a:solidFill>
                          <a:effectLst/>
                          <a:latin typeface="Calibri" panose="020F0502020204030204" pitchFamily="34" charset="0"/>
                        </a:rPr>
                        <a:t>Reduction in OI - No OI &gt;15 Day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US" sz="1050" b="1" i="0" u="none" strike="noStrike" dirty="0">
                          <a:solidFill>
                            <a:srgbClr val="000000"/>
                          </a:solidFill>
                          <a:effectLst/>
                          <a:latin typeface="Calibri" panose="020F0502020204030204" pitchFamily="34" charset="0"/>
                        </a:rPr>
                        <a:t>Moving from &gt;365 to under 15 day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GB" sz="1050" b="1" i="0" u="none" strike="noStrike" dirty="0">
                          <a:solidFill>
                            <a:srgbClr val="000000"/>
                          </a:solidFill>
                          <a:effectLst/>
                          <a:latin typeface="Calibri" panose="020F0502020204030204" pitchFamily="34" charset="0"/>
                        </a:rPr>
                        <a:t>Open items &lt;15 days</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Calibri" panose="020F0502020204030204" pitchFamily="34" charset="0"/>
                        </a:rPr>
                        <a:t>P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Calibri" panose="020F0502020204030204" pitchFamily="34" charset="0"/>
                        </a:rPr>
                        <a:t>&gt;3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Calibri" panose="020F0502020204030204" pitchFamily="34" charset="0"/>
                        </a:rPr>
                        <a:t>&gt;3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Calibri" panose="020F0502020204030204" pitchFamily="34" charset="0"/>
                        </a:rPr>
                        <a:t>&gt;3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extLst>
                  <a:ext uri="{0D108BD9-81ED-4DB2-BD59-A6C34878D82A}">
                    <a16:rowId xmlns:a16="http://schemas.microsoft.com/office/drawing/2014/main" val="718443016"/>
                  </a:ext>
                </a:extLst>
              </a:tr>
              <a:tr h="16918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Pla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84147616"/>
                  </a:ext>
                </a:extLst>
              </a:tr>
              <a:tr h="24362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dirty="0">
                          <a:solidFill>
                            <a:srgbClr val="000000"/>
                          </a:solidFill>
                          <a:effectLst/>
                          <a:latin typeface="Calibri" panose="020F0502020204030204" pitchFamily="34" charset="0"/>
                        </a:rPr>
                        <a:t>Actu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2610100"/>
                  </a:ext>
                </a:extLst>
              </a:tr>
              <a:tr h="243621">
                <a:tc rowSpan="3">
                  <a:txBody>
                    <a:bodyPr/>
                    <a:lstStyle/>
                    <a:p>
                      <a:pPr algn="l" fontAlgn="ctr"/>
                      <a:r>
                        <a:rPr lang="en-GB" sz="1050" b="1" i="0" u="none" strike="noStrike" dirty="0">
                          <a:solidFill>
                            <a:srgbClr val="000000"/>
                          </a:solidFill>
                          <a:effectLst/>
                          <a:latin typeface="Calibri" panose="020F0502020204030204" pitchFamily="34" charset="0"/>
                        </a:rPr>
                        <a:t>Auto-booking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US" sz="1050" b="1" i="0" u="none" strike="noStrike" dirty="0">
                          <a:solidFill>
                            <a:srgbClr val="000000"/>
                          </a:solidFill>
                          <a:effectLst/>
                          <a:latin typeface="Calibri" panose="020F0502020204030204" pitchFamily="34" charset="0"/>
                        </a:rPr>
                        <a:t>Moving from 52% to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GB" sz="1050" b="1" i="0" u="none" strike="noStrike" dirty="0">
                          <a:solidFill>
                            <a:srgbClr val="000000"/>
                          </a:solidFill>
                          <a:effectLst/>
                          <a:latin typeface="Calibri" panose="020F0502020204030204" pitchFamily="34" charset="0"/>
                        </a:rPr>
                        <a:t>95%</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Calibri" panose="020F0502020204030204" pitchFamily="34" charset="0"/>
                        </a:rPr>
                        <a:t>P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8">
                  <a:txBody>
                    <a:bodyPr/>
                    <a:lstStyle/>
                    <a:p>
                      <a:pPr algn="l" fontAlgn="ctr"/>
                      <a:r>
                        <a:rPr lang="en-GB" sz="1050" b="0" i="0" u="none" strike="noStrike">
                          <a:solidFill>
                            <a:srgbClr val="FFFFFF"/>
                          </a:solidFill>
                          <a:effectLst/>
                          <a:latin typeface="Calibri" panose="020F0502020204030204" pitchFamily="34" charset="0"/>
                        </a:rPr>
                        <a:t>No Track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r" fontAlgn="ctr"/>
                      <a:r>
                        <a:rPr lang="en-GB" sz="1050" b="0" i="0" u="none" strike="noStrike">
                          <a:solidFill>
                            <a:srgbClr val="000000"/>
                          </a:solidFill>
                          <a:effectLst/>
                          <a:latin typeface="Calibri" panose="020F0502020204030204" pitchFamily="34" charset="0"/>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extLst>
                  <a:ext uri="{0D108BD9-81ED-4DB2-BD59-A6C34878D82A}">
                    <a16:rowId xmlns:a16="http://schemas.microsoft.com/office/drawing/2014/main" val="2119866729"/>
                  </a:ext>
                </a:extLst>
              </a:tr>
              <a:tr h="16918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Pla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553209774"/>
                  </a:ext>
                </a:extLst>
              </a:tr>
              <a:tr h="24362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Actu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3923869"/>
                  </a:ext>
                </a:extLst>
              </a:tr>
              <a:tr h="243621">
                <a:tc rowSpan="3">
                  <a:txBody>
                    <a:bodyPr/>
                    <a:lstStyle/>
                    <a:p>
                      <a:pPr algn="l" fontAlgn="ctr"/>
                      <a:r>
                        <a:rPr lang="en-GB" sz="1050" b="1" i="0" u="none" strike="noStrike" dirty="0">
                          <a:solidFill>
                            <a:srgbClr val="000000"/>
                          </a:solidFill>
                          <a:effectLst/>
                          <a:latin typeface="Calibri" panose="020F0502020204030204" pitchFamily="34" charset="0"/>
                        </a:rPr>
                        <a:t>Auto-matching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US" sz="1050" b="1" i="0" u="none" strike="noStrike" dirty="0">
                          <a:solidFill>
                            <a:srgbClr val="000000"/>
                          </a:solidFill>
                          <a:effectLst/>
                          <a:latin typeface="Calibri" panose="020F0502020204030204" pitchFamily="34" charset="0"/>
                        </a:rPr>
                        <a:t>Moving from ~20% to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GB" sz="1050" b="1" i="0" u="none" strike="noStrike" dirty="0">
                          <a:solidFill>
                            <a:srgbClr val="000000"/>
                          </a:solidFill>
                          <a:effectLst/>
                          <a:latin typeface="Calibri" panose="020F0502020204030204" pitchFamily="34" charset="0"/>
                        </a:rPr>
                        <a:t>95%</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Calibri" panose="020F0502020204030204" pitchFamily="34" charset="0"/>
                        </a:rPr>
                        <a:t>P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8">
                  <a:txBody>
                    <a:bodyPr/>
                    <a:lstStyle/>
                    <a:p>
                      <a:pPr algn="l" fontAlgn="ctr"/>
                      <a:r>
                        <a:rPr lang="en-GB" sz="1050" b="0" i="0" u="none" strike="noStrike" dirty="0">
                          <a:solidFill>
                            <a:srgbClr val="FFFFFF"/>
                          </a:solidFill>
                          <a:effectLst/>
                          <a:latin typeface="Calibri" panose="020F0502020204030204" pitchFamily="34" charset="0"/>
                        </a:rPr>
                        <a:t>No Track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r" fontAlgn="ctr"/>
                      <a:r>
                        <a:rPr lang="en-GB" sz="1050" b="0" i="0" u="none" strike="noStrike">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extLst>
                  <a:ext uri="{0D108BD9-81ED-4DB2-BD59-A6C34878D82A}">
                    <a16:rowId xmlns:a16="http://schemas.microsoft.com/office/drawing/2014/main" val="2921792907"/>
                  </a:ext>
                </a:extLst>
              </a:tr>
              <a:tr h="16918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dirty="0">
                          <a:solidFill>
                            <a:srgbClr val="000000"/>
                          </a:solidFill>
                          <a:effectLst/>
                          <a:latin typeface="Calibri" panose="020F0502020204030204" pitchFamily="34" charset="0"/>
                        </a:rPr>
                        <a:t>Pla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214327261"/>
                  </a:ext>
                </a:extLst>
              </a:tr>
              <a:tr h="24362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Actu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8249230"/>
                  </a:ext>
                </a:extLst>
              </a:tr>
              <a:tr h="243621">
                <a:tc rowSpan="3">
                  <a:txBody>
                    <a:bodyPr/>
                    <a:lstStyle/>
                    <a:p>
                      <a:pPr algn="l" fontAlgn="ctr"/>
                      <a:r>
                        <a:rPr lang="en-GB" sz="1050" b="1" i="0" u="none" strike="noStrike" dirty="0">
                          <a:solidFill>
                            <a:srgbClr val="000000"/>
                          </a:solidFill>
                          <a:effectLst/>
                          <a:latin typeface="Calibri" panose="020F0502020204030204" pitchFamily="34" charset="0"/>
                        </a:rPr>
                        <a:t>Auto OI Categorization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US" sz="1050" b="1" i="0" u="none" strike="noStrike" dirty="0">
                          <a:solidFill>
                            <a:srgbClr val="000000"/>
                          </a:solidFill>
                          <a:effectLst/>
                          <a:latin typeface="Calibri" panose="020F0502020204030204" pitchFamily="34" charset="0"/>
                        </a:rPr>
                        <a:t>Moving from 7%  to 90% OI categoriza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GB" sz="1050" b="1" i="0" u="none" strike="noStrike" dirty="0">
                          <a:solidFill>
                            <a:srgbClr val="000000"/>
                          </a:solidFill>
                          <a:effectLst/>
                          <a:latin typeface="Calibri" panose="020F0502020204030204" pitchFamily="34" charset="0"/>
                        </a:rPr>
                        <a:t>90%</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Calibri" panose="020F0502020204030204" pitchFamily="34" charset="0"/>
                        </a:rPr>
                        <a:t>P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r" fontAlgn="ctr"/>
                      <a:r>
                        <a:rPr lang="en-GB" sz="1050" b="0" i="0" u="none" strike="noStrike">
                          <a:solidFill>
                            <a:srgbClr val="000000"/>
                          </a:solidFill>
                          <a:effectLst/>
                          <a:latin typeface="Calibri" panose="020F050202020403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extLst>
                  <a:ext uri="{0D108BD9-81ED-4DB2-BD59-A6C34878D82A}">
                    <a16:rowId xmlns:a16="http://schemas.microsoft.com/office/drawing/2014/main" val="3253522576"/>
                  </a:ext>
                </a:extLst>
              </a:tr>
              <a:tr h="16918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Pla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943430012"/>
                  </a:ext>
                </a:extLst>
              </a:tr>
              <a:tr h="24362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Actu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1534869"/>
                  </a:ext>
                </a:extLst>
              </a:tr>
              <a:tr h="243621">
                <a:tc rowSpan="3">
                  <a:txBody>
                    <a:bodyPr/>
                    <a:lstStyle/>
                    <a:p>
                      <a:pPr algn="l" fontAlgn="ctr"/>
                      <a:r>
                        <a:rPr lang="en-US" sz="1050" b="1" i="0" u="none" strike="noStrike">
                          <a:solidFill>
                            <a:srgbClr val="000000"/>
                          </a:solidFill>
                          <a:effectLst/>
                          <a:latin typeface="Calibri" panose="020F0502020204030204" pitchFamily="34" charset="0"/>
                        </a:rPr>
                        <a:t>Automated reconciliation -ATM to ARM / BOT solu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US" sz="1050" b="1" i="0" u="none" strike="noStrike">
                          <a:solidFill>
                            <a:srgbClr val="000000"/>
                          </a:solidFill>
                          <a:effectLst/>
                          <a:latin typeface="Calibri" panose="020F0502020204030204" pitchFamily="34" charset="0"/>
                        </a:rPr>
                        <a:t>Moving from 40% to 100% auto rec of cash proc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US" sz="1050" b="1" i="0" u="none" strike="noStrike">
                          <a:solidFill>
                            <a:srgbClr val="000000"/>
                          </a:solidFill>
                          <a:effectLst/>
                          <a:latin typeface="Calibri" panose="020F0502020204030204" pitchFamily="34" charset="0"/>
                        </a:rPr>
                        <a:t>100% Auto rec of Cash process</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Calibri" panose="020F0502020204030204" pitchFamily="34" charset="0"/>
                        </a:rPr>
                        <a:t>P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r" fontAlgn="ctr"/>
                      <a:r>
                        <a:rPr lang="en-GB" sz="1050" b="0" i="0" u="none" strike="noStrike">
                          <a:solidFill>
                            <a:srgbClr val="000000"/>
                          </a:solidFill>
                          <a:effectLst/>
                          <a:latin typeface="Calibri" panose="020F0502020204030204" pitchFamily="34" charset="0"/>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r" fontAlgn="ctr"/>
                      <a:r>
                        <a:rPr lang="en-GB" sz="1050" b="0" i="0" u="none" strike="noStrike">
                          <a:solidFill>
                            <a:srgbClr val="000000"/>
                          </a:solidFill>
                          <a:effectLst/>
                          <a:latin typeface="Calibri" panose="020F0502020204030204" pitchFamily="34" charset="0"/>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r" fontAlgn="ctr"/>
                      <a:r>
                        <a:rPr lang="en-GB" sz="1050" b="0" i="0" u="none" strike="noStrike">
                          <a:solidFill>
                            <a:srgbClr val="000000"/>
                          </a:solidFill>
                          <a:effectLst/>
                          <a:latin typeface="Calibri" panose="020F050202020403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FF33"/>
                    </a:solidFill>
                  </a:tcPr>
                </a:tc>
                <a:extLst>
                  <a:ext uri="{0D108BD9-81ED-4DB2-BD59-A6C34878D82A}">
                    <a16:rowId xmlns:a16="http://schemas.microsoft.com/office/drawing/2014/main" val="1115405112"/>
                  </a:ext>
                </a:extLst>
              </a:tr>
              <a:tr h="16918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Pla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endParaRPr lang="en-GB" sz="105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638342806"/>
                  </a:ext>
                </a:extLst>
              </a:tr>
              <a:tr h="243621">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1050" b="0" i="0" u="none" strike="noStrike">
                          <a:solidFill>
                            <a:srgbClr val="000000"/>
                          </a:solidFill>
                          <a:effectLst/>
                          <a:latin typeface="Calibri" panose="020F0502020204030204" pitchFamily="34" charset="0"/>
                        </a:rPr>
                        <a:t>Actu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50" b="0" i="0" u="none" strike="noStrike" dirty="0">
                          <a:solidFill>
                            <a:srgbClr val="000000"/>
                          </a:solidFill>
                          <a:effectLst/>
                          <a:latin typeface="Arial" panose="020B0604020202020204" pitchFamily="34" charset="0"/>
                        </a:rPr>
                        <a:t> </a:t>
                      </a: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GB" sz="1050" b="0" i="0" u="none" strike="noStrike" dirty="0">
                        <a:solidFill>
                          <a:srgbClr val="000000"/>
                        </a:solidFill>
                        <a:effectLst/>
                        <a:latin typeface="Arial" panose="020B0604020202020204" pitchFamily="34" charset="0"/>
                      </a:endParaRPr>
                    </a:p>
                  </a:txBody>
                  <a:tcPr marL="76131"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1304121"/>
                  </a:ext>
                </a:extLst>
              </a:tr>
            </a:tbl>
          </a:graphicData>
        </a:graphic>
      </p:graphicFrame>
      <p:sp>
        <p:nvSpPr>
          <p:cNvPr id="7" name="Rectangle 6">
            <a:extLst>
              <a:ext uri="{FF2B5EF4-FFF2-40B4-BE49-F238E27FC236}">
                <a16:creationId xmlns:a16="http://schemas.microsoft.com/office/drawing/2014/main" id="{9B723651-0253-492B-AF98-5D573D12B51A}"/>
              </a:ext>
            </a:extLst>
          </p:cNvPr>
          <p:cNvSpPr/>
          <p:nvPr/>
        </p:nvSpPr>
        <p:spPr>
          <a:xfrm>
            <a:off x="180252" y="670692"/>
            <a:ext cx="10535478" cy="584775"/>
          </a:xfrm>
          <a:prstGeom prst="rect">
            <a:avLst/>
          </a:prstGeom>
        </p:spPr>
        <p:txBody>
          <a:bodyPr wrap="square">
            <a:spAutoFit/>
          </a:bodyPr>
          <a:lstStyle/>
          <a:p>
            <a:pPr marL="342900" lvl="0" indent="-342900">
              <a:buFont typeface="Arial" panose="020B0604020202020204" pitchFamily="34" charset="0"/>
              <a:buChar char="•"/>
            </a:pPr>
            <a:r>
              <a:rPr lang="en-US" sz="1600" b="1" kern="0" dirty="0"/>
              <a:t>Agreement on Bowler during workout on how to measure Genpact efficiency and GE defects, which leads to inefficiencies</a:t>
            </a:r>
          </a:p>
        </p:txBody>
      </p:sp>
    </p:spTree>
    <p:extLst>
      <p:ext uri="{BB962C8B-B14F-4D97-AF65-F5344CB8AC3E}">
        <p14:creationId xmlns:p14="http://schemas.microsoft.com/office/powerpoint/2010/main" val="160520533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Arrow Connector 10">
            <a:extLst>
              <a:ext uri="{FF2B5EF4-FFF2-40B4-BE49-F238E27FC236}">
                <a16:creationId xmlns:a16="http://schemas.microsoft.com/office/drawing/2014/main" id="{F871F991-5873-48F5-A22B-557E1BD4FEFF}"/>
              </a:ext>
            </a:extLst>
          </p:cNvPr>
          <p:cNvCxnSpPr>
            <a:cxnSpLocks/>
          </p:cNvCxnSpPr>
          <p:nvPr/>
        </p:nvCxnSpPr>
        <p:spPr>
          <a:xfrm>
            <a:off x="2697383"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CE0BCAC-BD49-4FD2-8A73-78EEB589D147}"/>
              </a:ext>
            </a:extLst>
          </p:cNvPr>
          <p:cNvSpPr/>
          <p:nvPr/>
        </p:nvSpPr>
        <p:spPr>
          <a:xfrm>
            <a:off x="509131" y="3137651"/>
            <a:ext cx="1841023" cy="923330"/>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3262"/>
                </a:solidFill>
                <a:effectLst/>
                <a:uLnTx/>
                <a:uFillTx/>
                <a:latin typeface="Georgia"/>
                <a:ea typeface="+mn-ea"/>
                <a:cs typeface="+mn-cs"/>
              </a:rPr>
              <a:t>Team members participated in the workout</a:t>
            </a:r>
          </a:p>
        </p:txBody>
      </p:sp>
      <p:sp>
        <p:nvSpPr>
          <p:cNvPr id="17" name="Rectangle 16">
            <a:extLst>
              <a:ext uri="{FF2B5EF4-FFF2-40B4-BE49-F238E27FC236}">
                <a16:creationId xmlns:a16="http://schemas.microsoft.com/office/drawing/2014/main" id="{E7189E9C-8093-42A3-88D5-1C2AC5055D86}"/>
              </a:ext>
            </a:extLst>
          </p:cNvPr>
          <p:cNvSpPr/>
          <p:nvPr/>
        </p:nvSpPr>
        <p:spPr>
          <a:xfrm>
            <a:off x="2641969" y="3119513"/>
            <a:ext cx="2207546" cy="120032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3262"/>
                </a:solidFill>
                <a:effectLst/>
                <a:uLnTx/>
                <a:uFillTx/>
                <a:latin typeface="Georgia"/>
                <a:ea typeface="+mn-ea"/>
                <a:cs typeface="+mn-cs"/>
              </a:rPr>
              <a:t>Kaizens (improvement opportunities) identified</a:t>
            </a:r>
          </a:p>
        </p:txBody>
      </p:sp>
      <p:cxnSp>
        <p:nvCxnSpPr>
          <p:cNvPr id="25" name="Straight Arrow Connector 24">
            <a:extLst>
              <a:ext uri="{FF2B5EF4-FFF2-40B4-BE49-F238E27FC236}">
                <a16:creationId xmlns:a16="http://schemas.microsoft.com/office/drawing/2014/main" id="{774879DF-94D3-4978-B752-662A5172A20D}"/>
              </a:ext>
            </a:extLst>
          </p:cNvPr>
          <p:cNvCxnSpPr>
            <a:cxnSpLocks/>
          </p:cNvCxnSpPr>
          <p:nvPr/>
        </p:nvCxnSpPr>
        <p:spPr>
          <a:xfrm>
            <a:off x="438029"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261BD8EC-C7F3-4D78-A7AB-2D8AB5689611}"/>
              </a:ext>
            </a:extLst>
          </p:cNvPr>
          <p:cNvCxnSpPr>
            <a:cxnSpLocks/>
          </p:cNvCxnSpPr>
          <p:nvPr/>
        </p:nvCxnSpPr>
        <p:spPr>
          <a:xfrm>
            <a:off x="4956737"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35" name="Text Placeholder 1">
            <a:extLst>
              <a:ext uri="{FF2B5EF4-FFF2-40B4-BE49-F238E27FC236}">
                <a16:creationId xmlns:a16="http://schemas.microsoft.com/office/drawing/2014/main" id="{85917716-2996-4995-A1B5-E8A3153B5F97}"/>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73262"/>
                </a:solidFill>
                <a:effectLst/>
                <a:uLnTx/>
                <a:uFillTx/>
                <a:latin typeface="Georgia" panose="02040502050405020303" pitchFamily="18" charset="0"/>
                <a:ea typeface="+mn-ea"/>
                <a:cs typeface="+mn-cs"/>
              </a:rPr>
              <a:t>Summary of I2C lean workout</a:t>
            </a:r>
            <a:endParaRPr kumimoji="0" lang="en-US" sz="3000" b="0" i="0" u="none" strike="noStrike" kern="0" cap="none" spc="0" normalizeH="0" baseline="0" noProof="0" dirty="0">
              <a:ln>
                <a:noFill/>
              </a:ln>
              <a:solidFill>
                <a:schemeClr val="accent2"/>
              </a:solidFill>
              <a:effectLst/>
              <a:uLnTx/>
              <a:uFillTx/>
              <a:latin typeface="Georgia" panose="02040502050405020303" pitchFamily="18" charset="0"/>
              <a:ea typeface="+mn-ea"/>
              <a:cs typeface="+mn-cs"/>
            </a:endParaRPr>
          </a:p>
        </p:txBody>
      </p:sp>
      <p:sp>
        <p:nvSpPr>
          <p:cNvPr id="64" name="Freeform 91">
            <a:extLst>
              <a:ext uri="{FF2B5EF4-FFF2-40B4-BE49-F238E27FC236}">
                <a16:creationId xmlns:a16="http://schemas.microsoft.com/office/drawing/2014/main" id="{61E0C9DB-2A09-4452-915C-165C21CFDE53}"/>
              </a:ext>
            </a:extLst>
          </p:cNvPr>
          <p:cNvSpPr>
            <a:spLocks noEditPoints="1"/>
          </p:cNvSpPr>
          <p:nvPr/>
        </p:nvSpPr>
        <p:spPr bwMode="auto">
          <a:xfrm>
            <a:off x="884450" y="4830381"/>
            <a:ext cx="1242532" cy="856321"/>
          </a:xfrm>
          <a:custGeom>
            <a:avLst/>
            <a:gdLst>
              <a:gd name="T0" fmla="*/ 199 w 395"/>
              <a:gd name="T1" fmla="*/ 71 h 272"/>
              <a:gd name="T2" fmla="*/ 54 w 395"/>
              <a:gd name="T3" fmla="*/ 175 h 272"/>
              <a:gd name="T4" fmla="*/ 37 w 395"/>
              <a:gd name="T5" fmla="*/ 183 h 272"/>
              <a:gd name="T6" fmla="*/ 17 w 395"/>
              <a:gd name="T7" fmla="*/ 234 h 272"/>
              <a:gd name="T8" fmla="*/ 17 w 395"/>
              <a:gd name="T9" fmla="*/ 131 h 272"/>
              <a:gd name="T10" fmla="*/ 0 w 395"/>
              <a:gd name="T11" fmla="*/ 164 h 272"/>
              <a:gd name="T12" fmla="*/ 47 w 395"/>
              <a:gd name="T13" fmla="*/ 104 h 272"/>
              <a:gd name="T14" fmla="*/ 54 w 395"/>
              <a:gd name="T15" fmla="*/ 175 h 272"/>
              <a:gd name="T16" fmla="*/ 54 w 395"/>
              <a:gd name="T17" fmla="*/ 91 h 272"/>
              <a:gd name="T18" fmla="*/ 12 w 395"/>
              <a:gd name="T19" fmla="*/ 78 h 272"/>
              <a:gd name="T20" fmla="*/ 341 w 395"/>
              <a:gd name="T21" fmla="*/ 234 h 272"/>
              <a:gd name="T22" fmla="*/ 361 w 395"/>
              <a:gd name="T23" fmla="*/ 183 h 272"/>
              <a:gd name="T24" fmla="*/ 378 w 395"/>
              <a:gd name="T25" fmla="*/ 173 h 272"/>
              <a:gd name="T26" fmla="*/ 380 w 395"/>
              <a:gd name="T27" fmla="*/ 131 h 272"/>
              <a:gd name="T28" fmla="*/ 395 w 395"/>
              <a:gd name="T29" fmla="*/ 118 h 272"/>
              <a:gd name="T30" fmla="*/ 348 w 395"/>
              <a:gd name="T31" fmla="*/ 110 h 272"/>
              <a:gd name="T32" fmla="*/ 359 w 395"/>
              <a:gd name="T33" fmla="*/ 54 h 272"/>
              <a:gd name="T34" fmla="*/ 343 w 395"/>
              <a:gd name="T35" fmla="*/ 94 h 272"/>
              <a:gd name="T36" fmla="*/ 359 w 395"/>
              <a:gd name="T37" fmla="*/ 54 h 272"/>
              <a:gd name="T38" fmla="*/ 285 w 395"/>
              <a:gd name="T39" fmla="*/ 256 h 272"/>
              <a:gd name="T40" fmla="*/ 289 w 395"/>
              <a:gd name="T41" fmla="*/ 256 h 272"/>
              <a:gd name="T42" fmla="*/ 310 w 395"/>
              <a:gd name="T43" fmla="*/ 169 h 272"/>
              <a:gd name="T44" fmla="*/ 313 w 395"/>
              <a:gd name="T45" fmla="*/ 169 h 272"/>
              <a:gd name="T46" fmla="*/ 313 w 395"/>
              <a:gd name="T47" fmla="*/ 94 h 272"/>
              <a:gd name="T48" fmla="*/ 273 w 395"/>
              <a:gd name="T49" fmla="*/ 182 h 272"/>
              <a:gd name="T50" fmla="*/ 230 w 395"/>
              <a:gd name="T51" fmla="*/ 116 h 272"/>
              <a:gd name="T52" fmla="*/ 227 w 395"/>
              <a:gd name="T53" fmla="*/ 179 h 272"/>
              <a:gd name="T54" fmla="*/ 202 w 395"/>
              <a:gd name="T55" fmla="*/ 195 h 272"/>
              <a:gd name="T56" fmla="*/ 171 w 395"/>
              <a:gd name="T57" fmla="*/ 272 h 272"/>
              <a:gd name="T58" fmla="*/ 171 w 395"/>
              <a:gd name="T59" fmla="*/ 116 h 272"/>
              <a:gd name="T60" fmla="*/ 145 w 395"/>
              <a:gd name="T61" fmla="*/ 166 h 272"/>
              <a:gd name="T62" fmla="*/ 231 w 395"/>
              <a:gd name="T63" fmla="*/ 75 h 272"/>
              <a:gd name="T64" fmla="*/ 230 w 395"/>
              <a:gd name="T65" fmla="*/ 166 h 272"/>
              <a:gd name="T66" fmla="*/ 112 w 395"/>
              <a:gd name="T67" fmla="*/ 256 h 272"/>
              <a:gd name="T68" fmla="*/ 107 w 395"/>
              <a:gd name="T69" fmla="*/ 256 h 272"/>
              <a:gd name="T70" fmla="*/ 86 w 395"/>
              <a:gd name="T71" fmla="*/ 169 h 272"/>
              <a:gd name="T72" fmla="*/ 83 w 395"/>
              <a:gd name="T73" fmla="*/ 169 h 272"/>
              <a:gd name="T74" fmla="*/ 83 w 395"/>
              <a:gd name="T75" fmla="*/ 94 h 272"/>
              <a:gd name="T76" fmla="*/ 123 w 395"/>
              <a:gd name="T77" fmla="*/ 182 h 272"/>
              <a:gd name="T78" fmla="*/ 139 w 395"/>
              <a:gd name="T79" fmla="*/ 61 h 272"/>
              <a:gd name="T80" fmla="*/ 110 w 395"/>
              <a:gd name="T81" fmla="*/ 90 h 272"/>
              <a:gd name="T82" fmla="*/ 287 w 395"/>
              <a:gd name="T83" fmla="*/ 32 h 272"/>
              <a:gd name="T84" fmla="*/ 266 w 395"/>
              <a:gd name="T85" fmla="*/ 82 h 272"/>
              <a:gd name="T86" fmla="*/ 287 w 395"/>
              <a:gd name="T87" fmla="*/ 3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5" h="272">
                <a:moveTo>
                  <a:pt x="199" y="0"/>
                </a:moveTo>
                <a:cubicBezTo>
                  <a:pt x="219" y="0"/>
                  <a:pt x="235" y="16"/>
                  <a:pt x="235" y="35"/>
                </a:cubicBezTo>
                <a:cubicBezTo>
                  <a:pt x="235" y="55"/>
                  <a:pt x="219" y="71"/>
                  <a:pt x="199" y="71"/>
                </a:cubicBezTo>
                <a:cubicBezTo>
                  <a:pt x="180" y="71"/>
                  <a:pt x="164" y="55"/>
                  <a:pt x="164" y="35"/>
                </a:cubicBezTo>
                <a:cubicBezTo>
                  <a:pt x="164" y="16"/>
                  <a:pt x="180" y="0"/>
                  <a:pt x="199" y="0"/>
                </a:cubicBezTo>
                <a:close/>
                <a:moveTo>
                  <a:pt x="54" y="175"/>
                </a:moveTo>
                <a:cubicBezTo>
                  <a:pt x="54" y="234"/>
                  <a:pt x="54" y="234"/>
                  <a:pt x="54" y="234"/>
                </a:cubicBezTo>
                <a:cubicBezTo>
                  <a:pt x="37" y="234"/>
                  <a:pt x="37" y="234"/>
                  <a:pt x="37" y="234"/>
                </a:cubicBezTo>
                <a:cubicBezTo>
                  <a:pt x="37" y="183"/>
                  <a:pt x="37" y="183"/>
                  <a:pt x="37" y="183"/>
                </a:cubicBezTo>
                <a:cubicBezTo>
                  <a:pt x="34" y="183"/>
                  <a:pt x="34" y="183"/>
                  <a:pt x="34" y="183"/>
                </a:cubicBezTo>
                <a:cubicBezTo>
                  <a:pt x="34" y="234"/>
                  <a:pt x="34" y="234"/>
                  <a:pt x="34" y="234"/>
                </a:cubicBezTo>
                <a:cubicBezTo>
                  <a:pt x="17" y="234"/>
                  <a:pt x="17" y="234"/>
                  <a:pt x="17" y="234"/>
                </a:cubicBezTo>
                <a:cubicBezTo>
                  <a:pt x="17" y="173"/>
                  <a:pt x="17" y="173"/>
                  <a:pt x="17" y="173"/>
                </a:cubicBezTo>
                <a:cubicBezTo>
                  <a:pt x="17" y="164"/>
                  <a:pt x="17" y="164"/>
                  <a:pt x="17" y="164"/>
                </a:cubicBezTo>
                <a:cubicBezTo>
                  <a:pt x="17" y="131"/>
                  <a:pt x="17" y="131"/>
                  <a:pt x="17" y="131"/>
                </a:cubicBezTo>
                <a:cubicBezTo>
                  <a:pt x="14" y="131"/>
                  <a:pt x="14" y="131"/>
                  <a:pt x="14" y="131"/>
                </a:cubicBezTo>
                <a:cubicBezTo>
                  <a:pt x="14" y="164"/>
                  <a:pt x="14" y="164"/>
                  <a:pt x="14" y="164"/>
                </a:cubicBezTo>
                <a:cubicBezTo>
                  <a:pt x="0" y="164"/>
                  <a:pt x="0" y="164"/>
                  <a:pt x="0" y="164"/>
                </a:cubicBezTo>
                <a:cubicBezTo>
                  <a:pt x="0" y="118"/>
                  <a:pt x="0" y="118"/>
                  <a:pt x="0" y="118"/>
                </a:cubicBezTo>
                <a:cubicBezTo>
                  <a:pt x="0" y="110"/>
                  <a:pt x="6" y="104"/>
                  <a:pt x="14" y="104"/>
                </a:cubicBezTo>
                <a:cubicBezTo>
                  <a:pt x="47" y="104"/>
                  <a:pt x="47" y="104"/>
                  <a:pt x="47" y="104"/>
                </a:cubicBezTo>
                <a:cubicBezTo>
                  <a:pt x="47" y="106"/>
                  <a:pt x="47" y="108"/>
                  <a:pt x="47" y="110"/>
                </a:cubicBezTo>
                <a:cubicBezTo>
                  <a:pt x="47" y="175"/>
                  <a:pt x="47" y="175"/>
                  <a:pt x="47" y="175"/>
                </a:cubicBezTo>
                <a:cubicBezTo>
                  <a:pt x="54" y="175"/>
                  <a:pt x="54" y="175"/>
                  <a:pt x="54" y="175"/>
                </a:cubicBezTo>
                <a:close/>
                <a:moveTo>
                  <a:pt x="36" y="54"/>
                </a:moveTo>
                <a:cubicBezTo>
                  <a:pt x="49" y="54"/>
                  <a:pt x="59" y="65"/>
                  <a:pt x="59" y="78"/>
                </a:cubicBezTo>
                <a:cubicBezTo>
                  <a:pt x="59" y="83"/>
                  <a:pt x="57" y="88"/>
                  <a:pt x="54" y="91"/>
                </a:cubicBezTo>
                <a:cubicBezTo>
                  <a:pt x="54" y="92"/>
                  <a:pt x="53" y="93"/>
                  <a:pt x="52" y="94"/>
                </a:cubicBezTo>
                <a:cubicBezTo>
                  <a:pt x="48" y="98"/>
                  <a:pt x="42" y="101"/>
                  <a:pt x="36" y="101"/>
                </a:cubicBezTo>
                <a:cubicBezTo>
                  <a:pt x="23" y="101"/>
                  <a:pt x="12" y="90"/>
                  <a:pt x="12" y="78"/>
                </a:cubicBezTo>
                <a:cubicBezTo>
                  <a:pt x="12" y="65"/>
                  <a:pt x="23" y="54"/>
                  <a:pt x="36" y="54"/>
                </a:cubicBezTo>
                <a:close/>
                <a:moveTo>
                  <a:pt x="341" y="175"/>
                </a:moveTo>
                <a:cubicBezTo>
                  <a:pt x="341" y="234"/>
                  <a:pt x="341" y="234"/>
                  <a:pt x="341" y="234"/>
                </a:cubicBezTo>
                <a:cubicBezTo>
                  <a:pt x="357" y="234"/>
                  <a:pt x="357" y="234"/>
                  <a:pt x="357" y="234"/>
                </a:cubicBezTo>
                <a:cubicBezTo>
                  <a:pt x="357" y="183"/>
                  <a:pt x="357" y="183"/>
                  <a:pt x="357" y="183"/>
                </a:cubicBezTo>
                <a:cubicBezTo>
                  <a:pt x="361" y="183"/>
                  <a:pt x="361" y="183"/>
                  <a:pt x="361" y="183"/>
                </a:cubicBezTo>
                <a:cubicBezTo>
                  <a:pt x="361" y="234"/>
                  <a:pt x="361" y="234"/>
                  <a:pt x="361" y="234"/>
                </a:cubicBezTo>
                <a:cubicBezTo>
                  <a:pt x="378" y="234"/>
                  <a:pt x="378" y="234"/>
                  <a:pt x="378" y="234"/>
                </a:cubicBezTo>
                <a:cubicBezTo>
                  <a:pt x="378" y="173"/>
                  <a:pt x="378" y="173"/>
                  <a:pt x="378" y="173"/>
                </a:cubicBezTo>
                <a:cubicBezTo>
                  <a:pt x="378" y="164"/>
                  <a:pt x="378" y="164"/>
                  <a:pt x="378" y="164"/>
                </a:cubicBezTo>
                <a:cubicBezTo>
                  <a:pt x="378" y="131"/>
                  <a:pt x="378" y="131"/>
                  <a:pt x="378" y="131"/>
                </a:cubicBezTo>
                <a:cubicBezTo>
                  <a:pt x="380" y="131"/>
                  <a:pt x="380" y="131"/>
                  <a:pt x="380" y="131"/>
                </a:cubicBezTo>
                <a:cubicBezTo>
                  <a:pt x="380" y="164"/>
                  <a:pt x="380" y="164"/>
                  <a:pt x="380" y="164"/>
                </a:cubicBezTo>
                <a:cubicBezTo>
                  <a:pt x="395" y="164"/>
                  <a:pt x="395" y="164"/>
                  <a:pt x="395" y="164"/>
                </a:cubicBezTo>
                <a:cubicBezTo>
                  <a:pt x="395" y="118"/>
                  <a:pt x="395" y="118"/>
                  <a:pt x="395" y="118"/>
                </a:cubicBezTo>
                <a:cubicBezTo>
                  <a:pt x="395" y="110"/>
                  <a:pt x="389" y="104"/>
                  <a:pt x="381" y="104"/>
                </a:cubicBezTo>
                <a:cubicBezTo>
                  <a:pt x="347" y="104"/>
                  <a:pt x="347" y="104"/>
                  <a:pt x="347" y="104"/>
                </a:cubicBezTo>
                <a:cubicBezTo>
                  <a:pt x="348" y="106"/>
                  <a:pt x="348" y="108"/>
                  <a:pt x="348" y="110"/>
                </a:cubicBezTo>
                <a:cubicBezTo>
                  <a:pt x="348" y="175"/>
                  <a:pt x="348" y="175"/>
                  <a:pt x="348" y="175"/>
                </a:cubicBezTo>
                <a:cubicBezTo>
                  <a:pt x="341" y="175"/>
                  <a:pt x="341" y="175"/>
                  <a:pt x="341" y="175"/>
                </a:cubicBezTo>
                <a:close/>
                <a:moveTo>
                  <a:pt x="359" y="54"/>
                </a:moveTo>
                <a:cubicBezTo>
                  <a:pt x="346" y="54"/>
                  <a:pt x="336" y="65"/>
                  <a:pt x="336" y="78"/>
                </a:cubicBezTo>
                <a:cubicBezTo>
                  <a:pt x="336" y="83"/>
                  <a:pt x="337" y="88"/>
                  <a:pt x="340" y="91"/>
                </a:cubicBezTo>
                <a:cubicBezTo>
                  <a:pt x="341" y="92"/>
                  <a:pt x="342" y="93"/>
                  <a:pt x="343" y="94"/>
                </a:cubicBezTo>
                <a:cubicBezTo>
                  <a:pt x="347" y="98"/>
                  <a:pt x="353" y="101"/>
                  <a:pt x="359" y="101"/>
                </a:cubicBezTo>
                <a:cubicBezTo>
                  <a:pt x="372" y="101"/>
                  <a:pt x="383" y="90"/>
                  <a:pt x="383" y="78"/>
                </a:cubicBezTo>
                <a:cubicBezTo>
                  <a:pt x="383" y="65"/>
                  <a:pt x="372" y="54"/>
                  <a:pt x="359" y="54"/>
                </a:cubicBezTo>
                <a:close/>
                <a:moveTo>
                  <a:pt x="264" y="182"/>
                </a:moveTo>
                <a:cubicBezTo>
                  <a:pt x="264" y="256"/>
                  <a:pt x="264" y="256"/>
                  <a:pt x="264" y="256"/>
                </a:cubicBezTo>
                <a:cubicBezTo>
                  <a:pt x="285" y="256"/>
                  <a:pt x="285" y="256"/>
                  <a:pt x="285" y="256"/>
                </a:cubicBezTo>
                <a:cubicBezTo>
                  <a:pt x="285" y="193"/>
                  <a:pt x="285" y="193"/>
                  <a:pt x="285" y="193"/>
                </a:cubicBezTo>
                <a:cubicBezTo>
                  <a:pt x="289" y="193"/>
                  <a:pt x="289" y="193"/>
                  <a:pt x="289" y="193"/>
                </a:cubicBezTo>
                <a:cubicBezTo>
                  <a:pt x="289" y="256"/>
                  <a:pt x="289" y="256"/>
                  <a:pt x="289" y="256"/>
                </a:cubicBezTo>
                <a:cubicBezTo>
                  <a:pt x="310" y="256"/>
                  <a:pt x="310" y="256"/>
                  <a:pt x="310" y="256"/>
                </a:cubicBezTo>
                <a:cubicBezTo>
                  <a:pt x="310" y="180"/>
                  <a:pt x="310" y="180"/>
                  <a:pt x="310" y="180"/>
                </a:cubicBezTo>
                <a:cubicBezTo>
                  <a:pt x="310" y="169"/>
                  <a:pt x="310" y="169"/>
                  <a:pt x="310" y="169"/>
                </a:cubicBezTo>
                <a:cubicBezTo>
                  <a:pt x="310" y="127"/>
                  <a:pt x="310" y="127"/>
                  <a:pt x="310" y="127"/>
                </a:cubicBezTo>
                <a:cubicBezTo>
                  <a:pt x="313" y="127"/>
                  <a:pt x="313" y="127"/>
                  <a:pt x="313" y="127"/>
                </a:cubicBezTo>
                <a:cubicBezTo>
                  <a:pt x="313" y="169"/>
                  <a:pt x="313" y="169"/>
                  <a:pt x="313" y="169"/>
                </a:cubicBezTo>
                <a:cubicBezTo>
                  <a:pt x="332" y="169"/>
                  <a:pt x="332" y="169"/>
                  <a:pt x="332" y="169"/>
                </a:cubicBezTo>
                <a:cubicBezTo>
                  <a:pt x="332" y="112"/>
                  <a:pt x="332" y="112"/>
                  <a:pt x="332" y="112"/>
                </a:cubicBezTo>
                <a:cubicBezTo>
                  <a:pt x="332" y="102"/>
                  <a:pt x="323" y="94"/>
                  <a:pt x="313" y="94"/>
                </a:cubicBezTo>
                <a:cubicBezTo>
                  <a:pt x="272" y="94"/>
                  <a:pt x="272" y="94"/>
                  <a:pt x="272" y="94"/>
                </a:cubicBezTo>
                <a:cubicBezTo>
                  <a:pt x="273" y="96"/>
                  <a:pt x="273" y="99"/>
                  <a:pt x="273" y="102"/>
                </a:cubicBezTo>
                <a:cubicBezTo>
                  <a:pt x="273" y="182"/>
                  <a:pt x="273" y="182"/>
                  <a:pt x="273" y="182"/>
                </a:cubicBezTo>
                <a:cubicBezTo>
                  <a:pt x="264" y="182"/>
                  <a:pt x="264" y="182"/>
                  <a:pt x="264" y="182"/>
                </a:cubicBezTo>
                <a:close/>
                <a:moveTo>
                  <a:pt x="230" y="166"/>
                </a:moveTo>
                <a:cubicBezTo>
                  <a:pt x="230" y="116"/>
                  <a:pt x="230" y="116"/>
                  <a:pt x="230" y="116"/>
                </a:cubicBezTo>
                <a:cubicBezTo>
                  <a:pt x="227" y="116"/>
                  <a:pt x="227" y="116"/>
                  <a:pt x="227" y="116"/>
                </a:cubicBezTo>
                <a:cubicBezTo>
                  <a:pt x="227" y="166"/>
                  <a:pt x="227" y="166"/>
                  <a:pt x="227" y="166"/>
                </a:cubicBezTo>
                <a:cubicBezTo>
                  <a:pt x="227" y="179"/>
                  <a:pt x="227" y="179"/>
                  <a:pt x="227" y="179"/>
                </a:cubicBezTo>
                <a:cubicBezTo>
                  <a:pt x="227" y="272"/>
                  <a:pt x="227" y="272"/>
                  <a:pt x="227" y="272"/>
                </a:cubicBezTo>
                <a:cubicBezTo>
                  <a:pt x="202" y="272"/>
                  <a:pt x="202" y="272"/>
                  <a:pt x="202" y="272"/>
                </a:cubicBezTo>
                <a:cubicBezTo>
                  <a:pt x="202" y="195"/>
                  <a:pt x="202" y="195"/>
                  <a:pt x="202" y="195"/>
                </a:cubicBezTo>
                <a:cubicBezTo>
                  <a:pt x="197" y="195"/>
                  <a:pt x="197" y="195"/>
                  <a:pt x="197" y="195"/>
                </a:cubicBezTo>
                <a:cubicBezTo>
                  <a:pt x="197" y="272"/>
                  <a:pt x="197" y="272"/>
                  <a:pt x="197" y="272"/>
                </a:cubicBezTo>
                <a:cubicBezTo>
                  <a:pt x="171" y="272"/>
                  <a:pt x="171" y="272"/>
                  <a:pt x="171" y="272"/>
                </a:cubicBezTo>
                <a:cubicBezTo>
                  <a:pt x="171" y="179"/>
                  <a:pt x="171" y="179"/>
                  <a:pt x="171" y="179"/>
                </a:cubicBezTo>
                <a:cubicBezTo>
                  <a:pt x="171" y="166"/>
                  <a:pt x="171" y="166"/>
                  <a:pt x="171" y="166"/>
                </a:cubicBezTo>
                <a:cubicBezTo>
                  <a:pt x="171" y="116"/>
                  <a:pt x="171" y="116"/>
                  <a:pt x="171" y="116"/>
                </a:cubicBezTo>
                <a:cubicBezTo>
                  <a:pt x="167" y="116"/>
                  <a:pt x="167" y="116"/>
                  <a:pt x="167" y="116"/>
                </a:cubicBezTo>
                <a:cubicBezTo>
                  <a:pt x="167" y="166"/>
                  <a:pt x="167" y="166"/>
                  <a:pt x="167" y="166"/>
                </a:cubicBezTo>
                <a:cubicBezTo>
                  <a:pt x="145" y="166"/>
                  <a:pt x="145" y="166"/>
                  <a:pt x="145" y="166"/>
                </a:cubicBezTo>
                <a:cubicBezTo>
                  <a:pt x="145" y="97"/>
                  <a:pt x="145" y="97"/>
                  <a:pt x="145" y="97"/>
                </a:cubicBezTo>
                <a:cubicBezTo>
                  <a:pt x="145" y="85"/>
                  <a:pt x="155" y="75"/>
                  <a:pt x="167" y="75"/>
                </a:cubicBezTo>
                <a:cubicBezTo>
                  <a:pt x="235" y="75"/>
                  <a:pt x="163" y="75"/>
                  <a:pt x="231" y="75"/>
                </a:cubicBezTo>
                <a:cubicBezTo>
                  <a:pt x="243" y="75"/>
                  <a:pt x="253" y="85"/>
                  <a:pt x="253" y="97"/>
                </a:cubicBezTo>
                <a:cubicBezTo>
                  <a:pt x="253" y="166"/>
                  <a:pt x="253" y="166"/>
                  <a:pt x="253" y="166"/>
                </a:cubicBezTo>
                <a:cubicBezTo>
                  <a:pt x="249" y="166"/>
                  <a:pt x="240" y="166"/>
                  <a:pt x="230" y="166"/>
                </a:cubicBezTo>
                <a:close/>
                <a:moveTo>
                  <a:pt x="132" y="182"/>
                </a:moveTo>
                <a:cubicBezTo>
                  <a:pt x="132" y="256"/>
                  <a:pt x="132" y="256"/>
                  <a:pt x="132" y="256"/>
                </a:cubicBezTo>
                <a:cubicBezTo>
                  <a:pt x="112" y="256"/>
                  <a:pt x="112" y="256"/>
                  <a:pt x="112" y="256"/>
                </a:cubicBezTo>
                <a:cubicBezTo>
                  <a:pt x="112" y="193"/>
                  <a:pt x="112" y="193"/>
                  <a:pt x="112" y="193"/>
                </a:cubicBezTo>
                <a:cubicBezTo>
                  <a:pt x="107" y="193"/>
                  <a:pt x="107" y="193"/>
                  <a:pt x="107" y="193"/>
                </a:cubicBezTo>
                <a:cubicBezTo>
                  <a:pt x="107" y="256"/>
                  <a:pt x="107" y="256"/>
                  <a:pt x="107" y="256"/>
                </a:cubicBezTo>
                <a:cubicBezTo>
                  <a:pt x="86" y="256"/>
                  <a:pt x="86" y="256"/>
                  <a:pt x="86" y="256"/>
                </a:cubicBezTo>
                <a:cubicBezTo>
                  <a:pt x="86" y="180"/>
                  <a:pt x="86" y="180"/>
                  <a:pt x="86" y="180"/>
                </a:cubicBezTo>
                <a:cubicBezTo>
                  <a:pt x="86" y="169"/>
                  <a:pt x="86" y="169"/>
                  <a:pt x="86" y="169"/>
                </a:cubicBezTo>
                <a:cubicBezTo>
                  <a:pt x="86" y="127"/>
                  <a:pt x="86" y="127"/>
                  <a:pt x="86" y="127"/>
                </a:cubicBezTo>
                <a:cubicBezTo>
                  <a:pt x="83" y="127"/>
                  <a:pt x="83" y="127"/>
                  <a:pt x="83" y="127"/>
                </a:cubicBezTo>
                <a:cubicBezTo>
                  <a:pt x="83" y="169"/>
                  <a:pt x="83" y="169"/>
                  <a:pt x="83" y="169"/>
                </a:cubicBezTo>
                <a:cubicBezTo>
                  <a:pt x="65" y="169"/>
                  <a:pt x="65" y="169"/>
                  <a:pt x="65" y="169"/>
                </a:cubicBezTo>
                <a:cubicBezTo>
                  <a:pt x="65" y="112"/>
                  <a:pt x="65" y="112"/>
                  <a:pt x="65" y="112"/>
                </a:cubicBezTo>
                <a:cubicBezTo>
                  <a:pt x="65" y="102"/>
                  <a:pt x="73" y="94"/>
                  <a:pt x="83" y="94"/>
                </a:cubicBezTo>
                <a:cubicBezTo>
                  <a:pt x="124" y="94"/>
                  <a:pt x="124" y="94"/>
                  <a:pt x="124" y="94"/>
                </a:cubicBezTo>
                <a:cubicBezTo>
                  <a:pt x="124" y="96"/>
                  <a:pt x="123" y="99"/>
                  <a:pt x="123" y="102"/>
                </a:cubicBezTo>
                <a:cubicBezTo>
                  <a:pt x="123" y="182"/>
                  <a:pt x="123" y="182"/>
                  <a:pt x="123" y="182"/>
                </a:cubicBezTo>
                <a:cubicBezTo>
                  <a:pt x="132" y="182"/>
                  <a:pt x="132" y="182"/>
                  <a:pt x="132" y="182"/>
                </a:cubicBezTo>
                <a:close/>
                <a:moveTo>
                  <a:pt x="110" y="32"/>
                </a:moveTo>
                <a:cubicBezTo>
                  <a:pt x="126" y="32"/>
                  <a:pt x="139" y="45"/>
                  <a:pt x="139" y="61"/>
                </a:cubicBezTo>
                <a:cubicBezTo>
                  <a:pt x="139" y="68"/>
                  <a:pt x="136" y="74"/>
                  <a:pt x="133" y="78"/>
                </a:cubicBezTo>
                <a:cubicBezTo>
                  <a:pt x="132" y="80"/>
                  <a:pt x="131" y="81"/>
                  <a:pt x="130" y="82"/>
                </a:cubicBezTo>
                <a:cubicBezTo>
                  <a:pt x="125" y="87"/>
                  <a:pt x="118" y="90"/>
                  <a:pt x="110" y="90"/>
                </a:cubicBezTo>
                <a:cubicBezTo>
                  <a:pt x="93" y="90"/>
                  <a:pt x="80" y="77"/>
                  <a:pt x="80" y="61"/>
                </a:cubicBezTo>
                <a:cubicBezTo>
                  <a:pt x="80" y="45"/>
                  <a:pt x="93" y="32"/>
                  <a:pt x="110" y="32"/>
                </a:cubicBezTo>
                <a:close/>
                <a:moveTo>
                  <a:pt x="287" y="32"/>
                </a:moveTo>
                <a:cubicBezTo>
                  <a:pt x="271" y="32"/>
                  <a:pt x="258" y="45"/>
                  <a:pt x="258" y="61"/>
                </a:cubicBezTo>
                <a:cubicBezTo>
                  <a:pt x="258" y="68"/>
                  <a:pt x="260" y="74"/>
                  <a:pt x="263" y="78"/>
                </a:cubicBezTo>
                <a:cubicBezTo>
                  <a:pt x="264" y="80"/>
                  <a:pt x="265" y="81"/>
                  <a:pt x="266" y="82"/>
                </a:cubicBezTo>
                <a:cubicBezTo>
                  <a:pt x="271" y="87"/>
                  <a:pt x="279" y="90"/>
                  <a:pt x="287" y="90"/>
                </a:cubicBezTo>
                <a:cubicBezTo>
                  <a:pt x="303" y="90"/>
                  <a:pt x="316" y="77"/>
                  <a:pt x="316" y="61"/>
                </a:cubicBezTo>
                <a:cubicBezTo>
                  <a:pt x="316" y="45"/>
                  <a:pt x="303" y="32"/>
                  <a:pt x="287" y="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66" name="Picture 65">
            <a:extLst>
              <a:ext uri="{FF2B5EF4-FFF2-40B4-BE49-F238E27FC236}">
                <a16:creationId xmlns:a16="http://schemas.microsoft.com/office/drawing/2014/main" id="{63125C1C-065D-41C8-A1B5-0324EF8D85CC}"/>
              </a:ext>
            </a:extLst>
          </p:cNvPr>
          <p:cNvPicPr>
            <a:picLocks noChangeAspect="1"/>
          </p:cNvPicPr>
          <p:nvPr/>
        </p:nvPicPr>
        <p:blipFill>
          <a:blip r:embed="rId2"/>
          <a:stretch>
            <a:fillRect/>
          </a:stretch>
        </p:blipFill>
        <p:spPr>
          <a:xfrm>
            <a:off x="2908147" y="4680055"/>
            <a:ext cx="1522220" cy="982668"/>
          </a:xfrm>
          <a:prstGeom prst="rect">
            <a:avLst/>
          </a:prstGeom>
        </p:spPr>
      </p:pic>
      <p:pic>
        <p:nvPicPr>
          <p:cNvPr id="67" name="Picture 66">
            <a:extLst>
              <a:ext uri="{FF2B5EF4-FFF2-40B4-BE49-F238E27FC236}">
                <a16:creationId xmlns:a16="http://schemas.microsoft.com/office/drawing/2014/main" id="{091D3D83-C56A-4E1B-80AA-404732F13880}"/>
              </a:ext>
            </a:extLst>
          </p:cNvPr>
          <p:cNvPicPr>
            <a:picLocks noChangeAspect="1"/>
          </p:cNvPicPr>
          <p:nvPr/>
        </p:nvPicPr>
        <p:blipFill>
          <a:blip r:embed="rId2"/>
          <a:stretch>
            <a:fillRect/>
          </a:stretch>
        </p:blipFill>
        <p:spPr>
          <a:xfrm>
            <a:off x="3147760" y="4906395"/>
            <a:ext cx="1522220" cy="982668"/>
          </a:xfrm>
          <a:prstGeom prst="rect">
            <a:avLst/>
          </a:prstGeom>
        </p:spPr>
      </p:pic>
      <p:sp>
        <p:nvSpPr>
          <p:cNvPr id="115" name="Rectangle 114">
            <a:hlinkClick r:id="rId3" action="ppaction://hlinksldjump"/>
            <a:extLst>
              <a:ext uri="{FF2B5EF4-FFF2-40B4-BE49-F238E27FC236}">
                <a16:creationId xmlns:a16="http://schemas.microsoft.com/office/drawing/2014/main" id="{2ED9230E-27AB-4CAF-8643-D124ECAAFD70}"/>
              </a:ext>
            </a:extLst>
          </p:cNvPr>
          <p:cNvSpPr/>
          <p:nvPr/>
        </p:nvSpPr>
        <p:spPr>
          <a:xfrm>
            <a:off x="11125200" y="0"/>
            <a:ext cx="1066800" cy="381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Home</a:t>
            </a:r>
          </a:p>
        </p:txBody>
      </p:sp>
      <p:sp>
        <p:nvSpPr>
          <p:cNvPr id="116" name="Rectangle 115">
            <a:hlinkClick r:id="" action="ppaction://noaction"/>
            <a:extLst>
              <a:ext uri="{FF2B5EF4-FFF2-40B4-BE49-F238E27FC236}">
                <a16:creationId xmlns:a16="http://schemas.microsoft.com/office/drawing/2014/main" id="{5DE066E3-BAFA-4289-88D8-5F5DF04CC425}"/>
              </a:ext>
            </a:extLst>
          </p:cNvPr>
          <p:cNvSpPr/>
          <p:nvPr/>
        </p:nvSpPr>
        <p:spPr>
          <a:xfrm>
            <a:off x="9999289" y="0"/>
            <a:ext cx="1066800" cy="381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ck</a:t>
            </a:r>
          </a:p>
        </p:txBody>
      </p:sp>
      <p:sp>
        <p:nvSpPr>
          <p:cNvPr id="2" name="Hexagon 1">
            <a:extLst>
              <a:ext uri="{FF2B5EF4-FFF2-40B4-BE49-F238E27FC236}">
                <a16:creationId xmlns:a16="http://schemas.microsoft.com/office/drawing/2014/main" id="{0719D945-E3A4-4DF5-8C98-EBDC55E7ECD8}"/>
              </a:ext>
            </a:extLst>
          </p:cNvPr>
          <p:cNvSpPr/>
          <p:nvPr/>
        </p:nvSpPr>
        <p:spPr>
          <a:xfrm>
            <a:off x="673609" y="1607413"/>
            <a:ext cx="1584666" cy="1151888"/>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16</a:t>
            </a:r>
            <a:endParaRPr lang="en-IN" sz="3600" b="1" dirty="0"/>
          </a:p>
        </p:txBody>
      </p:sp>
      <p:sp>
        <p:nvSpPr>
          <p:cNvPr id="47" name="Hexagon 46">
            <a:extLst>
              <a:ext uri="{FF2B5EF4-FFF2-40B4-BE49-F238E27FC236}">
                <a16:creationId xmlns:a16="http://schemas.microsoft.com/office/drawing/2014/main" id="{96BA3DD5-54C6-4715-9C5A-17C81AFE10DB}"/>
              </a:ext>
            </a:extLst>
          </p:cNvPr>
          <p:cNvSpPr/>
          <p:nvPr/>
        </p:nvSpPr>
        <p:spPr>
          <a:xfrm>
            <a:off x="3008127" y="1607413"/>
            <a:ext cx="1584666" cy="1151888"/>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35</a:t>
            </a:r>
            <a:endParaRPr lang="en-IN" sz="3600" b="1" dirty="0"/>
          </a:p>
        </p:txBody>
      </p:sp>
      <p:cxnSp>
        <p:nvCxnSpPr>
          <p:cNvPr id="36" name="Straight Arrow Connector 35">
            <a:extLst>
              <a:ext uri="{FF2B5EF4-FFF2-40B4-BE49-F238E27FC236}">
                <a16:creationId xmlns:a16="http://schemas.microsoft.com/office/drawing/2014/main" id="{CC50868A-6AE4-47CB-B5DB-C10404B437C6}"/>
              </a:ext>
            </a:extLst>
          </p:cNvPr>
          <p:cNvCxnSpPr>
            <a:cxnSpLocks/>
          </p:cNvCxnSpPr>
          <p:nvPr/>
        </p:nvCxnSpPr>
        <p:spPr>
          <a:xfrm>
            <a:off x="7216091"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3030BDA-4631-473F-9639-4AA768DF8308}"/>
              </a:ext>
            </a:extLst>
          </p:cNvPr>
          <p:cNvCxnSpPr>
            <a:cxnSpLocks/>
          </p:cNvCxnSpPr>
          <p:nvPr/>
        </p:nvCxnSpPr>
        <p:spPr>
          <a:xfrm>
            <a:off x="9475445"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E149BC0-6822-43BC-85D6-DFE8014F7246}"/>
              </a:ext>
            </a:extLst>
          </p:cNvPr>
          <p:cNvCxnSpPr>
            <a:cxnSpLocks/>
          </p:cNvCxnSpPr>
          <p:nvPr/>
        </p:nvCxnSpPr>
        <p:spPr>
          <a:xfrm>
            <a:off x="11734800" y="1711229"/>
            <a:ext cx="0" cy="4320000"/>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39" name="Hexagon 38">
            <a:extLst>
              <a:ext uri="{FF2B5EF4-FFF2-40B4-BE49-F238E27FC236}">
                <a16:creationId xmlns:a16="http://schemas.microsoft.com/office/drawing/2014/main" id="{D149DDB8-50D8-4394-8B4A-03EDC768B92E}"/>
              </a:ext>
            </a:extLst>
          </p:cNvPr>
          <p:cNvSpPr/>
          <p:nvPr/>
        </p:nvSpPr>
        <p:spPr>
          <a:xfrm>
            <a:off x="5263733" y="1607413"/>
            <a:ext cx="1584666" cy="1151888"/>
          </a:xfrm>
          <a:prstGeom prst="hexag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2</a:t>
            </a:r>
            <a:endParaRPr lang="en-IN" sz="3600" b="1" dirty="0"/>
          </a:p>
        </p:txBody>
      </p:sp>
      <p:sp>
        <p:nvSpPr>
          <p:cNvPr id="40" name="Hexagon 39">
            <a:extLst>
              <a:ext uri="{FF2B5EF4-FFF2-40B4-BE49-F238E27FC236}">
                <a16:creationId xmlns:a16="http://schemas.microsoft.com/office/drawing/2014/main" id="{4ED8EE42-E7F3-44BF-8F2A-2C51862B2D34}"/>
              </a:ext>
            </a:extLst>
          </p:cNvPr>
          <p:cNvSpPr/>
          <p:nvPr/>
        </p:nvSpPr>
        <p:spPr>
          <a:xfrm>
            <a:off x="7598251" y="1607413"/>
            <a:ext cx="1584666" cy="1151888"/>
          </a:xfrm>
          <a:prstGeom prst="hexag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21</a:t>
            </a:r>
            <a:endParaRPr lang="en-IN" sz="3600" b="1" dirty="0"/>
          </a:p>
        </p:txBody>
      </p:sp>
      <p:sp>
        <p:nvSpPr>
          <p:cNvPr id="41" name="Hexagon 40">
            <a:extLst>
              <a:ext uri="{FF2B5EF4-FFF2-40B4-BE49-F238E27FC236}">
                <a16:creationId xmlns:a16="http://schemas.microsoft.com/office/drawing/2014/main" id="{CDFE79ED-DFF7-4D87-8E53-4E75FBA91A6F}"/>
              </a:ext>
            </a:extLst>
          </p:cNvPr>
          <p:cNvSpPr/>
          <p:nvPr/>
        </p:nvSpPr>
        <p:spPr>
          <a:xfrm>
            <a:off x="9848361" y="1607413"/>
            <a:ext cx="1584666" cy="1151888"/>
          </a:xfrm>
          <a:prstGeom prst="hexag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15%</a:t>
            </a:r>
            <a:endParaRPr lang="en-IN" sz="3600" b="1" dirty="0"/>
          </a:p>
        </p:txBody>
      </p:sp>
      <p:sp>
        <p:nvSpPr>
          <p:cNvPr id="42" name="Rectangle 41">
            <a:extLst>
              <a:ext uri="{FF2B5EF4-FFF2-40B4-BE49-F238E27FC236}">
                <a16:creationId xmlns:a16="http://schemas.microsoft.com/office/drawing/2014/main" id="{DCD831C8-B32E-48A4-9E61-420E2CA217A9}"/>
              </a:ext>
            </a:extLst>
          </p:cNvPr>
          <p:cNvSpPr/>
          <p:nvPr/>
        </p:nvSpPr>
        <p:spPr>
          <a:xfrm>
            <a:off x="7540838" y="3134136"/>
            <a:ext cx="1785478" cy="923330"/>
          </a:xfrm>
          <a:prstGeom prst="rect">
            <a:avLst/>
          </a:prstGeom>
        </p:spPr>
        <p:txBody>
          <a:bodyPr wrap="square">
            <a:spAutoFit/>
          </a:bodyPr>
          <a:lstStyle/>
          <a:p>
            <a:pPr algn="ctr" defTabSz="973138">
              <a:spcBef>
                <a:spcPct val="50000"/>
              </a:spcBef>
              <a:tabLst>
                <a:tab pos="1374775" algn="l"/>
              </a:tabLst>
            </a:pPr>
            <a:r>
              <a:rPr lang="en-US" dirty="0">
                <a:solidFill>
                  <a:srgbClr val="073262"/>
                </a:solidFill>
                <a:latin typeface="Georgia" panose="02040502050405020303" pitchFamily="18" charset="0"/>
              </a:rPr>
              <a:t>Strategic/Long Term </a:t>
            </a:r>
            <a:r>
              <a:rPr lang="en-US" dirty="0">
                <a:solidFill>
                  <a:srgbClr val="073262"/>
                </a:solidFill>
                <a:latin typeface="Georgia"/>
              </a:rPr>
              <a:t>solutions identified</a:t>
            </a:r>
            <a:endParaRPr lang="en-US" dirty="0">
              <a:solidFill>
                <a:srgbClr val="073262"/>
              </a:solidFill>
              <a:latin typeface="Georgia" panose="02040502050405020303" pitchFamily="18" charset="0"/>
            </a:endParaRPr>
          </a:p>
        </p:txBody>
      </p:sp>
      <p:sp>
        <p:nvSpPr>
          <p:cNvPr id="43" name="Rectangle 42">
            <a:extLst>
              <a:ext uri="{FF2B5EF4-FFF2-40B4-BE49-F238E27FC236}">
                <a16:creationId xmlns:a16="http://schemas.microsoft.com/office/drawing/2014/main" id="{C3161D9F-91C1-4B1D-ADE2-FDDD0BDB8D46}"/>
              </a:ext>
            </a:extLst>
          </p:cNvPr>
          <p:cNvSpPr/>
          <p:nvPr/>
        </p:nvSpPr>
        <p:spPr>
          <a:xfrm>
            <a:off x="5044134" y="3119513"/>
            <a:ext cx="2057789" cy="923330"/>
          </a:xfrm>
          <a:prstGeom prst="rect">
            <a:avLst/>
          </a:prstGeom>
        </p:spPr>
        <p:txBody>
          <a:bodyPr wrap="square">
            <a:spAutoFit/>
          </a:bodyPr>
          <a:lstStyle/>
          <a:p>
            <a:pPr algn="ctr" defTabSz="685800">
              <a:defRPr/>
            </a:pPr>
            <a:r>
              <a:rPr lang="en-US" dirty="0">
                <a:solidFill>
                  <a:srgbClr val="073262"/>
                </a:solidFill>
                <a:latin typeface="Georgia" panose="02040502050405020303" pitchFamily="18" charset="0"/>
              </a:rPr>
              <a:t>Quick Hits / Short Term</a:t>
            </a:r>
            <a:r>
              <a:rPr lang="en-US" dirty="0">
                <a:solidFill>
                  <a:srgbClr val="073262"/>
                </a:solidFill>
                <a:latin typeface="Georgia"/>
              </a:rPr>
              <a:t> solutions prioritized</a:t>
            </a:r>
            <a:endParaRPr lang="en-US" dirty="0">
              <a:solidFill>
                <a:srgbClr val="073262"/>
              </a:solidFill>
              <a:latin typeface="Georgia" panose="02040502050405020303" pitchFamily="18" charset="0"/>
            </a:endParaRPr>
          </a:p>
        </p:txBody>
      </p:sp>
      <p:grpSp>
        <p:nvGrpSpPr>
          <p:cNvPr id="44" name="Group 101">
            <a:extLst>
              <a:ext uri="{FF2B5EF4-FFF2-40B4-BE49-F238E27FC236}">
                <a16:creationId xmlns:a16="http://schemas.microsoft.com/office/drawing/2014/main" id="{59F9E6A9-3F10-4BC6-8828-002B17BF3A3F}"/>
              </a:ext>
            </a:extLst>
          </p:cNvPr>
          <p:cNvGrpSpPr>
            <a:grpSpLocks noChangeAspect="1"/>
          </p:cNvGrpSpPr>
          <p:nvPr/>
        </p:nvGrpSpPr>
        <p:grpSpPr bwMode="auto">
          <a:xfrm>
            <a:off x="5622272" y="4743011"/>
            <a:ext cx="1019187" cy="943691"/>
            <a:chOff x="1546" y="3472"/>
            <a:chExt cx="567" cy="525"/>
          </a:xfrm>
          <a:solidFill>
            <a:schemeClr val="accent1">
              <a:lumMod val="60000"/>
              <a:lumOff val="40000"/>
            </a:schemeClr>
          </a:solidFill>
        </p:grpSpPr>
        <p:sp>
          <p:nvSpPr>
            <p:cNvPr id="45" name="Freeform 102">
              <a:extLst>
                <a:ext uri="{FF2B5EF4-FFF2-40B4-BE49-F238E27FC236}">
                  <a16:creationId xmlns:a16="http://schemas.microsoft.com/office/drawing/2014/main" id="{826DAA2E-9ED8-4EE0-A031-873E3D1B768E}"/>
                </a:ext>
              </a:extLst>
            </p:cNvPr>
            <p:cNvSpPr>
              <a:spLocks noEditPoints="1"/>
            </p:cNvSpPr>
            <p:nvPr/>
          </p:nvSpPr>
          <p:spPr bwMode="auto">
            <a:xfrm>
              <a:off x="1650" y="3472"/>
              <a:ext cx="340" cy="340"/>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72 w 144"/>
                <a:gd name="T11" fmla="*/ 130 h 144"/>
                <a:gd name="T12" fmla="*/ 14 w 144"/>
                <a:gd name="T13" fmla="*/ 72 h 144"/>
                <a:gd name="T14" fmla="*/ 72 w 144"/>
                <a:gd name="T15" fmla="*/ 14 h 144"/>
                <a:gd name="T16" fmla="*/ 130 w 144"/>
                <a:gd name="T17" fmla="*/ 72 h 144"/>
                <a:gd name="T18" fmla="*/ 72 w 144"/>
                <a:gd name="T19" fmla="*/ 13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4">
                  <a:moveTo>
                    <a:pt x="72" y="0"/>
                  </a:moveTo>
                  <a:cubicBezTo>
                    <a:pt x="32" y="0"/>
                    <a:pt x="0" y="32"/>
                    <a:pt x="0" y="72"/>
                  </a:cubicBezTo>
                  <a:cubicBezTo>
                    <a:pt x="0" y="112"/>
                    <a:pt x="32" y="144"/>
                    <a:pt x="72" y="144"/>
                  </a:cubicBezTo>
                  <a:cubicBezTo>
                    <a:pt x="111" y="144"/>
                    <a:pt x="144" y="112"/>
                    <a:pt x="144" y="72"/>
                  </a:cubicBezTo>
                  <a:cubicBezTo>
                    <a:pt x="144" y="32"/>
                    <a:pt x="111" y="0"/>
                    <a:pt x="72" y="0"/>
                  </a:cubicBezTo>
                  <a:close/>
                  <a:moveTo>
                    <a:pt x="72" y="130"/>
                  </a:moveTo>
                  <a:cubicBezTo>
                    <a:pt x="40" y="130"/>
                    <a:pt x="14" y="104"/>
                    <a:pt x="14" y="72"/>
                  </a:cubicBezTo>
                  <a:cubicBezTo>
                    <a:pt x="14" y="40"/>
                    <a:pt x="40" y="14"/>
                    <a:pt x="72" y="14"/>
                  </a:cubicBezTo>
                  <a:cubicBezTo>
                    <a:pt x="104" y="14"/>
                    <a:pt x="130" y="40"/>
                    <a:pt x="130" y="72"/>
                  </a:cubicBezTo>
                  <a:cubicBezTo>
                    <a:pt x="130" y="104"/>
                    <a:pt x="104" y="130"/>
                    <a:pt x="72"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46" name="Freeform 103">
              <a:extLst>
                <a:ext uri="{FF2B5EF4-FFF2-40B4-BE49-F238E27FC236}">
                  <a16:creationId xmlns:a16="http://schemas.microsoft.com/office/drawing/2014/main" id="{37A81C0C-DDCD-44D2-8596-C72C8CDCCFCF}"/>
                </a:ext>
              </a:extLst>
            </p:cNvPr>
            <p:cNvSpPr>
              <a:spLocks/>
            </p:cNvSpPr>
            <p:nvPr/>
          </p:nvSpPr>
          <p:spPr bwMode="auto">
            <a:xfrm>
              <a:off x="1917" y="3739"/>
              <a:ext cx="146" cy="149"/>
            </a:xfrm>
            <a:custGeom>
              <a:avLst/>
              <a:gdLst>
                <a:gd name="T0" fmla="*/ 0 w 62"/>
                <a:gd name="T1" fmla="*/ 24 h 63"/>
                <a:gd name="T2" fmla="*/ 39 w 62"/>
                <a:gd name="T3" fmla="*/ 63 h 63"/>
                <a:gd name="T4" fmla="*/ 62 w 62"/>
                <a:gd name="T5" fmla="*/ 39 h 63"/>
                <a:gd name="T6" fmla="*/ 24 w 62"/>
                <a:gd name="T7" fmla="*/ 0 h 63"/>
                <a:gd name="T8" fmla="*/ 0 w 62"/>
                <a:gd name="T9" fmla="*/ 24 h 63"/>
              </a:gdLst>
              <a:ahLst/>
              <a:cxnLst>
                <a:cxn ang="0">
                  <a:pos x="T0" y="T1"/>
                </a:cxn>
                <a:cxn ang="0">
                  <a:pos x="T2" y="T3"/>
                </a:cxn>
                <a:cxn ang="0">
                  <a:pos x="T4" y="T5"/>
                </a:cxn>
                <a:cxn ang="0">
                  <a:pos x="T6" y="T7"/>
                </a:cxn>
                <a:cxn ang="0">
                  <a:pos x="T8" y="T9"/>
                </a:cxn>
              </a:cxnLst>
              <a:rect l="0" t="0" r="r" b="b"/>
              <a:pathLst>
                <a:path w="62" h="63">
                  <a:moveTo>
                    <a:pt x="0" y="24"/>
                  </a:moveTo>
                  <a:cubicBezTo>
                    <a:pt x="39" y="63"/>
                    <a:pt x="39" y="63"/>
                    <a:pt x="39" y="63"/>
                  </a:cubicBezTo>
                  <a:cubicBezTo>
                    <a:pt x="39" y="63"/>
                    <a:pt x="60" y="45"/>
                    <a:pt x="62" y="39"/>
                  </a:cubicBezTo>
                  <a:cubicBezTo>
                    <a:pt x="24" y="0"/>
                    <a:pt x="24" y="0"/>
                    <a:pt x="24" y="0"/>
                  </a:cubicBezTo>
                  <a:cubicBezTo>
                    <a:pt x="24" y="0"/>
                    <a:pt x="18" y="11"/>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50" name="Freeform 104">
              <a:extLst>
                <a:ext uri="{FF2B5EF4-FFF2-40B4-BE49-F238E27FC236}">
                  <a16:creationId xmlns:a16="http://schemas.microsoft.com/office/drawing/2014/main" id="{A87BCB71-C37E-4C88-AAB3-B6072B3B0FB2}"/>
                </a:ext>
              </a:extLst>
            </p:cNvPr>
            <p:cNvSpPr>
              <a:spLocks/>
            </p:cNvSpPr>
            <p:nvPr/>
          </p:nvSpPr>
          <p:spPr bwMode="auto">
            <a:xfrm>
              <a:off x="2016" y="3841"/>
              <a:ext cx="97" cy="99"/>
            </a:xfrm>
            <a:custGeom>
              <a:avLst/>
              <a:gdLst>
                <a:gd name="T0" fmla="*/ 0 w 41"/>
                <a:gd name="T1" fmla="*/ 24 h 42"/>
                <a:gd name="T2" fmla="*/ 25 w 41"/>
                <a:gd name="T3" fmla="*/ 0 h 42"/>
                <a:gd name="T4" fmla="*/ 30 w 41"/>
                <a:gd name="T5" fmla="*/ 27 h 42"/>
                <a:gd name="T6" fmla="*/ 0 w 41"/>
                <a:gd name="T7" fmla="*/ 24 h 42"/>
              </a:gdLst>
              <a:ahLst/>
              <a:cxnLst>
                <a:cxn ang="0">
                  <a:pos x="T0" y="T1"/>
                </a:cxn>
                <a:cxn ang="0">
                  <a:pos x="T2" y="T3"/>
                </a:cxn>
                <a:cxn ang="0">
                  <a:pos x="T4" y="T5"/>
                </a:cxn>
                <a:cxn ang="0">
                  <a:pos x="T6" y="T7"/>
                </a:cxn>
              </a:cxnLst>
              <a:rect l="0" t="0" r="r" b="b"/>
              <a:pathLst>
                <a:path w="41" h="42">
                  <a:moveTo>
                    <a:pt x="0" y="24"/>
                  </a:moveTo>
                  <a:cubicBezTo>
                    <a:pt x="0" y="24"/>
                    <a:pt x="19" y="9"/>
                    <a:pt x="25" y="0"/>
                  </a:cubicBezTo>
                  <a:cubicBezTo>
                    <a:pt x="25" y="0"/>
                    <a:pt x="41" y="11"/>
                    <a:pt x="30" y="27"/>
                  </a:cubicBezTo>
                  <a:cubicBezTo>
                    <a:pt x="17" y="42"/>
                    <a:pt x="3" y="27"/>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51" name="Freeform 105">
              <a:extLst>
                <a:ext uri="{FF2B5EF4-FFF2-40B4-BE49-F238E27FC236}">
                  <a16:creationId xmlns:a16="http://schemas.microsoft.com/office/drawing/2014/main" id="{55CD7DE2-3FA5-465F-B4D4-C914F152E891}"/>
                </a:ext>
              </a:extLst>
            </p:cNvPr>
            <p:cNvSpPr>
              <a:spLocks/>
            </p:cNvSpPr>
            <p:nvPr/>
          </p:nvSpPr>
          <p:spPr bwMode="auto">
            <a:xfrm>
              <a:off x="1600" y="3597"/>
              <a:ext cx="234" cy="236"/>
            </a:xfrm>
            <a:custGeom>
              <a:avLst/>
              <a:gdLst>
                <a:gd name="T0" fmla="*/ 98 w 99"/>
                <a:gd name="T1" fmla="*/ 34 h 100"/>
                <a:gd name="T2" fmla="*/ 87 w 99"/>
                <a:gd name="T3" fmla="*/ 0 h 100"/>
                <a:gd name="T4" fmla="*/ 53 w 99"/>
                <a:gd name="T5" fmla="*/ 15 h 100"/>
                <a:gd name="T6" fmla="*/ 49 w 99"/>
                <a:gd name="T7" fmla="*/ 24 h 100"/>
                <a:gd name="T8" fmla="*/ 58 w 99"/>
                <a:gd name="T9" fmla="*/ 28 h 100"/>
                <a:gd name="T10" fmla="*/ 69 w 99"/>
                <a:gd name="T11" fmla="*/ 23 h 100"/>
                <a:gd name="T12" fmla="*/ 50 w 99"/>
                <a:gd name="T13" fmla="*/ 60 h 100"/>
                <a:gd name="T14" fmla="*/ 52 w 99"/>
                <a:gd name="T15" fmla="*/ 68 h 100"/>
                <a:gd name="T16" fmla="*/ 40 w 99"/>
                <a:gd name="T17" fmla="*/ 89 h 100"/>
                <a:gd name="T18" fmla="*/ 39 w 99"/>
                <a:gd name="T19" fmla="*/ 91 h 100"/>
                <a:gd name="T20" fmla="*/ 37 w 99"/>
                <a:gd name="T21" fmla="*/ 90 h 100"/>
                <a:gd name="T22" fmla="*/ 24 w 99"/>
                <a:gd name="T23" fmla="*/ 75 h 100"/>
                <a:gd name="T24" fmla="*/ 18 w 99"/>
                <a:gd name="T25" fmla="*/ 72 h 100"/>
                <a:gd name="T26" fmla="*/ 13 w 99"/>
                <a:gd name="T27" fmla="*/ 76 h 100"/>
                <a:gd name="T28" fmla="*/ 1 w 99"/>
                <a:gd name="T29" fmla="*/ 96 h 100"/>
                <a:gd name="T30" fmla="*/ 2 w 99"/>
                <a:gd name="T31" fmla="*/ 100 h 100"/>
                <a:gd name="T32" fmla="*/ 3 w 99"/>
                <a:gd name="T33" fmla="*/ 100 h 100"/>
                <a:gd name="T34" fmla="*/ 5 w 99"/>
                <a:gd name="T35" fmla="*/ 99 h 100"/>
                <a:gd name="T36" fmla="*/ 17 w 99"/>
                <a:gd name="T37" fmla="*/ 78 h 100"/>
                <a:gd name="T38" fmla="*/ 19 w 99"/>
                <a:gd name="T39" fmla="*/ 77 h 100"/>
                <a:gd name="T40" fmla="*/ 21 w 99"/>
                <a:gd name="T41" fmla="*/ 78 h 100"/>
                <a:gd name="T42" fmla="*/ 33 w 99"/>
                <a:gd name="T43" fmla="*/ 93 h 100"/>
                <a:gd name="T44" fmla="*/ 39 w 99"/>
                <a:gd name="T45" fmla="*/ 96 h 100"/>
                <a:gd name="T46" fmla="*/ 45 w 99"/>
                <a:gd name="T47" fmla="*/ 92 h 100"/>
                <a:gd name="T48" fmla="*/ 56 w 99"/>
                <a:gd name="T49" fmla="*/ 70 h 100"/>
                <a:gd name="T50" fmla="*/ 56 w 99"/>
                <a:gd name="T51" fmla="*/ 70 h 100"/>
                <a:gd name="T52" fmla="*/ 62 w 99"/>
                <a:gd name="T53" fmla="*/ 66 h 100"/>
                <a:gd name="T54" fmla="*/ 82 w 99"/>
                <a:gd name="T55" fmla="*/ 27 h 100"/>
                <a:gd name="T56" fmla="*/ 85 w 99"/>
                <a:gd name="T57" fmla="*/ 38 h 100"/>
                <a:gd name="T58" fmla="*/ 92 w 99"/>
                <a:gd name="T59" fmla="*/ 43 h 100"/>
                <a:gd name="T60" fmla="*/ 94 w 99"/>
                <a:gd name="T61" fmla="*/ 43 h 100"/>
                <a:gd name="T62" fmla="*/ 98 w 99"/>
                <a:gd name="T63" fmla="*/ 3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 h="100">
                  <a:moveTo>
                    <a:pt x="98" y="34"/>
                  </a:moveTo>
                  <a:cubicBezTo>
                    <a:pt x="87" y="0"/>
                    <a:pt x="87" y="0"/>
                    <a:pt x="87" y="0"/>
                  </a:cubicBezTo>
                  <a:cubicBezTo>
                    <a:pt x="53" y="15"/>
                    <a:pt x="53" y="15"/>
                    <a:pt x="53" y="15"/>
                  </a:cubicBezTo>
                  <a:cubicBezTo>
                    <a:pt x="49" y="17"/>
                    <a:pt x="48" y="21"/>
                    <a:pt x="49" y="24"/>
                  </a:cubicBezTo>
                  <a:cubicBezTo>
                    <a:pt x="51" y="28"/>
                    <a:pt x="55" y="29"/>
                    <a:pt x="58" y="28"/>
                  </a:cubicBezTo>
                  <a:cubicBezTo>
                    <a:pt x="69" y="23"/>
                    <a:pt x="69" y="23"/>
                    <a:pt x="69" y="23"/>
                  </a:cubicBezTo>
                  <a:cubicBezTo>
                    <a:pt x="50" y="60"/>
                    <a:pt x="50" y="60"/>
                    <a:pt x="50" y="60"/>
                  </a:cubicBezTo>
                  <a:cubicBezTo>
                    <a:pt x="49" y="63"/>
                    <a:pt x="50" y="66"/>
                    <a:pt x="52" y="68"/>
                  </a:cubicBezTo>
                  <a:cubicBezTo>
                    <a:pt x="40" y="89"/>
                    <a:pt x="40" y="89"/>
                    <a:pt x="40" y="89"/>
                  </a:cubicBezTo>
                  <a:cubicBezTo>
                    <a:pt x="40" y="90"/>
                    <a:pt x="39" y="91"/>
                    <a:pt x="39" y="91"/>
                  </a:cubicBezTo>
                  <a:cubicBezTo>
                    <a:pt x="38" y="91"/>
                    <a:pt x="37" y="90"/>
                    <a:pt x="37" y="90"/>
                  </a:cubicBezTo>
                  <a:cubicBezTo>
                    <a:pt x="24" y="75"/>
                    <a:pt x="24" y="75"/>
                    <a:pt x="24" y="75"/>
                  </a:cubicBezTo>
                  <a:cubicBezTo>
                    <a:pt x="23" y="73"/>
                    <a:pt x="21" y="72"/>
                    <a:pt x="18" y="72"/>
                  </a:cubicBezTo>
                  <a:cubicBezTo>
                    <a:pt x="16" y="72"/>
                    <a:pt x="14" y="73"/>
                    <a:pt x="13" y="76"/>
                  </a:cubicBezTo>
                  <a:cubicBezTo>
                    <a:pt x="1" y="96"/>
                    <a:pt x="1" y="96"/>
                    <a:pt x="1" y="96"/>
                  </a:cubicBezTo>
                  <a:cubicBezTo>
                    <a:pt x="0" y="98"/>
                    <a:pt x="0" y="99"/>
                    <a:pt x="2" y="100"/>
                  </a:cubicBezTo>
                  <a:cubicBezTo>
                    <a:pt x="2" y="100"/>
                    <a:pt x="2" y="100"/>
                    <a:pt x="3" y="100"/>
                  </a:cubicBezTo>
                  <a:cubicBezTo>
                    <a:pt x="4" y="100"/>
                    <a:pt x="5" y="100"/>
                    <a:pt x="5" y="99"/>
                  </a:cubicBezTo>
                  <a:cubicBezTo>
                    <a:pt x="17" y="78"/>
                    <a:pt x="17" y="78"/>
                    <a:pt x="17" y="78"/>
                  </a:cubicBezTo>
                  <a:cubicBezTo>
                    <a:pt x="17" y="77"/>
                    <a:pt x="18" y="77"/>
                    <a:pt x="19" y="77"/>
                  </a:cubicBezTo>
                  <a:cubicBezTo>
                    <a:pt x="19" y="77"/>
                    <a:pt x="20" y="77"/>
                    <a:pt x="21" y="78"/>
                  </a:cubicBezTo>
                  <a:cubicBezTo>
                    <a:pt x="33" y="93"/>
                    <a:pt x="33" y="93"/>
                    <a:pt x="33" y="93"/>
                  </a:cubicBezTo>
                  <a:cubicBezTo>
                    <a:pt x="35" y="95"/>
                    <a:pt x="37" y="96"/>
                    <a:pt x="39" y="96"/>
                  </a:cubicBezTo>
                  <a:cubicBezTo>
                    <a:pt x="41" y="95"/>
                    <a:pt x="43" y="94"/>
                    <a:pt x="45" y="92"/>
                  </a:cubicBezTo>
                  <a:cubicBezTo>
                    <a:pt x="56" y="70"/>
                    <a:pt x="56" y="70"/>
                    <a:pt x="56" y="70"/>
                  </a:cubicBezTo>
                  <a:cubicBezTo>
                    <a:pt x="56" y="70"/>
                    <a:pt x="56" y="70"/>
                    <a:pt x="56" y="70"/>
                  </a:cubicBezTo>
                  <a:cubicBezTo>
                    <a:pt x="59" y="70"/>
                    <a:pt x="61" y="69"/>
                    <a:pt x="62" y="66"/>
                  </a:cubicBezTo>
                  <a:cubicBezTo>
                    <a:pt x="82" y="27"/>
                    <a:pt x="82" y="27"/>
                    <a:pt x="82" y="27"/>
                  </a:cubicBezTo>
                  <a:cubicBezTo>
                    <a:pt x="85" y="38"/>
                    <a:pt x="85" y="38"/>
                    <a:pt x="85" y="38"/>
                  </a:cubicBezTo>
                  <a:cubicBezTo>
                    <a:pt x="86" y="41"/>
                    <a:pt x="89" y="43"/>
                    <a:pt x="92" y="43"/>
                  </a:cubicBezTo>
                  <a:cubicBezTo>
                    <a:pt x="92" y="43"/>
                    <a:pt x="93" y="43"/>
                    <a:pt x="94" y="43"/>
                  </a:cubicBezTo>
                  <a:cubicBezTo>
                    <a:pt x="97" y="42"/>
                    <a:pt x="99" y="38"/>
                    <a:pt x="98"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65" name="Freeform 106">
              <a:extLst>
                <a:ext uri="{FF2B5EF4-FFF2-40B4-BE49-F238E27FC236}">
                  <a16:creationId xmlns:a16="http://schemas.microsoft.com/office/drawing/2014/main" id="{45C208C2-BA7E-4041-AC34-AA69DA290CCA}"/>
                </a:ext>
              </a:extLst>
            </p:cNvPr>
            <p:cNvSpPr>
              <a:spLocks/>
            </p:cNvSpPr>
            <p:nvPr/>
          </p:nvSpPr>
          <p:spPr bwMode="auto">
            <a:xfrm>
              <a:off x="1588" y="3864"/>
              <a:ext cx="114" cy="12"/>
            </a:xfrm>
            <a:custGeom>
              <a:avLst/>
              <a:gdLst>
                <a:gd name="T0" fmla="*/ 45 w 48"/>
                <a:gd name="T1" fmla="*/ 5 h 5"/>
                <a:gd name="T2" fmla="*/ 2 w 48"/>
                <a:gd name="T3" fmla="*/ 5 h 5"/>
                <a:gd name="T4" fmla="*/ 0 w 48"/>
                <a:gd name="T5" fmla="*/ 2 h 5"/>
                <a:gd name="T6" fmla="*/ 2 w 48"/>
                <a:gd name="T7" fmla="*/ 0 h 5"/>
                <a:gd name="T8" fmla="*/ 45 w 48"/>
                <a:gd name="T9" fmla="*/ 0 h 5"/>
                <a:gd name="T10" fmla="*/ 48 w 48"/>
                <a:gd name="T11" fmla="*/ 2 h 5"/>
                <a:gd name="T12" fmla="*/ 45 w 4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8" h="5">
                  <a:moveTo>
                    <a:pt x="45" y="5"/>
                  </a:moveTo>
                  <a:cubicBezTo>
                    <a:pt x="2" y="5"/>
                    <a:pt x="2" y="5"/>
                    <a:pt x="2" y="5"/>
                  </a:cubicBezTo>
                  <a:cubicBezTo>
                    <a:pt x="1" y="5"/>
                    <a:pt x="0" y="4"/>
                    <a:pt x="0" y="2"/>
                  </a:cubicBezTo>
                  <a:cubicBezTo>
                    <a:pt x="0" y="1"/>
                    <a:pt x="1" y="0"/>
                    <a:pt x="2" y="0"/>
                  </a:cubicBezTo>
                  <a:cubicBezTo>
                    <a:pt x="45" y="0"/>
                    <a:pt x="45" y="0"/>
                    <a:pt x="45" y="0"/>
                  </a:cubicBezTo>
                  <a:cubicBezTo>
                    <a:pt x="47" y="0"/>
                    <a:pt x="48" y="1"/>
                    <a:pt x="48" y="2"/>
                  </a:cubicBezTo>
                  <a:cubicBezTo>
                    <a:pt x="48" y="4"/>
                    <a:pt x="47"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68" name="Freeform 107">
              <a:extLst>
                <a:ext uri="{FF2B5EF4-FFF2-40B4-BE49-F238E27FC236}">
                  <a16:creationId xmlns:a16="http://schemas.microsoft.com/office/drawing/2014/main" id="{72B1EF78-C73C-433C-8384-E376A747F1B2}"/>
                </a:ext>
              </a:extLst>
            </p:cNvPr>
            <p:cNvSpPr>
              <a:spLocks/>
            </p:cNvSpPr>
            <p:nvPr/>
          </p:nvSpPr>
          <p:spPr bwMode="auto">
            <a:xfrm>
              <a:off x="1588" y="3888"/>
              <a:ext cx="114" cy="12"/>
            </a:xfrm>
            <a:custGeom>
              <a:avLst/>
              <a:gdLst>
                <a:gd name="T0" fmla="*/ 45 w 48"/>
                <a:gd name="T1" fmla="*/ 5 h 5"/>
                <a:gd name="T2" fmla="*/ 2 w 48"/>
                <a:gd name="T3" fmla="*/ 5 h 5"/>
                <a:gd name="T4" fmla="*/ 0 w 48"/>
                <a:gd name="T5" fmla="*/ 2 h 5"/>
                <a:gd name="T6" fmla="*/ 2 w 48"/>
                <a:gd name="T7" fmla="*/ 0 h 5"/>
                <a:gd name="T8" fmla="*/ 45 w 48"/>
                <a:gd name="T9" fmla="*/ 0 h 5"/>
                <a:gd name="T10" fmla="*/ 48 w 48"/>
                <a:gd name="T11" fmla="*/ 2 h 5"/>
                <a:gd name="T12" fmla="*/ 45 w 4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8" h="5">
                  <a:moveTo>
                    <a:pt x="45" y="5"/>
                  </a:moveTo>
                  <a:cubicBezTo>
                    <a:pt x="2" y="5"/>
                    <a:pt x="2" y="5"/>
                    <a:pt x="2" y="5"/>
                  </a:cubicBezTo>
                  <a:cubicBezTo>
                    <a:pt x="1" y="5"/>
                    <a:pt x="0" y="4"/>
                    <a:pt x="0" y="2"/>
                  </a:cubicBezTo>
                  <a:cubicBezTo>
                    <a:pt x="0" y="1"/>
                    <a:pt x="1" y="0"/>
                    <a:pt x="2" y="0"/>
                  </a:cubicBezTo>
                  <a:cubicBezTo>
                    <a:pt x="45" y="0"/>
                    <a:pt x="45" y="0"/>
                    <a:pt x="45" y="0"/>
                  </a:cubicBezTo>
                  <a:cubicBezTo>
                    <a:pt x="47" y="0"/>
                    <a:pt x="48" y="1"/>
                    <a:pt x="48" y="2"/>
                  </a:cubicBezTo>
                  <a:cubicBezTo>
                    <a:pt x="48" y="4"/>
                    <a:pt x="47"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69" name="Freeform 108">
              <a:extLst>
                <a:ext uri="{FF2B5EF4-FFF2-40B4-BE49-F238E27FC236}">
                  <a16:creationId xmlns:a16="http://schemas.microsoft.com/office/drawing/2014/main" id="{428AA36E-55F6-4730-82D9-4559CDC95BD6}"/>
                </a:ext>
              </a:extLst>
            </p:cNvPr>
            <p:cNvSpPr>
              <a:spLocks/>
            </p:cNvSpPr>
            <p:nvPr/>
          </p:nvSpPr>
          <p:spPr bwMode="auto">
            <a:xfrm>
              <a:off x="1588" y="3911"/>
              <a:ext cx="114" cy="12"/>
            </a:xfrm>
            <a:custGeom>
              <a:avLst/>
              <a:gdLst>
                <a:gd name="T0" fmla="*/ 45 w 48"/>
                <a:gd name="T1" fmla="*/ 5 h 5"/>
                <a:gd name="T2" fmla="*/ 2 w 48"/>
                <a:gd name="T3" fmla="*/ 5 h 5"/>
                <a:gd name="T4" fmla="*/ 0 w 48"/>
                <a:gd name="T5" fmla="*/ 2 h 5"/>
                <a:gd name="T6" fmla="*/ 2 w 48"/>
                <a:gd name="T7" fmla="*/ 0 h 5"/>
                <a:gd name="T8" fmla="*/ 45 w 48"/>
                <a:gd name="T9" fmla="*/ 0 h 5"/>
                <a:gd name="T10" fmla="*/ 48 w 48"/>
                <a:gd name="T11" fmla="*/ 2 h 5"/>
                <a:gd name="T12" fmla="*/ 45 w 4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8" h="5">
                  <a:moveTo>
                    <a:pt x="45" y="5"/>
                  </a:moveTo>
                  <a:cubicBezTo>
                    <a:pt x="2" y="5"/>
                    <a:pt x="2" y="5"/>
                    <a:pt x="2" y="5"/>
                  </a:cubicBezTo>
                  <a:cubicBezTo>
                    <a:pt x="1" y="5"/>
                    <a:pt x="0" y="4"/>
                    <a:pt x="0" y="2"/>
                  </a:cubicBezTo>
                  <a:cubicBezTo>
                    <a:pt x="0" y="1"/>
                    <a:pt x="1" y="0"/>
                    <a:pt x="2" y="0"/>
                  </a:cubicBezTo>
                  <a:cubicBezTo>
                    <a:pt x="45" y="0"/>
                    <a:pt x="45" y="0"/>
                    <a:pt x="45" y="0"/>
                  </a:cubicBezTo>
                  <a:cubicBezTo>
                    <a:pt x="47" y="0"/>
                    <a:pt x="48" y="1"/>
                    <a:pt x="48" y="2"/>
                  </a:cubicBezTo>
                  <a:cubicBezTo>
                    <a:pt x="48" y="4"/>
                    <a:pt x="47"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70" name="Freeform 109">
              <a:extLst>
                <a:ext uri="{FF2B5EF4-FFF2-40B4-BE49-F238E27FC236}">
                  <a16:creationId xmlns:a16="http://schemas.microsoft.com/office/drawing/2014/main" id="{0094D647-7AFD-4F42-B992-3E21AC292829}"/>
                </a:ext>
              </a:extLst>
            </p:cNvPr>
            <p:cNvSpPr>
              <a:spLocks/>
            </p:cNvSpPr>
            <p:nvPr/>
          </p:nvSpPr>
          <p:spPr bwMode="auto">
            <a:xfrm>
              <a:off x="1720" y="3864"/>
              <a:ext cx="112" cy="12"/>
            </a:xfrm>
            <a:custGeom>
              <a:avLst/>
              <a:gdLst>
                <a:gd name="T0" fmla="*/ 45 w 47"/>
                <a:gd name="T1" fmla="*/ 5 h 5"/>
                <a:gd name="T2" fmla="*/ 2 w 47"/>
                <a:gd name="T3" fmla="*/ 5 h 5"/>
                <a:gd name="T4" fmla="*/ 0 w 47"/>
                <a:gd name="T5" fmla="*/ 2 h 5"/>
                <a:gd name="T6" fmla="*/ 2 w 47"/>
                <a:gd name="T7" fmla="*/ 0 h 5"/>
                <a:gd name="T8" fmla="*/ 45 w 47"/>
                <a:gd name="T9" fmla="*/ 0 h 5"/>
                <a:gd name="T10" fmla="*/ 47 w 47"/>
                <a:gd name="T11" fmla="*/ 2 h 5"/>
                <a:gd name="T12" fmla="*/ 45 w 4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7" h="5">
                  <a:moveTo>
                    <a:pt x="45" y="5"/>
                  </a:moveTo>
                  <a:cubicBezTo>
                    <a:pt x="2" y="5"/>
                    <a:pt x="2" y="5"/>
                    <a:pt x="2" y="5"/>
                  </a:cubicBezTo>
                  <a:cubicBezTo>
                    <a:pt x="1" y="5"/>
                    <a:pt x="0" y="4"/>
                    <a:pt x="0" y="2"/>
                  </a:cubicBezTo>
                  <a:cubicBezTo>
                    <a:pt x="0" y="1"/>
                    <a:pt x="1" y="0"/>
                    <a:pt x="2" y="0"/>
                  </a:cubicBezTo>
                  <a:cubicBezTo>
                    <a:pt x="45" y="0"/>
                    <a:pt x="45" y="0"/>
                    <a:pt x="45" y="0"/>
                  </a:cubicBezTo>
                  <a:cubicBezTo>
                    <a:pt x="46" y="0"/>
                    <a:pt x="47" y="1"/>
                    <a:pt x="47" y="2"/>
                  </a:cubicBezTo>
                  <a:cubicBezTo>
                    <a:pt x="47" y="4"/>
                    <a:pt x="46"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71" name="Freeform 110">
              <a:extLst>
                <a:ext uri="{FF2B5EF4-FFF2-40B4-BE49-F238E27FC236}">
                  <a16:creationId xmlns:a16="http://schemas.microsoft.com/office/drawing/2014/main" id="{5FEC11C9-B912-4BB9-B9B0-0133F4D24F2B}"/>
                </a:ext>
              </a:extLst>
            </p:cNvPr>
            <p:cNvSpPr>
              <a:spLocks/>
            </p:cNvSpPr>
            <p:nvPr/>
          </p:nvSpPr>
          <p:spPr bwMode="auto">
            <a:xfrm>
              <a:off x="1720" y="3888"/>
              <a:ext cx="112" cy="12"/>
            </a:xfrm>
            <a:custGeom>
              <a:avLst/>
              <a:gdLst>
                <a:gd name="T0" fmla="*/ 45 w 47"/>
                <a:gd name="T1" fmla="*/ 5 h 5"/>
                <a:gd name="T2" fmla="*/ 2 w 47"/>
                <a:gd name="T3" fmla="*/ 5 h 5"/>
                <a:gd name="T4" fmla="*/ 0 w 47"/>
                <a:gd name="T5" fmla="*/ 2 h 5"/>
                <a:gd name="T6" fmla="*/ 2 w 47"/>
                <a:gd name="T7" fmla="*/ 0 h 5"/>
                <a:gd name="T8" fmla="*/ 45 w 47"/>
                <a:gd name="T9" fmla="*/ 0 h 5"/>
                <a:gd name="T10" fmla="*/ 47 w 47"/>
                <a:gd name="T11" fmla="*/ 2 h 5"/>
                <a:gd name="T12" fmla="*/ 45 w 4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7" h="5">
                  <a:moveTo>
                    <a:pt x="45" y="5"/>
                  </a:moveTo>
                  <a:cubicBezTo>
                    <a:pt x="2" y="5"/>
                    <a:pt x="2" y="5"/>
                    <a:pt x="2" y="5"/>
                  </a:cubicBezTo>
                  <a:cubicBezTo>
                    <a:pt x="1" y="5"/>
                    <a:pt x="0" y="4"/>
                    <a:pt x="0" y="2"/>
                  </a:cubicBezTo>
                  <a:cubicBezTo>
                    <a:pt x="0" y="1"/>
                    <a:pt x="1" y="0"/>
                    <a:pt x="2" y="0"/>
                  </a:cubicBezTo>
                  <a:cubicBezTo>
                    <a:pt x="45" y="0"/>
                    <a:pt x="45" y="0"/>
                    <a:pt x="45" y="0"/>
                  </a:cubicBezTo>
                  <a:cubicBezTo>
                    <a:pt x="46" y="0"/>
                    <a:pt x="47" y="1"/>
                    <a:pt x="47" y="2"/>
                  </a:cubicBezTo>
                  <a:cubicBezTo>
                    <a:pt x="47" y="4"/>
                    <a:pt x="46"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72" name="Freeform 111">
              <a:extLst>
                <a:ext uri="{FF2B5EF4-FFF2-40B4-BE49-F238E27FC236}">
                  <a16:creationId xmlns:a16="http://schemas.microsoft.com/office/drawing/2014/main" id="{A19EDD9D-84C8-43E2-94FE-31227A7ADFB7}"/>
                </a:ext>
              </a:extLst>
            </p:cNvPr>
            <p:cNvSpPr>
              <a:spLocks/>
            </p:cNvSpPr>
            <p:nvPr/>
          </p:nvSpPr>
          <p:spPr bwMode="auto">
            <a:xfrm>
              <a:off x="1720" y="3911"/>
              <a:ext cx="112" cy="12"/>
            </a:xfrm>
            <a:custGeom>
              <a:avLst/>
              <a:gdLst>
                <a:gd name="T0" fmla="*/ 45 w 47"/>
                <a:gd name="T1" fmla="*/ 5 h 5"/>
                <a:gd name="T2" fmla="*/ 2 w 47"/>
                <a:gd name="T3" fmla="*/ 5 h 5"/>
                <a:gd name="T4" fmla="*/ 0 w 47"/>
                <a:gd name="T5" fmla="*/ 2 h 5"/>
                <a:gd name="T6" fmla="*/ 2 w 47"/>
                <a:gd name="T7" fmla="*/ 0 h 5"/>
                <a:gd name="T8" fmla="*/ 45 w 47"/>
                <a:gd name="T9" fmla="*/ 0 h 5"/>
                <a:gd name="T10" fmla="*/ 47 w 47"/>
                <a:gd name="T11" fmla="*/ 2 h 5"/>
                <a:gd name="T12" fmla="*/ 45 w 4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7" h="5">
                  <a:moveTo>
                    <a:pt x="45" y="5"/>
                  </a:moveTo>
                  <a:cubicBezTo>
                    <a:pt x="2" y="5"/>
                    <a:pt x="2" y="5"/>
                    <a:pt x="2" y="5"/>
                  </a:cubicBezTo>
                  <a:cubicBezTo>
                    <a:pt x="1" y="5"/>
                    <a:pt x="0" y="4"/>
                    <a:pt x="0" y="2"/>
                  </a:cubicBezTo>
                  <a:cubicBezTo>
                    <a:pt x="0" y="1"/>
                    <a:pt x="1" y="0"/>
                    <a:pt x="2" y="0"/>
                  </a:cubicBezTo>
                  <a:cubicBezTo>
                    <a:pt x="45" y="0"/>
                    <a:pt x="45" y="0"/>
                    <a:pt x="45" y="0"/>
                  </a:cubicBezTo>
                  <a:cubicBezTo>
                    <a:pt x="46" y="0"/>
                    <a:pt x="47" y="1"/>
                    <a:pt x="47" y="2"/>
                  </a:cubicBezTo>
                  <a:cubicBezTo>
                    <a:pt x="47" y="4"/>
                    <a:pt x="46" y="5"/>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73" name="Freeform 112">
              <a:extLst>
                <a:ext uri="{FF2B5EF4-FFF2-40B4-BE49-F238E27FC236}">
                  <a16:creationId xmlns:a16="http://schemas.microsoft.com/office/drawing/2014/main" id="{BAB9A255-0317-4E99-8876-FF4B13F63DCA}"/>
                </a:ext>
              </a:extLst>
            </p:cNvPr>
            <p:cNvSpPr>
              <a:spLocks noEditPoints="1"/>
            </p:cNvSpPr>
            <p:nvPr/>
          </p:nvSpPr>
          <p:spPr bwMode="auto">
            <a:xfrm>
              <a:off x="1546" y="3536"/>
              <a:ext cx="328" cy="461"/>
            </a:xfrm>
            <a:custGeom>
              <a:avLst/>
              <a:gdLst>
                <a:gd name="T0" fmla="*/ 130 w 139"/>
                <a:gd name="T1" fmla="*/ 195 h 195"/>
                <a:gd name="T2" fmla="*/ 9 w 139"/>
                <a:gd name="T3" fmla="*/ 195 h 195"/>
                <a:gd name="T4" fmla="*/ 0 w 139"/>
                <a:gd name="T5" fmla="*/ 186 h 195"/>
                <a:gd name="T6" fmla="*/ 0 w 139"/>
                <a:gd name="T7" fmla="*/ 9 h 195"/>
                <a:gd name="T8" fmla="*/ 9 w 139"/>
                <a:gd name="T9" fmla="*/ 0 h 195"/>
                <a:gd name="T10" fmla="*/ 130 w 139"/>
                <a:gd name="T11" fmla="*/ 0 h 195"/>
                <a:gd name="T12" fmla="*/ 139 w 139"/>
                <a:gd name="T13" fmla="*/ 9 h 195"/>
                <a:gd name="T14" fmla="*/ 139 w 139"/>
                <a:gd name="T15" fmla="*/ 186 h 195"/>
                <a:gd name="T16" fmla="*/ 130 w 139"/>
                <a:gd name="T17" fmla="*/ 195 h 195"/>
                <a:gd name="T18" fmla="*/ 11 w 139"/>
                <a:gd name="T19" fmla="*/ 184 h 195"/>
                <a:gd name="T20" fmla="*/ 128 w 139"/>
                <a:gd name="T21" fmla="*/ 184 h 195"/>
                <a:gd name="T22" fmla="*/ 128 w 139"/>
                <a:gd name="T23" fmla="*/ 11 h 195"/>
                <a:gd name="T24" fmla="*/ 11 w 139"/>
                <a:gd name="T25" fmla="*/ 11 h 195"/>
                <a:gd name="T26" fmla="*/ 11 w 139"/>
                <a:gd name="T2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95">
                  <a:moveTo>
                    <a:pt x="130" y="195"/>
                  </a:moveTo>
                  <a:cubicBezTo>
                    <a:pt x="9" y="195"/>
                    <a:pt x="9" y="195"/>
                    <a:pt x="9" y="195"/>
                  </a:cubicBezTo>
                  <a:cubicBezTo>
                    <a:pt x="4" y="195"/>
                    <a:pt x="0" y="191"/>
                    <a:pt x="0" y="186"/>
                  </a:cubicBezTo>
                  <a:cubicBezTo>
                    <a:pt x="0" y="9"/>
                    <a:pt x="0" y="9"/>
                    <a:pt x="0" y="9"/>
                  </a:cubicBezTo>
                  <a:cubicBezTo>
                    <a:pt x="0" y="4"/>
                    <a:pt x="4" y="0"/>
                    <a:pt x="9" y="0"/>
                  </a:cubicBezTo>
                  <a:cubicBezTo>
                    <a:pt x="130" y="0"/>
                    <a:pt x="130" y="0"/>
                    <a:pt x="130" y="0"/>
                  </a:cubicBezTo>
                  <a:cubicBezTo>
                    <a:pt x="135" y="0"/>
                    <a:pt x="139" y="4"/>
                    <a:pt x="139" y="9"/>
                  </a:cubicBezTo>
                  <a:cubicBezTo>
                    <a:pt x="139" y="186"/>
                    <a:pt x="139" y="186"/>
                    <a:pt x="139" y="186"/>
                  </a:cubicBezTo>
                  <a:cubicBezTo>
                    <a:pt x="139" y="191"/>
                    <a:pt x="135" y="195"/>
                    <a:pt x="130" y="195"/>
                  </a:cubicBezTo>
                  <a:close/>
                  <a:moveTo>
                    <a:pt x="11" y="184"/>
                  </a:moveTo>
                  <a:cubicBezTo>
                    <a:pt x="128" y="184"/>
                    <a:pt x="128" y="184"/>
                    <a:pt x="128" y="184"/>
                  </a:cubicBezTo>
                  <a:cubicBezTo>
                    <a:pt x="128" y="11"/>
                    <a:pt x="128" y="11"/>
                    <a:pt x="128" y="11"/>
                  </a:cubicBezTo>
                  <a:cubicBezTo>
                    <a:pt x="11" y="11"/>
                    <a:pt x="11" y="11"/>
                    <a:pt x="11" y="11"/>
                  </a:cubicBezTo>
                  <a:cubicBezTo>
                    <a:pt x="11" y="184"/>
                    <a:pt x="11" y="184"/>
                    <a:pt x="11"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grpSp>
      <p:pic>
        <p:nvPicPr>
          <p:cNvPr id="74" name="Picture 73">
            <a:extLst>
              <a:ext uri="{FF2B5EF4-FFF2-40B4-BE49-F238E27FC236}">
                <a16:creationId xmlns:a16="http://schemas.microsoft.com/office/drawing/2014/main" id="{858957B2-C279-441A-BC3B-71786A33DE45}"/>
              </a:ext>
            </a:extLst>
          </p:cNvPr>
          <p:cNvPicPr>
            <a:picLocks noChangeAspect="1"/>
          </p:cNvPicPr>
          <p:nvPr/>
        </p:nvPicPr>
        <p:blipFill>
          <a:blip r:embed="rId4"/>
          <a:stretch>
            <a:fillRect/>
          </a:stretch>
        </p:blipFill>
        <p:spPr>
          <a:xfrm>
            <a:off x="7583784" y="4669818"/>
            <a:ext cx="1477750" cy="982666"/>
          </a:xfrm>
          <a:prstGeom prst="rect">
            <a:avLst/>
          </a:prstGeom>
        </p:spPr>
      </p:pic>
      <p:sp>
        <p:nvSpPr>
          <p:cNvPr id="75" name="Rectangle 74">
            <a:extLst>
              <a:ext uri="{FF2B5EF4-FFF2-40B4-BE49-F238E27FC236}">
                <a16:creationId xmlns:a16="http://schemas.microsoft.com/office/drawing/2014/main" id="{B3E10E0D-8101-4D7A-8A15-5C9CD31B0A7A}"/>
              </a:ext>
            </a:extLst>
          </p:cNvPr>
          <p:cNvSpPr/>
          <p:nvPr/>
        </p:nvSpPr>
        <p:spPr>
          <a:xfrm>
            <a:off x="9763571" y="3134136"/>
            <a:ext cx="1785478" cy="1200329"/>
          </a:xfrm>
          <a:prstGeom prst="rect">
            <a:avLst/>
          </a:prstGeom>
        </p:spPr>
        <p:txBody>
          <a:bodyPr wrap="square">
            <a:spAutoFit/>
          </a:bodyPr>
          <a:lstStyle/>
          <a:p>
            <a:pPr algn="ctr" defTabSz="973138">
              <a:spcBef>
                <a:spcPct val="50000"/>
              </a:spcBef>
              <a:tabLst>
                <a:tab pos="1374775" algn="l"/>
              </a:tabLst>
            </a:pPr>
            <a:r>
              <a:rPr lang="en-US" dirty="0">
                <a:solidFill>
                  <a:srgbClr val="073262"/>
                </a:solidFill>
                <a:latin typeface="Georgia" panose="02040502050405020303" pitchFamily="18" charset="0"/>
              </a:rPr>
              <a:t>Improvement in automation from 40% to 55%</a:t>
            </a:r>
          </a:p>
        </p:txBody>
      </p:sp>
      <p:sp>
        <p:nvSpPr>
          <p:cNvPr id="76" name="Freeform 7">
            <a:extLst>
              <a:ext uri="{FF2B5EF4-FFF2-40B4-BE49-F238E27FC236}">
                <a16:creationId xmlns:a16="http://schemas.microsoft.com/office/drawing/2014/main" id="{73F398B8-D066-4A6B-A135-2ECC2C15E28F}"/>
              </a:ext>
            </a:extLst>
          </p:cNvPr>
          <p:cNvSpPr>
            <a:spLocks noEditPoints="1"/>
          </p:cNvSpPr>
          <p:nvPr/>
        </p:nvSpPr>
        <p:spPr bwMode="auto">
          <a:xfrm>
            <a:off x="10116763" y="4821156"/>
            <a:ext cx="949326" cy="971549"/>
          </a:xfrm>
          <a:custGeom>
            <a:avLst/>
            <a:gdLst>
              <a:gd name="T0" fmla="*/ 125 w 253"/>
              <a:gd name="T1" fmla="*/ 119 h 259"/>
              <a:gd name="T2" fmla="*/ 141 w 253"/>
              <a:gd name="T3" fmla="*/ 134 h 259"/>
              <a:gd name="T4" fmla="*/ 155 w 253"/>
              <a:gd name="T5" fmla="*/ 171 h 259"/>
              <a:gd name="T6" fmla="*/ 150 w 253"/>
              <a:gd name="T7" fmla="*/ 211 h 259"/>
              <a:gd name="T8" fmla="*/ 120 w 253"/>
              <a:gd name="T9" fmla="*/ 230 h 259"/>
              <a:gd name="T10" fmla="*/ 89 w 253"/>
              <a:gd name="T11" fmla="*/ 244 h 259"/>
              <a:gd name="T12" fmla="*/ 56 w 253"/>
              <a:gd name="T13" fmla="*/ 241 h 259"/>
              <a:gd name="T14" fmla="*/ 33 w 253"/>
              <a:gd name="T15" fmla="*/ 226 h 259"/>
              <a:gd name="T16" fmla="*/ 18 w 253"/>
              <a:gd name="T17" fmla="*/ 203 h 259"/>
              <a:gd name="T18" fmla="*/ 15 w 253"/>
              <a:gd name="T19" fmla="*/ 169 h 259"/>
              <a:gd name="T20" fmla="*/ 29 w 253"/>
              <a:gd name="T21" fmla="*/ 139 h 259"/>
              <a:gd name="T22" fmla="*/ 49 w 253"/>
              <a:gd name="T23" fmla="*/ 109 h 259"/>
              <a:gd name="T24" fmla="*/ 88 w 253"/>
              <a:gd name="T25" fmla="*/ 103 h 259"/>
              <a:gd name="T26" fmla="*/ 199 w 253"/>
              <a:gd name="T27" fmla="*/ 51 h 259"/>
              <a:gd name="T28" fmla="*/ 172 w 253"/>
              <a:gd name="T29" fmla="*/ 58 h 259"/>
              <a:gd name="T30" fmla="*/ 160 w 253"/>
              <a:gd name="T31" fmla="*/ 67 h 259"/>
              <a:gd name="T32" fmla="*/ 147 w 253"/>
              <a:gd name="T33" fmla="*/ 92 h 259"/>
              <a:gd name="T34" fmla="*/ 148 w 253"/>
              <a:gd name="T35" fmla="*/ 120 h 259"/>
              <a:gd name="T36" fmla="*/ 167 w 253"/>
              <a:gd name="T37" fmla="*/ 136 h 259"/>
              <a:gd name="T38" fmla="*/ 187 w 253"/>
              <a:gd name="T39" fmla="*/ 148 h 259"/>
              <a:gd name="T40" fmla="*/ 210 w 253"/>
              <a:gd name="T41" fmla="*/ 148 h 259"/>
              <a:gd name="T42" fmla="*/ 227 w 253"/>
              <a:gd name="T43" fmla="*/ 139 h 259"/>
              <a:gd name="T44" fmla="*/ 239 w 253"/>
              <a:gd name="T45" fmla="*/ 125 h 259"/>
              <a:gd name="T46" fmla="*/ 244 w 253"/>
              <a:gd name="T47" fmla="*/ 102 h 259"/>
              <a:gd name="T48" fmla="*/ 237 w 253"/>
              <a:gd name="T49" fmla="*/ 80 h 259"/>
              <a:gd name="T50" fmla="*/ 225 w 253"/>
              <a:gd name="T51" fmla="*/ 58 h 259"/>
              <a:gd name="T52" fmla="*/ 214 w 253"/>
              <a:gd name="T53" fmla="*/ 92 h 259"/>
              <a:gd name="T54" fmla="*/ 184 w 253"/>
              <a:gd name="T55" fmla="*/ 116 h 259"/>
              <a:gd name="T56" fmla="*/ 206 w 253"/>
              <a:gd name="T57" fmla="*/ 99 h 259"/>
              <a:gd name="T58" fmla="*/ 192 w 253"/>
              <a:gd name="T59" fmla="*/ 110 h 259"/>
              <a:gd name="T60" fmla="*/ 206 w 253"/>
              <a:gd name="T61" fmla="*/ 99 h 259"/>
              <a:gd name="T62" fmla="*/ 196 w 253"/>
              <a:gd name="T63" fmla="*/ 134 h 259"/>
              <a:gd name="T64" fmla="*/ 202 w 253"/>
              <a:gd name="T65" fmla="*/ 75 h 259"/>
              <a:gd name="T66" fmla="*/ 105 w 253"/>
              <a:gd name="T67" fmla="*/ 0 h 259"/>
              <a:gd name="T68" fmla="*/ 78 w 253"/>
              <a:gd name="T69" fmla="*/ 8 h 259"/>
              <a:gd name="T70" fmla="*/ 66 w 253"/>
              <a:gd name="T71" fmla="*/ 17 h 259"/>
              <a:gd name="T72" fmla="*/ 53 w 253"/>
              <a:gd name="T73" fmla="*/ 42 h 259"/>
              <a:gd name="T74" fmla="*/ 54 w 253"/>
              <a:gd name="T75" fmla="*/ 69 h 259"/>
              <a:gd name="T76" fmla="*/ 73 w 253"/>
              <a:gd name="T77" fmla="*/ 85 h 259"/>
              <a:gd name="T78" fmla="*/ 93 w 253"/>
              <a:gd name="T79" fmla="*/ 97 h 259"/>
              <a:gd name="T80" fmla="*/ 116 w 253"/>
              <a:gd name="T81" fmla="*/ 98 h 259"/>
              <a:gd name="T82" fmla="*/ 133 w 253"/>
              <a:gd name="T83" fmla="*/ 89 h 259"/>
              <a:gd name="T84" fmla="*/ 145 w 253"/>
              <a:gd name="T85" fmla="*/ 74 h 259"/>
              <a:gd name="T86" fmla="*/ 150 w 253"/>
              <a:gd name="T87" fmla="*/ 52 h 259"/>
              <a:gd name="T88" fmla="*/ 143 w 253"/>
              <a:gd name="T89" fmla="*/ 29 h 259"/>
              <a:gd name="T90" fmla="*/ 131 w 253"/>
              <a:gd name="T91" fmla="*/ 7 h 259"/>
              <a:gd name="T92" fmla="*/ 120 w 253"/>
              <a:gd name="T93" fmla="*/ 42 h 259"/>
              <a:gd name="T94" fmla="*/ 90 w 253"/>
              <a:gd name="T95" fmla="*/ 66 h 259"/>
              <a:gd name="T96" fmla="*/ 112 w 253"/>
              <a:gd name="T97" fmla="*/ 48 h 259"/>
              <a:gd name="T98" fmla="*/ 98 w 253"/>
              <a:gd name="T99" fmla="*/ 60 h 259"/>
              <a:gd name="T100" fmla="*/ 112 w 253"/>
              <a:gd name="T101" fmla="*/ 48 h 259"/>
              <a:gd name="T102" fmla="*/ 102 w 253"/>
              <a:gd name="T103" fmla="*/ 83 h 259"/>
              <a:gd name="T104" fmla="*/ 108 w 253"/>
              <a:gd name="T105" fmla="*/ 24 h 259"/>
              <a:gd name="T106" fmla="*/ 51 w 253"/>
              <a:gd name="T107" fmla="*/ 180 h 259"/>
              <a:gd name="T108" fmla="*/ 107 w 253"/>
              <a:gd name="T109" fmla="*/ 180 h 259"/>
              <a:gd name="T110" fmla="*/ 79 w 253"/>
              <a:gd name="T111" fmla="*/ 167 h 259"/>
              <a:gd name="T112" fmla="*/ 79 w 253"/>
              <a:gd name="T113" fmla="*/ 193 h 259"/>
              <a:gd name="T114" fmla="*/ 109 w 253"/>
              <a:gd name="T115" fmla="*/ 150 h 259"/>
              <a:gd name="T116" fmla="*/ 48 w 253"/>
              <a:gd name="T117" fmla="*/ 210 h 259"/>
              <a:gd name="T118" fmla="*/ 109 w 253"/>
              <a:gd name="T119" fmla="*/ 15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3" h="259">
                <a:moveTo>
                  <a:pt x="89" y="116"/>
                </a:moveTo>
                <a:cubicBezTo>
                  <a:pt x="94" y="117"/>
                  <a:pt x="98" y="118"/>
                  <a:pt x="102" y="119"/>
                </a:cubicBezTo>
                <a:cubicBezTo>
                  <a:pt x="109" y="109"/>
                  <a:pt x="109" y="109"/>
                  <a:pt x="109" y="109"/>
                </a:cubicBezTo>
                <a:cubicBezTo>
                  <a:pt x="116" y="111"/>
                  <a:pt x="121" y="114"/>
                  <a:pt x="125" y="119"/>
                </a:cubicBezTo>
                <a:cubicBezTo>
                  <a:pt x="120" y="130"/>
                  <a:pt x="120" y="130"/>
                  <a:pt x="120" y="130"/>
                </a:cubicBezTo>
                <a:cubicBezTo>
                  <a:pt x="121" y="131"/>
                  <a:pt x="123" y="133"/>
                  <a:pt x="124" y="134"/>
                </a:cubicBezTo>
                <a:cubicBezTo>
                  <a:pt x="126" y="136"/>
                  <a:pt x="127" y="137"/>
                  <a:pt x="129" y="139"/>
                </a:cubicBezTo>
                <a:cubicBezTo>
                  <a:pt x="141" y="134"/>
                  <a:pt x="141" y="134"/>
                  <a:pt x="141" y="134"/>
                </a:cubicBezTo>
                <a:cubicBezTo>
                  <a:pt x="145" y="139"/>
                  <a:pt x="148" y="144"/>
                  <a:pt x="150" y="150"/>
                </a:cubicBezTo>
                <a:cubicBezTo>
                  <a:pt x="139" y="157"/>
                  <a:pt x="139" y="157"/>
                  <a:pt x="139" y="157"/>
                </a:cubicBezTo>
                <a:cubicBezTo>
                  <a:pt x="141" y="161"/>
                  <a:pt x="142" y="165"/>
                  <a:pt x="143" y="170"/>
                </a:cubicBezTo>
                <a:cubicBezTo>
                  <a:pt x="155" y="171"/>
                  <a:pt x="155" y="171"/>
                  <a:pt x="155" y="171"/>
                </a:cubicBezTo>
                <a:cubicBezTo>
                  <a:pt x="157" y="178"/>
                  <a:pt x="157" y="184"/>
                  <a:pt x="155" y="190"/>
                </a:cubicBezTo>
                <a:cubicBezTo>
                  <a:pt x="143" y="191"/>
                  <a:pt x="143" y="191"/>
                  <a:pt x="143" y="191"/>
                </a:cubicBezTo>
                <a:cubicBezTo>
                  <a:pt x="142" y="195"/>
                  <a:pt x="141" y="199"/>
                  <a:pt x="139" y="203"/>
                </a:cubicBezTo>
                <a:cubicBezTo>
                  <a:pt x="150" y="211"/>
                  <a:pt x="150" y="211"/>
                  <a:pt x="150" y="211"/>
                </a:cubicBezTo>
                <a:cubicBezTo>
                  <a:pt x="148" y="217"/>
                  <a:pt x="145" y="223"/>
                  <a:pt x="140" y="227"/>
                </a:cubicBezTo>
                <a:cubicBezTo>
                  <a:pt x="129" y="221"/>
                  <a:pt x="129" y="221"/>
                  <a:pt x="129" y="221"/>
                </a:cubicBezTo>
                <a:cubicBezTo>
                  <a:pt x="127" y="223"/>
                  <a:pt x="126" y="224"/>
                  <a:pt x="124" y="226"/>
                </a:cubicBezTo>
                <a:cubicBezTo>
                  <a:pt x="123" y="227"/>
                  <a:pt x="121" y="229"/>
                  <a:pt x="120" y="230"/>
                </a:cubicBezTo>
                <a:cubicBezTo>
                  <a:pt x="125" y="242"/>
                  <a:pt x="125" y="242"/>
                  <a:pt x="125" y="242"/>
                </a:cubicBezTo>
                <a:cubicBezTo>
                  <a:pt x="120" y="247"/>
                  <a:pt x="115" y="250"/>
                  <a:pt x="109" y="251"/>
                </a:cubicBezTo>
                <a:cubicBezTo>
                  <a:pt x="101" y="241"/>
                  <a:pt x="101" y="241"/>
                  <a:pt x="101" y="241"/>
                </a:cubicBezTo>
                <a:cubicBezTo>
                  <a:pt x="97" y="242"/>
                  <a:pt x="93" y="243"/>
                  <a:pt x="89" y="244"/>
                </a:cubicBezTo>
                <a:cubicBezTo>
                  <a:pt x="88" y="257"/>
                  <a:pt x="88" y="257"/>
                  <a:pt x="88" y="257"/>
                </a:cubicBezTo>
                <a:cubicBezTo>
                  <a:pt x="81" y="259"/>
                  <a:pt x="75" y="259"/>
                  <a:pt x="69" y="257"/>
                </a:cubicBezTo>
                <a:cubicBezTo>
                  <a:pt x="68" y="244"/>
                  <a:pt x="68" y="244"/>
                  <a:pt x="68" y="244"/>
                </a:cubicBezTo>
                <a:cubicBezTo>
                  <a:pt x="64" y="243"/>
                  <a:pt x="60" y="242"/>
                  <a:pt x="56" y="241"/>
                </a:cubicBezTo>
                <a:cubicBezTo>
                  <a:pt x="48" y="251"/>
                  <a:pt x="48" y="251"/>
                  <a:pt x="48" y="251"/>
                </a:cubicBezTo>
                <a:cubicBezTo>
                  <a:pt x="41" y="249"/>
                  <a:pt x="36" y="246"/>
                  <a:pt x="32" y="242"/>
                </a:cubicBezTo>
                <a:cubicBezTo>
                  <a:pt x="37" y="230"/>
                  <a:pt x="37" y="230"/>
                  <a:pt x="37" y="230"/>
                </a:cubicBezTo>
                <a:cubicBezTo>
                  <a:pt x="36" y="229"/>
                  <a:pt x="34" y="227"/>
                  <a:pt x="33" y="226"/>
                </a:cubicBezTo>
                <a:cubicBezTo>
                  <a:pt x="31" y="224"/>
                  <a:pt x="30" y="223"/>
                  <a:pt x="28" y="221"/>
                </a:cubicBezTo>
                <a:cubicBezTo>
                  <a:pt x="17" y="226"/>
                  <a:pt x="17" y="226"/>
                  <a:pt x="17" y="226"/>
                </a:cubicBezTo>
                <a:cubicBezTo>
                  <a:pt x="12" y="221"/>
                  <a:pt x="9" y="216"/>
                  <a:pt x="7" y="210"/>
                </a:cubicBezTo>
                <a:cubicBezTo>
                  <a:pt x="18" y="203"/>
                  <a:pt x="18" y="203"/>
                  <a:pt x="18" y="203"/>
                </a:cubicBezTo>
                <a:cubicBezTo>
                  <a:pt x="16" y="199"/>
                  <a:pt x="15" y="195"/>
                  <a:pt x="15" y="190"/>
                </a:cubicBezTo>
                <a:cubicBezTo>
                  <a:pt x="2" y="189"/>
                  <a:pt x="2" y="189"/>
                  <a:pt x="2" y="189"/>
                </a:cubicBezTo>
                <a:cubicBezTo>
                  <a:pt x="0" y="182"/>
                  <a:pt x="0" y="176"/>
                  <a:pt x="2" y="170"/>
                </a:cubicBezTo>
                <a:cubicBezTo>
                  <a:pt x="15" y="169"/>
                  <a:pt x="15" y="169"/>
                  <a:pt x="15" y="169"/>
                </a:cubicBezTo>
                <a:cubicBezTo>
                  <a:pt x="15" y="165"/>
                  <a:pt x="16" y="161"/>
                  <a:pt x="18" y="157"/>
                </a:cubicBezTo>
                <a:cubicBezTo>
                  <a:pt x="8" y="149"/>
                  <a:pt x="8" y="149"/>
                  <a:pt x="8" y="149"/>
                </a:cubicBezTo>
                <a:cubicBezTo>
                  <a:pt x="9" y="143"/>
                  <a:pt x="13" y="138"/>
                  <a:pt x="17" y="133"/>
                </a:cubicBezTo>
                <a:cubicBezTo>
                  <a:pt x="29" y="139"/>
                  <a:pt x="29" y="139"/>
                  <a:pt x="29" y="139"/>
                </a:cubicBezTo>
                <a:cubicBezTo>
                  <a:pt x="30" y="137"/>
                  <a:pt x="31" y="136"/>
                  <a:pt x="33" y="134"/>
                </a:cubicBezTo>
                <a:cubicBezTo>
                  <a:pt x="34" y="133"/>
                  <a:pt x="36" y="131"/>
                  <a:pt x="38" y="130"/>
                </a:cubicBezTo>
                <a:cubicBezTo>
                  <a:pt x="32" y="118"/>
                  <a:pt x="32" y="118"/>
                  <a:pt x="32" y="118"/>
                </a:cubicBezTo>
                <a:cubicBezTo>
                  <a:pt x="37" y="113"/>
                  <a:pt x="43" y="110"/>
                  <a:pt x="49" y="109"/>
                </a:cubicBezTo>
                <a:cubicBezTo>
                  <a:pt x="56" y="119"/>
                  <a:pt x="56" y="119"/>
                  <a:pt x="56" y="119"/>
                </a:cubicBezTo>
                <a:cubicBezTo>
                  <a:pt x="60" y="118"/>
                  <a:pt x="64" y="117"/>
                  <a:pt x="68" y="116"/>
                </a:cubicBezTo>
                <a:cubicBezTo>
                  <a:pt x="70" y="103"/>
                  <a:pt x="70" y="103"/>
                  <a:pt x="70" y="103"/>
                </a:cubicBezTo>
                <a:cubicBezTo>
                  <a:pt x="76" y="102"/>
                  <a:pt x="82" y="102"/>
                  <a:pt x="88" y="103"/>
                </a:cubicBezTo>
                <a:cubicBezTo>
                  <a:pt x="89" y="116"/>
                  <a:pt x="89" y="116"/>
                  <a:pt x="89" y="116"/>
                </a:cubicBezTo>
                <a:close/>
                <a:moveTo>
                  <a:pt x="211" y="61"/>
                </a:moveTo>
                <a:cubicBezTo>
                  <a:pt x="211" y="52"/>
                  <a:pt x="211" y="52"/>
                  <a:pt x="211" y="52"/>
                </a:cubicBezTo>
                <a:cubicBezTo>
                  <a:pt x="207" y="50"/>
                  <a:pt x="203" y="50"/>
                  <a:pt x="199" y="51"/>
                </a:cubicBezTo>
                <a:cubicBezTo>
                  <a:pt x="197" y="59"/>
                  <a:pt x="197" y="59"/>
                  <a:pt x="197" y="59"/>
                </a:cubicBezTo>
                <a:cubicBezTo>
                  <a:pt x="194" y="60"/>
                  <a:pt x="191" y="60"/>
                  <a:pt x="188" y="61"/>
                </a:cubicBezTo>
                <a:cubicBezTo>
                  <a:pt x="184" y="53"/>
                  <a:pt x="184" y="53"/>
                  <a:pt x="184" y="53"/>
                </a:cubicBezTo>
                <a:cubicBezTo>
                  <a:pt x="179" y="53"/>
                  <a:pt x="175" y="55"/>
                  <a:pt x="172" y="58"/>
                </a:cubicBezTo>
                <a:cubicBezTo>
                  <a:pt x="174" y="67"/>
                  <a:pt x="174" y="67"/>
                  <a:pt x="174" y="67"/>
                </a:cubicBezTo>
                <a:cubicBezTo>
                  <a:pt x="173" y="67"/>
                  <a:pt x="172" y="68"/>
                  <a:pt x="171" y="69"/>
                </a:cubicBezTo>
                <a:cubicBezTo>
                  <a:pt x="170" y="70"/>
                  <a:pt x="169" y="71"/>
                  <a:pt x="168" y="72"/>
                </a:cubicBezTo>
                <a:cubicBezTo>
                  <a:pt x="160" y="67"/>
                  <a:pt x="160" y="67"/>
                  <a:pt x="160" y="67"/>
                </a:cubicBezTo>
                <a:cubicBezTo>
                  <a:pt x="157" y="70"/>
                  <a:pt x="154" y="74"/>
                  <a:pt x="152" y="78"/>
                </a:cubicBezTo>
                <a:cubicBezTo>
                  <a:pt x="159" y="84"/>
                  <a:pt x="159" y="84"/>
                  <a:pt x="159" y="84"/>
                </a:cubicBezTo>
                <a:cubicBezTo>
                  <a:pt x="158" y="87"/>
                  <a:pt x="157" y="89"/>
                  <a:pt x="156" y="92"/>
                </a:cubicBezTo>
                <a:cubicBezTo>
                  <a:pt x="147" y="92"/>
                  <a:pt x="147" y="92"/>
                  <a:pt x="147" y="92"/>
                </a:cubicBezTo>
                <a:cubicBezTo>
                  <a:pt x="145" y="96"/>
                  <a:pt x="145" y="100"/>
                  <a:pt x="145" y="105"/>
                </a:cubicBezTo>
                <a:cubicBezTo>
                  <a:pt x="154" y="107"/>
                  <a:pt x="154" y="107"/>
                  <a:pt x="154" y="107"/>
                </a:cubicBezTo>
                <a:cubicBezTo>
                  <a:pt x="154" y="110"/>
                  <a:pt x="155" y="113"/>
                  <a:pt x="155" y="115"/>
                </a:cubicBezTo>
                <a:cubicBezTo>
                  <a:pt x="148" y="120"/>
                  <a:pt x="148" y="120"/>
                  <a:pt x="148" y="120"/>
                </a:cubicBezTo>
                <a:cubicBezTo>
                  <a:pt x="148" y="124"/>
                  <a:pt x="150" y="128"/>
                  <a:pt x="153" y="132"/>
                </a:cubicBezTo>
                <a:cubicBezTo>
                  <a:pt x="161" y="129"/>
                  <a:pt x="161" y="129"/>
                  <a:pt x="161" y="129"/>
                </a:cubicBezTo>
                <a:cubicBezTo>
                  <a:pt x="162" y="130"/>
                  <a:pt x="163" y="131"/>
                  <a:pt x="164" y="133"/>
                </a:cubicBezTo>
                <a:cubicBezTo>
                  <a:pt x="165" y="134"/>
                  <a:pt x="166" y="135"/>
                  <a:pt x="167" y="136"/>
                </a:cubicBezTo>
                <a:cubicBezTo>
                  <a:pt x="162" y="143"/>
                  <a:pt x="162" y="143"/>
                  <a:pt x="162" y="143"/>
                </a:cubicBezTo>
                <a:cubicBezTo>
                  <a:pt x="165" y="147"/>
                  <a:pt x="168" y="149"/>
                  <a:pt x="173" y="151"/>
                </a:cubicBezTo>
                <a:cubicBezTo>
                  <a:pt x="179" y="144"/>
                  <a:pt x="179" y="144"/>
                  <a:pt x="179" y="144"/>
                </a:cubicBezTo>
                <a:cubicBezTo>
                  <a:pt x="181" y="146"/>
                  <a:pt x="184" y="147"/>
                  <a:pt x="187" y="148"/>
                </a:cubicBezTo>
                <a:cubicBezTo>
                  <a:pt x="187" y="156"/>
                  <a:pt x="187" y="156"/>
                  <a:pt x="187" y="156"/>
                </a:cubicBezTo>
                <a:cubicBezTo>
                  <a:pt x="191" y="158"/>
                  <a:pt x="195" y="159"/>
                  <a:pt x="200" y="158"/>
                </a:cubicBezTo>
                <a:cubicBezTo>
                  <a:pt x="201" y="149"/>
                  <a:pt x="201" y="149"/>
                  <a:pt x="201" y="149"/>
                </a:cubicBezTo>
                <a:cubicBezTo>
                  <a:pt x="204" y="149"/>
                  <a:pt x="207" y="149"/>
                  <a:pt x="210" y="148"/>
                </a:cubicBezTo>
                <a:cubicBezTo>
                  <a:pt x="214" y="156"/>
                  <a:pt x="214" y="156"/>
                  <a:pt x="214" y="156"/>
                </a:cubicBezTo>
                <a:cubicBezTo>
                  <a:pt x="219" y="155"/>
                  <a:pt x="223" y="153"/>
                  <a:pt x="226" y="150"/>
                </a:cubicBezTo>
                <a:cubicBezTo>
                  <a:pt x="224" y="142"/>
                  <a:pt x="224" y="142"/>
                  <a:pt x="224" y="142"/>
                </a:cubicBezTo>
                <a:cubicBezTo>
                  <a:pt x="225" y="141"/>
                  <a:pt x="226" y="140"/>
                  <a:pt x="227" y="139"/>
                </a:cubicBezTo>
                <a:cubicBezTo>
                  <a:pt x="228" y="138"/>
                  <a:pt x="229" y="137"/>
                  <a:pt x="230" y="136"/>
                </a:cubicBezTo>
                <a:cubicBezTo>
                  <a:pt x="238" y="141"/>
                  <a:pt x="238" y="141"/>
                  <a:pt x="238" y="141"/>
                </a:cubicBezTo>
                <a:cubicBezTo>
                  <a:pt x="241" y="139"/>
                  <a:pt x="244" y="135"/>
                  <a:pt x="246" y="131"/>
                </a:cubicBezTo>
                <a:cubicBezTo>
                  <a:pt x="239" y="125"/>
                  <a:pt x="239" y="125"/>
                  <a:pt x="239" y="125"/>
                </a:cubicBezTo>
                <a:cubicBezTo>
                  <a:pt x="240" y="122"/>
                  <a:pt x="242" y="119"/>
                  <a:pt x="242" y="116"/>
                </a:cubicBezTo>
                <a:cubicBezTo>
                  <a:pt x="251" y="117"/>
                  <a:pt x="251" y="117"/>
                  <a:pt x="251" y="117"/>
                </a:cubicBezTo>
                <a:cubicBezTo>
                  <a:pt x="253" y="113"/>
                  <a:pt x="253" y="108"/>
                  <a:pt x="253" y="104"/>
                </a:cubicBezTo>
                <a:cubicBezTo>
                  <a:pt x="244" y="102"/>
                  <a:pt x="244" y="102"/>
                  <a:pt x="244" y="102"/>
                </a:cubicBezTo>
                <a:cubicBezTo>
                  <a:pt x="244" y="99"/>
                  <a:pt x="243" y="96"/>
                  <a:pt x="243" y="93"/>
                </a:cubicBezTo>
                <a:cubicBezTo>
                  <a:pt x="250" y="89"/>
                  <a:pt x="250" y="89"/>
                  <a:pt x="250" y="89"/>
                </a:cubicBezTo>
                <a:cubicBezTo>
                  <a:pt x="250" y="85"/>
                  <a:pt x="248" y="81"/>
                  <a:pt x="245" y="77"/>
                </a:cubicBezTo>
                <a:cubicBezTo>
                  <a:pt x="237" y="80"/>
                  <a:pt x="237" y="80"/>
                  <a:pt x="237" y="80"/>
                </a:cubicBezTo>
                <a:cubicBezTo>
                  <a:pt x="236" y="78"/>
                  <a:pt x="235" y="77"/>
                  <a:pt x="234" y="76"/>
                </a:cubicBezTo>
                <a:cubicBezTo>
                  <a:pt x="233" y="75"/>
                  <a:pt x="232" y="74"/>
                  <a:pt x="231" y="73"/>
                </a:cubicBezTo>
                <a:cubicBezTo>
                  <a:pt x="236" y="65"/>
                  <a:pt x="236" y="65"/>
                  <a:pt x="236" y="65"/>
                </a:cubicBezTo>
                <a:cubicBezTo>
                  <a:pt x="233" y="62"/>
                  <a:pt x="230" y="59"/>
                  <a:pt x="225" y="58"/>
                </a:cubicBezTo>
                <a:cubicBezTo>
                  <a:pt x="219" y="64"/>
                  <a:pt x="219" y="64"/>
                  <a:pt x="219" y="64"/>
                </a:cubicBezTo>
                <a:cubicBezTo>
                  <a:pt x="217" y="63"/>
                  <a:pt x="214" y="62"/>
                  <a:pt x="211" y="61"/>
                </a:cubicBezTo>
                <a:close/>
                <a:moveTo>
                  <a:pt x="201" y="85"/>
                </a:moveTo>
                <a:cubicBezTo>
                  <a:pt x="206" y="86"/>
                  <a:pt x="211" y="88"/>
                  <a:pt x="214" y="92"/>
                </a:cubicBezTo>
                <a:cubicBezTo>
                  <a:pt x="217" y="96"/>
                  <a:pt x="219" y="101"/>
                  <a:pt x="218" y="106"/>
                </a:cubicBezTo>
                <a:cubicBezTo>
                  <a:pt x="218" y="112"/>
                  <a:pt x="215" y="116"/>
                  <a:pt x="211" y="119"/>
                </a:cubicBezTo>
                <a:cubicBezTo>
                  <a:pt x="207" y="122"/>
                  <a:pt x="202" y="124"/>
                  <a:pt x="197" y="124"/>
                </a:cubicBezTo>
                <a:cubicBezTo>
                  <a:pt x="192" y="123"/>
                  <a:pt x="187" y="120"/>
                  <a:pt x="184" y="116"/>
                </a:cubicBezTo>
                <a:cubicBezTo>
                  <a:pt x="181" y="113"/>
                  <a:pt x="179" y="108"/>
                  <a:pt x="180" y="102"/>
                </a:cubicBezTo>
                <a:cubicBezTo>
                  <a:pt x="180" y="97"/>
                  <a:pt x="183" y="92"/>
                  <a:pt x="187" y="89"/>
                </a:cubicBezTo>
                <a:cubicBezTo>
                  <a:pt x="191" y="86"/>
                  <a:pt x="196" y="84"/>
                  <a:pt x="201" y="85"/>
                </a:cubicBezTo>
                <a:close/>
                <a:moveTo>
                  <a:pt x="206" y="99"/>
                </a:moveTo>
                <a:cubicBezTo>
                  <a:pt x="207" y="100"/>
                  <a:pt x="208" y="103"/>
                  <a:pt x="208" y="105"/>
                </a:cubicBezTo>
                <a:cubicBezTo>
                  <a:pt x="208" y="108"/>
                  <a:pt x="206" y="110"/>
                  <a:pt x="205" y="111"/>
                </a:cubicBezTo>
                <a:cubicBezTo>
                  <a:pt x="203" y="113"/>
                  <a:pt x="201" y="113"/>
                  <a:pt x="198" y="113"/>
                </a:cubicBezTo>
                <a:cubicBezTo>
                  <a:pt x="196" y="113"/>
                  <a:pt x="194" y="112"/>
                  <a:pt x="192" y="110"/>
                </a:cubicBezTo>
                <a:cubicBezTo>
                  <a:pt x="191" y="108"/>
                  <a:pt x="190" y="106"/>
                  <a:pt x="190" y="103"/>
                </a:cubicBezTo>
                <a:cubicBezTo>
                  <a:pt x="190" y="101"/>
                  <a:pt x="192" y="99"/>
                  <a:pt x="193" y="97"/>
                </a:cubicBezTo>
                <a:cubicBezTo>
                  <a:pt x="195" y="96"/>
                  <a:pt x="198" y="95"/>
                  <a:pt x="200" y="95"/>
                </a:cubicBezTo>
                <a:cubicBezTo>
                  <a:pt x="202" y="96"/>
                  <a:pt x="205" y="97"/>
                  <a:pt x="206" y="99"/>
                </a:cubicBezTo>
                <a:close/>
                <a:moveTo>
                  <a:pt x="222" y="86"/>
                </a:moveTo>
                <a:cubicBezTo>
                  <a:pt x="227" y="92"/>
                  <a:pt x="229" y="99"/>
                  <a:pt x="229" y="107"/>
                </a:cubicBezTo>
                <a:cubicBezTo>
                  <a:pt x="228" y="116"/>
                  <a:pt x="224" y="123"/>
                  <a:pt x="218" y="127"/>
                </a:cubicBezTo>
                <a:cubicBezTo>
                  <a:pt x="212" y="132"/>
                  <a:pt x="204" y="135"/>
                  <a:pt x="196" y="134"/>
                </a:cubicBezTo>
                <a:cubicBezTo>
                  <a:pt x="188" y="133"/>
                  <a:pt x="181" y="129"/>
                  <a:pt x="176" y="123"/>
                </a:cubicBezTo>
                <a:cubicBezTo>
                  <a:pt x="171" y="117"/>
                  <a:pt x="169" y="109"/>
                  <a:pt x="169" y="101"/>
                </a:cubicBezTo>
                <a:cubicBezTo>
                  <a:pt x="170" y="93"/>
                  <a:pt x="174" y="86"/>
                  <a:pt x="180" y="81"/>
                </a:cubicBezTo>
                <a:cubicBezTo>
                  <a:pt x="186" y="76"/>
                  <a:pt x="194" y="74"/>
                  <a:pt x="202" y="75"/>
                </a:cubicBezTo>
                <a:cubicBezTo>
                  <a:pt x="210" y="76"/>
                  <a:pt x="217" y="80"/>
                  <a:pt x="222" y="86"/>
                </a:cubicBezTo>
                <a:close/>
                <a:moveTo>
                  <a:pt x="117" y="11"/>
                </a:moveTo>
                <a:cubicBezTo>
                  <a:pt x="117" y="2"/>
                  <a:pt x="117" y="2"/>
                  <a:pt x="117" y="2"/>
                </a:cubicBezTo>
                <a:cubicBezTo>
                  <a:pt x="113" y="0"/>
                  <a:pt x="109" y="0"/>
                  <a:pt x="105" y="0"/>
                </a:cubicBezTo>
                <a:cubicBezTo>
                  <a:pt x="103" y="9"/>
                  <a:pt x="103" y="9"/>
                  <a:pt x="103" y="9"/>
                </a:cubicBezTo>
                <a:cubicBezTo>
                  <a:pt x="100" y="9"/>
                  <a:pt x="97" y="10"/>
                  <a:pt x="94" y="10"/>
                </a:cubicBezTo>
                <a:cubicBezTo>
                  <a:pt x="90" y="3"/>
                  <a:pt x="90" y="3"/>
                  <a:pt x="90" y="3"/>
                </a:cubicBezTo>
                <a:cubicBezTo>
                  <a:pt x="85" y="3"/>
                  <a:pt x="81" y="5"/>
                  <a:pt x="78" y="8"/>
                </a:cubicBezTo>
                <a:cubicBezTo>
                  <a:pt x="80" y="16"/>
                  <a:pt x="80" y="16"/>
                  <a:pt x="80" y="16"/>
                </a:cubicBezTo>
                <a:cubicBezTo>
                  <a:pt x="79" y="17"/>
                  <a:pt x="78" y="18"/>
                  <a:pt x="77" y="19"/>
                </a:cubicBezTo>
                <a:cubicBezTo>
                  <a:pt x="76" y="20"/>
                  <a:pt x="75" y="21"/>
                  <a:pt x="74" y="22"/>
                </a:cubicBezTo>
                <a:cubicBezTo>
                  <a:pt x="66" y="17"/>
                  <a:pt x="66" y="17"/>
                  <a:pt x="66" y="17"/>
                </a:cubicBezTo>
                <a:cubicBezTo>
                  <a:pt x="63" y="20"/>
                  <a:pt x="60" y="23"/>
                  <a:pt x="58" y="28"/>
                </a:cubicBezTo>
                <a:cubicBezTo>
                  <a:pt x="65" y="34"/>
                  <a:pt x="65" y="34"/>
                  <a:pt x="65" y="34"/>
                </a:cubicBezTo>
                <a:cubicBezTo>
                  <a:pt x="64" y="36"/>
                  <a:pt x="63" y="39"/>
                  <a:pt x="62" y="42"/>
                </a:cubicBezTo>
                <a:cubicBezTo>
                  <a:pt x="53" y="42"/>
                  <a:pt x="53" y="42"/>
                  <a:pt x="53" y="42"/>
                </a:cubicBezTo>
                <a:cubicBezTo>
                  <a:pt x="51" y="45"/>
                  <a:pt x="51" y="50"/>
                  <a:pt x="51" y="54"/>
                </a:cubicBezTo>
                <a:cubicBezTo>
                  <a:pt x="60" y="56"/>
                  <a:pt x="60" y="56"/>
                  <a:pt x="60" y="56"/>
                </a:cubicBezTo>
                <a:cubicBezTo>
                  <a:pt x="60" y="59"/>
                  <a:pt x="61" y="62"/>
                  <a:pt x="61" y="65"/>
                </a:cubicBezTo>
                <a:cubicBezTo>
                  <a:pt x="54" y="69"/>
                  <a:pt x="54" y="69"/>
                  <a:pt x="54" y="69"/>
                </a:cubicBezTo>
                <a:cubicBezTo>
                  <a:pt x="54" y="74"/>
                  <a:pt x="56" y="77"/>
                  <a:pt x="59" y="81"/>
                </a:cubicBezTo>
                <a:cubicBezTo>
                  <a:pt x="67" y="78"/>
                  <a:pt x="67" y="78"/>
                  <a:pt x="67" y="78"/>
                </a:cubicBezTo>
                <a:cubicBezTo>
                  <a:pt x="68" y="80"/>
                  <a:pt x="69" y="81"/>
                  <a:pt x="70" y="82"/>
                </a:cubicBezTo>
                <a:cubicBezTo>
                  <a:pt x="71" y="83"/>
                  <a:pt x="72" y="84"/>
                  <a:pt x="73" y="85"/>
                </a:cubicBezTo>
                <a:cubicBezTo>
                  <a:pt x="68" y="93"/>
                  <a:pt x="68" y="93"/>
                  <a:pt x="68" y="93"/>
                </a:cubicBezTo>
                <a:cubicBezTo>
                  <a:pt x="71" y="96"/>
                  <a:pt x="74" y="99"/>
                  <a:pt x="79" y="101"/>
                </a:cubicBezTo>
                <a:cubicBezTo>
                  <a:pt x="85" y="94"/>
                  <a:pt x="85" y="94"/>
                  <a:pt x="85" y="94"/>
                </a:cubicBezTo>
                <a:cubicBezTo>
                  <a:pt x="87" y="95"/>
                  <a:pt x="90" y="96"/>
                  <a:pt x="93" y="97"/>
                </a:cubicBezTo>
                <a:cubicBezTo>
                  <a:pt x="93" y="106"/>
                  <a:pt x="93" y="106"/>
                  <a:pt x="93" y="106"/>
                </a:cubicBezTo>
                <a:cubicBezTo>
                  <a:pt x="97" y="108"/>
                  <a:pt x="101" y="108"/>
                  <a:pt x="106" y="107"/>
                </a:cubicBezTo>
                <a:cubicBezTo>
                  <a:pt x="107" y="99"/>
                  <a:pt x="107" y="99"/>
                  <a:pt x="107" y="99"/>
                </a:cubicBezTo>
                <a:cubicBezTo>
                  <a:pt x="110" y="99"/>
                  <a:pt x="113" y="98"/>
                  <a:pt x="116" y="98"/>
                </a:cubicBezTo>
                <a:cubicBezTo>
                  <a:pt x="120" y="105"/>
                  <a:pt x="120" y="105"/>
                  <a:pt x="120" y="105"/>
                </a:cubicBezTo>
                <a:cubicBezTo>
                  <a:pt x="125" y="105"/>
                  <a:pt x="129" y="103"/>
                  <a:pt x="132" y="100"/>
                </a:cubicBezTo>
                <a:cubicBezTo>
                  <a:pt x="130" y="92"/>
                  <a:pt x="130" y="92"/>
                  <a:pt x="130" y="92"/>
                </a:cubicBezTo>
                <a:cubicBezTo>
                  <a:pt x="131" y="91"/>
                  <a:pt x="132" y="90"/>
                  <a:pt x="133" y="89"/>
                </a:cubicBezTo>
                <a:cubicBezTo>
                  <a:pt x="134" y="88"/>
                  <a:pt x="135" y="87"/>
                  <a:pt x="136" y="86"/>
                </a:cubicBezTo>
                <a:cubicBezTo>
                  <a:pt x="144" y="91"/>
                  <a:pt x="144" y="91"/>
                  <a:pt x="144" y="91"/>
                </a:cubicBezTo>
                <a:cubicBezTo>
                  <a:pt x="147" y="88"/>
                  <a:pt x="150" y="85"/>
                  <a:pt x="152" y="80"/>
                </a:cubicBezTo>
                <a:cubicBezTo>
                  <a:pt x="145" y="74"/>
                  <a:pt x="145" y="74"/>
                  <a:pt x="145" y="74"/>
                </a:cubicBezTo>
                <a:cubicBezTo>
                  <a:pt x="146" y="72"/>
                  <a:pt x="148" y="69"/>
                  <a:pt x="148" y="66"/>
                </a:cubicBezTo>
                <a:cubicBezTo>
                  <a:pt x="157" y="66"/>
                  <a:pt x="157" y="66"/>
                  <a:pt x="157" y="66"/>
                </a:cubicBezTo>
                <a:cubicBezTo>
                  <a:pt x="159" y="62"/>
                  <a:pt x="159" y="58"/>
                  <a:pt x="159" y="53"/>
                </a:cubicBezTo>
                <a:cubicBezTo>
                  <a:pt x="150" y="52"/>
                  <a:pt x="150" y="52"/>
                  <a:pt x="150" y="52"/>
                </a:cubicBezTo>
                <a:cubicBezTo>
                  <a:pt x="150" y="49"/>
                  <a:pt x="149" y="46"/>
                  <a:pt x="149" y="43"/>
                </a:cubicBezTo>
                <a:cubicBezTo>
                  <a:pt x="156" y="39"/>
                  <a:pt x="156" y="39"/>
                  <a:pt x="156" y="39"/>
                </a:cubicBezTo>
                <a:cubicBezTo>
                  <a:pt x="156" y="34"/>
                  <a:pt x="154" y="30"/>
                  <a:pt x="151" y="27"/>
                </a:cubicBezTo>
                <a:cubicBezTo>
                  <a:pt x="143" y="29"/>
                  <a:pt x="143" y="29"/>
                  <a:pt x="143" y="29"/>
                </a:cubicBezTo>
                <a:cubicBezTo>
                  <a:pt x="142" y="28"/>
                  <a:pt x="141" y="27"/>
                  <a:pt x="140" y="26"/>
                </a:cubicBezTo>
                <a:cubicBezTo>
                  <a:pt x="139" y="25"/>
                  <a:pt x="138" y="24"/>
                  <a:pt x="137" y="22"/>
                </a:cubicBezTo>
                <a:cubicBezTo>
                  <a:pt x="142" y="15"/>
                  <a:pt x="142" y="15"/>
                  <a:pt x="142" y="15"/>
                </a:cubicBezTo>
                <a:cubicBezTo>
                  <a:pt x="139" y="12"/>
                  <a:pt x="136" y="9"/>
                  <a:pt x="131" y="7"/>
                </a:cubicBezTo>
                <a:cubicBezTo>
                  <a:pt x="125" y="14"/>
                  <a:pt x="125" y="14"/>
                  <a:pt x="125" y="14"/>
                </a:cubicBezTo>
                <a:cubicBezTo>
                  <a:pt x="123" y="12"/>
                  <a:pt x="120" y="11"/>
                  <a:pt x="117" y="11"/>
                </a:cubicBezTo>
                <a:close/>
                <a:moveTo>
                  <a:pt x="107" y="35"/>
                </a:moveTo>
                <a:cubicBezTo>
                  <a:pt x="112" y="35"/>
                  <a:pt x="117" y="38"/>
                  <a:pt x="120" y="42"/>
                </a:cubicBezTo>
                <a:cubicBezTo>
                  <a:pt x="123" y="46"/>
                  <a:pt x="125" y="51"/>
                  <a:pt x="124" y="56"/>
                </a:cubicBezTo>
                <a:cubicBezTo>
                  <a:pt x="124" y="61"/>
                  <a:pt x="121" y="66"/>
                  <a:pt x="117" y="69"/>
                </a:cubicBezTo>
                <a:cubicBezTo>
                  <a:pt x="113" y="72"/>
                  <a:pt x="108" y="74"/>
                  <a:pt x="103" y="73"/>
                </a:cubicBezTo>
                <a:cubicBezTo>
                  <a:pt x="98" y="73"/>
                  <a:pt x="93" y="70"/>
                  <a:pt x="90" y="66"/>
                </a:cubicBezTo>
                <a:cubicBezTo>
                  <a:pt x="87" y="62"/>
                  <a:pt x="85" y="57"/>
                  <a:pt x="86" y="52"/>
                </a:cubicBezTo>
                <a:cubicBezTo>
                  <a:pt x="86" y="47"/>
                  <a:pt x="89" y="42"/>
                  <a:pt x="93" y="39"/>
                </a:cubicBezTo>
                <a:cubicBezTo>
                  <a:pt x="97" y="36"/>
                  <a:pt x="102" y="34"/>
                  <a:pt x="107" y="35"/>
                </a:cubicBezTo>
                <a:close/>
                <a:moveTo>
                  <a:pt x="112" y="48"/>
                </a:moveTo>
                <a:cubicBezTo>
                  <a:pt x="113" y="50"/>
                  <a:pt x="114" y="52"/>
                  <a:pt x="114" y="55"/>
                </a:cubicBezTo>
                <a:cubicBezTo>
                  <a:pt x="114" y="57"/>
                  <a:pt x="112" y="59"/>
                  <a:pt x="111" y="61"/>
                </a:cubicBezTo>
                <a:cubicBezTo>
                  <a:pt x="109" y="62"/>
                  <a:pt x="107" y="63"/>
                  <a:pt x="104" y="63"/>
                </a:cubicBezTo>
                <a:cubicBezTo>
                  <a:pt x="102" y="63"/>
                  <a:pt x="100" y="61"/>
                  <a:pt x="98" y="60"/>
                </a:cubicBezTo>
                <a:cubicBezTo>
                  <a:pt x="97" y="58"/>
                  <a:pt x="96" y="55"/>
                  <a:pt x="96" y="53"/>
                </a:cubicBezTo>
                <a:cubicBezTo>
                  <a:pt x="96" y="51"/>
                  <a:pt x="98" y="48"/>
                  <a:pt x="99" y="47"/>
                </a:cubicBezTo>
                <a:cubicBezTo>
                  <a:pt x="101" y="46"/>
                  <a:pt x="104" y="45"/>
                  <a:pt x="106" y="45"/>
                </a:cubicBezTo>
                <a:cubicBezTo>
                  <a:pt x="108" y="45"/>
                  <a:pt x="111" y="47"/>
                  <a:pt x="112" y="48"/>
                </a:cubicBezTo>
                <a:close/>
                <a:moveTo>
                  <a:pt x="128" y="35"/>
                </a:moveTo>
                <a:cubicBezTo>
                  <a:pt x="133" y="41"/>
                  <a:pt x="135" y="49"/>
                  <a:pt x="135" y="57"/>
                </a:cubicBezTo>
                <a:cubicBezTo>
                  <a:pt x="134" y="65"/>
                  <a:pt x="130" y="72"/>
                  <a:pt x="124" y="77"/>
                </a:cubicBezTo>
                <a:cubicBezTo>
                  <a:pt x="118" y="82"/>
                  <a:pt x="110" y="84"/>
                  <a:pt x="102" y="83"/>
                </a:cubicBezTo>
                <a:cubicBezTo>
                  <a:pt x="94" y="83"/>
                  <a:pt x="87" y="78"/>
                  <a:pt x="82" y="73"/>
                </a:cubicBezTo>
                <a:cubicBezTo>
                  <a:pt x="77" y="67"/>
                  <a:pt x="75" y="59"/>
                  <a:pt x="75" y="51"/>
                </a:cubicBezTo>
                <a:cubicBezTo>
                  <a:pt x="76" y="43"/>
                  <a:pt x="80" y="36"/>
                  <a:pt x="86" y="31"/>
                </a:cubicBezTo>
                <a:cubicBezTo>
                  <a:pt x="92" y="26"/>
                  <a:pt x="100" y="24"/>
                  <a:pt x="108" y="24"/>
                </a:cubicBezTo>
                <a:cubicBezTo>
                  <a:pt x="116" y="25"/>
                  <a:pt x="123" y="29"/>
                  <a:pt x="128" y="35"/>
                </a:cubicBezTo>
                <a:close/>
                <a:moveTo>
                  <a:pt x="79" y="152"/>
                </a:moveTo>
                <a:cubicBezTo>
                  <a:pt x="71" y="152"/>
                  <a:pt x="64" y="155"/>
                  <a:pt x="59" y="160"/>
                </a:cubicBezTo>
                <a:cubicBezTo>
                  <a:pt x="54" y="165"/>
                  <a:pt x="51" y="172"/>
                  <a:pt x="51" y="180"/>
                </a:cubicBezTo>
                <a:cubicBezTo>
                  <a:pt x="51" y="188"/>
                  <a:pt x="54" y="195"/>
                  <a:pt x="59" y="200"/>
                </a:cubicBezTo>
                <a:cubicBezTo>
                  <a:pt x="64" y="205"/>
                  <a:pt x="71" y="208"/>
                  <a:pt x="79" y="208"/>
                </a:cubicBezTo>
                <a:cubicBezTo>
                  <a:pt x="86" y="208"/>
                  <a:pt x="93" y="205"/>
                  <a:pt x="98" y="200"/>
                </a:cubicBezTo>
                <a:cubicBezTo>
                  <a:pt x="103" y="195"/>
                  <a:pt x="107" y="188"/>
                  <a:pt x="107" y="180"/>
                </a:cubicBezTo>
                <a:cubicBezTo>
                  <a:pt x="107" y="172"/>
                  <a:pt x="103" y="165"/>
                  <a:pt x="98" y="160"/>
                </a:cubicBezTo>
                <a:cubicBezTo>
                  <a:pt x="93" y="155"/>
                  <a:pt x="86" y="152"/>
                  <a:pt x="79" y="152"/>
                </a:cubicBezTo>
                <a:close/>
                <a:moveTo>
                  <a:pt x="88" y="171"/>
                </a:moveTo>
                <a:cubicBezTo>
                  <a:pt x="85" y="169"/>
                  <a:pt x="82" y="167"/>
                  <a:pt x="79" y="167"/>
                </a:cubicBezTo>
                <a:cubicBezTo>
                  <a:pt x="75" y="167"/>
                  <a:pt x="72" y="169"/>
                  <a:pt x="70" y="171"/>
                </a:cubicBezTo>
                <a:cubicBezTo>
                  <a:pt x="67" y="173"/>
                  <a:pt x="66" y="177"/>
                  <a:pt x="66" y="180"/>
                </a:cubicBezTo>
                <a:cubicBezTo>
                  <a:pt x="66" y="184"/>
                  <a:pt x="67" y="187"/>
                  <a:pt x="70" y="189"/>
                </a:cubicBezTo>
                <a:cubicBezTo>
                  <a:pt x="72" y="191"/>
                  <a:pt x="75" y="193"/>
                  <a:pt x="79" y="193"/>
                </a:cubicBezTo>
                <a:cubicBezTo>
                  <a:pt x="82" y="193"/>
                  <a:pt x="85" y="191"/>
                  <a:pt x="88" y="189"/>
                </a:cubicBezTo>
                <a:cubicBezTo>
                  <a:pt x="90" y="187"/>
                  <a:pt x="91" y="184"/>
                  <a:pt x="91" y="180"/>
                </a:cubicBezTo>
                <a:cubicBezTo>
                  <a:pt x="91" y="177"/>
                  <a:pt x="90" y="173"/>
                  <a:pt x="88" y="171"/>
                </a:cubicBezTo>
                <a:close/>
                <a:moveTo>
                  <a:pt x="109" y="150"/>
                </a:moveTo>
                <a:cubicBezTo>
                  <a:pt x="101" y="142"/>
                  <a:pt x="90" y="137"/>
                  <a:pt x="79" y="137"/>
                </a:cubicBezTo>
                <a:cubicBezTo>
                  <a:pt x="67" y="137"/>
                  <a:pt x="56" y="142"/>
                  <a:pt x="48" y="150"/>
                </a:cubicBezTo>
                <a:cubicBezTo>
                  <a:pt x="41" y="158"/>
                  <a:pt x="36" y="168"/>
                  <a:pt x="36" y="180"/>
                </a:cubicBezTo>
                <a:cubicBezTo>
                  <a:pt x="36" y="192"/>
                  <a:pt x="41" y="203"/>
                  <a:pt x="48" y="210"/>
                </a:cubicBezTo>
                <a:cubicBezTo>
                  <a:pt x="56" y="218"/>
                  <a:pt x="67" y="223"/>
                  <a:pt x="79" y="223"/>
                </a:cubicBezTo>
                <a:cubicBezTo>
                  <a:pt x="90" y="223"/>
                  <a:pt x="101" y="218"/>
                  <a:pt x="109" y="210"/>
                </a:cubicBezTo>
                <a:cubicBezTo>
                  <a:pt x="117" y="203"/>
                  <a:pt x="121" y="192"/>
                  <a:pt x="121" y="180"/>
                </a:cubicBezTo>
                <a:cubicBezTo>
                  <a:pt x="121" y="168"/>
                  <a:pt x="117" y="158"/>
                  <a:pt x="109" y="150"/>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Footer Placeholder 2"/>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719344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Rectangle 111"/>
          <p:cNvSpPr>
            <a:spLocks noChangeArrowheads="1"/>
          </p:cNvSpPr>
          <p:nvPr/>
        </p:nvSpPr>
        <p:spPr bwMode="auto">
          <a:xfrm>
            <a:off x="8755629" y="6456740"/>
            <a:ext cx="457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GE Inspira" pitchFamily="34" charset="0"/>
              <a:ea typeface="+mn-ea"/>
              <a:cs typeface="+mn-cs"/>
            </a:endParaRPr>
          </a:p>
        </p:txBody>
      </p:sp>
      <p:sp>
        <p:nvSpPr>
          <p:cNvPr id="96" name="Rectangle 136"/>
          <p:cNvSpPr>
            <a:spLocks noChangeArrowheads="1"/>
          </p:cNvSpPr>
          <p:nvPr/>
        </p:nvSpPr>
        <p:spPr bwMode="auto">
          <a:xfrm>
            <a:off x="9285040" y="3764506"/>
            <a:ext cx="1161541" cy="807913"/>
          </a:xfrm>
          <a:prstGeom prst="rect">
            <a:avLst/>
          </a:prstGeom>
          <a:solidFill>
            <a:schemeClr val="accent1">
              <a:lumMod val="60000"/>
              <a:lumOff val="40000"/>
            </a:scheme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1" i="0" u="none" strike="noStrike" kern="0" cap="none" spc="0" normalizeH="0" baseline="0" noProof="0" dirty="0">
                <a:ln>
                  <a:noFill/>
                </a:ln>
                <a:solidFill>
                  <a:prstClr val="black"/>
                </a:solidFill>
                <a:effectLst/>
                <a:uLnTx/>
                <a:uFillTx/>
                <a:latin typeface="Garamond" panose="02020404030301010803" pitchFamily="18" charset="0"/>
                <a:ea typeface="+mn-ea"/>
                <a:cs typeface="+mn-cs"/>
              </a:rPr>
              <a:t>Posting step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Post payments to AR Subledger: clearing against invo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Manual</a:t>
            </a:r>
            <a:endParaRPr kumimoji="0" lang="en-US" sz="1050" b="0"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p:txBody>
      </p:sp>
      <p:sp>
        <p:nvSpPr>
          <p:cNvPr id="143" name="TextBox 142"/>
          <p:cNvSpPr txBox="1"/>
          <p:nvPr/>
        </p:nvSpPr>
        <p:spPr>
          <a:xfrm>
            <a:off x="1207582" y="5142845"/>
            <a:ext cx="975581" cy="230832"/>
          </a:xfrm>
          <a:prstGeom prst="rect">
            <a:avLst/>
          </a:prstGeom>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kern="0" cap="none" spc="0" normalizeH="0" baseline="0">
                <a:ln>
                  <a:noFill/>
                </a:ln>
                <a:solidFill>
                  <a:prstClr val="black"/>
                </a:solidFill>
                <a:effectLst/>
                <a:uLnTx/>
                <a:uFillTx/>
                <a:latin typeface="Garamond" panose="02020404030301010803"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900" b="0" i="0" u="none" strike="noStrike" kern="0" cap="none" spc="0" normalizeH="0" baseline="0" noProof="0" dirty="0">
                <a:ln>
                  <a:noFill/>
                </a:ln>
                <a:solidFill>
                  <a:prstClr val="black"/>
                </a:solidFill>
                <a:effectLst/>
                <a:uLnTx/>
                <a:uFillTx/>
                <a:latin typeface="Garamond" panose="02020404030301010803" pitchFamily="18" charset="0"/>
                <a:ea typeface="+mn-ea"/>
                <a:cs typeface="+mn-cs"/>
              </a:rPr>
              <a:t>Processing Time*</a:t>
            </a:r>
            <a:endParaRPr kumimoji="0" lang="en-US" sz="900" b="0"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p:txBody>
      </p:sp>
      <p:sp>
        <p:nvSpPr>
          <p:cNvPr id="144" name="TextBox 143"/>
          <p:cNvSpPr txBox="1"/>
          <p:nvPr/>
        </p:nvSpPr>
        <p:spPr>
          <a:xfrm>
            <a:off x="3742138" y="2921193"/>
            <a:ext cx="1167963" cy="707886"/>
          </a:xfrm>
          <a:prstGeom prst="rect">
            <a:avLst/>
          </a:prstGeom>
          <a:ln/>
        </p:spPr>
        <p:style>
          <a:lnRef idx="1">
            <a:schemeClr val="accent4"/>
          </a:lnRef>
          <a:fillRef idx="3">
            <a:schemeClr val="accent4"/>
          </a:fillRef>
          <a:effectRef idx="2">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1000" b="1"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00" b="1" i="0" u="none" strike="noStrike" kern="0" cap="none" spc="0" normalizeH="0" baseline="0" noProof="0" dirty="0">
                <a:ln>
                  <a:noFill/>
                </a:ln>
                <a:solidFill>
                  <a:prstClr val="black"/>
                </a:solidFill>
                <a:effectLst/>
                <a:uLnTx/>
                <a:uFillTx/>
                <a:latin typeface="Garamond" panose="02020404030301010803" pitchFamily="18" charset="0"/>
                <a:ea typeface="+mn-ea"/>
                <a:cs typeface="+mn-cs"/>
              </a:rPr>
              <a:t>Remittance extra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p:txBody>
      </p:sp>
      <p:sp>
        <p:nvSpPr>
          <p:cNvPr id="145" name="TextBox 144"/>
          <p:cNvSpPr txBox="1"/>
          <p:nvPr/>
        </p:nvSpPr>
        <p:spPr>
          <a:xfrm>
            <a:off x="6516612" y="2921193"/>
            <a:ext cx="3929961" cy="707886"/>
          </a:xfrm>
          <a:prstGeom prst="rect">
            <a:avLst/>
          </a:prstGeom>
          <a:ln/>
        </p:spPr>
        <p:style>
          <a:lnRef idx="1">
            <a:schemeClr val="accent4"/>
          </a:lnRef>
          <a:fillRef idx="3">
            <a:schemeClr val="accent4"/>
          </a:fillRef>
          <a:effectRef idx="2">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1400" b="1"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00" b="1" i="0" u="none" strike="noStrike" kern="0" cap="none" spc="0" normalizeH="0" baseline="0" noProof="0" dirty="0">
                <a:ln>
                  <a:noFill/>
                </a:ln>
                <a:solidFill>
                  <a:prstClr val="black"/>
                </a:solidFill>
                <a:effectLst/>
                <a:uLnTx/>
                <a:uFillTx/>
                <a:latin typeface="Garamond" panose="02020404030301010803" pitchFamily="18" charset="0"/>
                <a:ea typeface="+mn-ea"/>
                <a:cs typeface="+mn-cs"/>
              </a:rPr>
              <a:t>Posting, allocation, clear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p:txBody>
      </p:sp>
      <p:sp>
        <p:nvSpPr>
          <p:cNvPr id="111" name="TextBox 110"/>
          <p:cNvSpPr txBox="1"/>
          <p:nvPr/>
        </p:nvSpPr>
        <p:spPr>
          <a:xfrm>
            <a:off x="1207582" y="4897541"/>
            <a:ext cx="975578" cy="230832"/>
          </a:xfrm>
          <a:prstGeom prst="rect">
            <a:avLst/>
          </a:prstGeom>
          <a:ln/>
        </p:spPr>
        <p:style>
          <a:lnRef idx="1">
            <a:schemeClr val="accent4"/>
          </a:lnRef>
          <a:fillRef idx="3">
            <a:schemeClr val="accent4"/>
          </a:fillRef>
          <a:effectRef idx="2">
            <a:schemeClr val="accent4"/>
          </a:effectRef>
          <a:fontRef idx="minor">
            <a:schemeClr val="lt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kern="0" cap="none" spc="0" normalizeH="0" baseline="0">
                <a:ln>
                  <a:noFill/>
                </a:ln>
                <a:solidFill>
                  <a:prstClr val="black"/>
                </a:solidFill>
                <a:effectLst/>
                <a:uLnTx/>
                <a:uFillTx/>
                <a:latin typeface="Garamond" panose="02020404030301010803"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Garamond" panose="02020404030301010803" pitchFamily="18" charset="0"/>
                <a:ea typeface="+mn-ea"/>
                <a:cs typeface="+mn-cs"/>
              </a:rPr>
              <a:t>NVA/WT</a:t>
            </a:r>
          </a:p>
        </p:txBody>
      </p:sp>
      <p:sp>
        <p:nvSpPr>
          <p:cNvPr id="124" name="12-Point Star 123"/>
          <p:cNvSpPr/>
          <p:nvPr/>
        </p:nvSpPr>
        <p:spPr>
          <a:xfrm rot="21402558">
            <a:off x="4618060" y="1632897"/>
            <a:ext cx="2319818" cy="1071123"/>
          </a:xfrm>
          <a:prstGeom prst="star12">
            <a:avLst/>
          </a:prstGeom>
          <a:solidFill>
            <a:schemeClr val="accent2">
              <a:lumMod val="40000"/>
              <a:lumOff val="60000"/>
            </a:schemeClr>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chemeClr val="tx1"/>
                </a:solidFill>
                <a:effectLst/>
                <a:uLnTx/>
                <a:uFillTx/>
                <a:latin typeface="Calibri" panose="020F0502020204030204"/>
                <a:ea typeface="+mn-ea"/>
                <a:cs typeface="+mn-cs"/>
              </a:rPr>
              <a:t>35 kaizens identified</a:t>
            </a:r>
          </a:p>
        </p:txBody>
      </p:sp>
      <p:sp>
        <p:nvSpPr>
          <p:cNvPr id="113" name="Rectangle 130">
            <a:extLst>
              <a:ext uri="{FF2B5EF4-FFF2-40B4-BE49-F238E27FC236}">
                <a16:creationId xmlns:a16="http://schemas.microsoft.com/office/drawing/2014/main" id="{72C544D5-56F6-4881-8E33-A7035CE856FB}"/>
              </a:ext>
            </a:extLst>
          </p:cNvPr>
          <p:cNvSpPr>
            <a:spLocks noChangeArrowheads="1"/>
          </p:cNvSpPr>
          <p:nvPr/>
        </p:nvSpPr>
        <p:spPr bwMode="auto">
          <a:xfrm>
            <a:off x="6516612" y="3764506"/>
            <a:ext cx="1164752" cy="807913"/>
          </a:xfrm>
          <a:prstGeom prst="rect">
            <a:avLst/>
          </a:prstGeom>
          <a:solidFill>
            <a:schemeClr val="accent1">
              <a:lumMod val="60000"/>
              <a:lumOff val="40000"/>
            </a:scheme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1"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Posting step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Booking of Bank Statement in SAP: Main GL to Autobank Clearing Account)</a:t>
            </a: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118" name="Rectangle 130">
            <a:extLst>
              <a:ext uri="{FF2B5EF4-FFF2-40B4-BE49-F238E27FC236}">
                <a16:creationId xmlns:a16="http://schemas.microsoft.com/office/drawing/2014/main" id="{5D50CDB2-6E90-4BDC-99E2-164E30944246}"/>
              </a:ext>
            </a:extLst>
          </p:cNvPr>
          <p:cNvSpPr>
            <a:spLocks noChangeArrowheads="1"/>
          </p:cNvSpPr>
          <p:nvPr/>
        </p:nvSpPr>
        <p:spPr bwMode="auto">
          <a:xfrm>
            <a:off x="7900826" y="3764506"/>
            <a:ext cx="1164752" cy="807913"/>
          </a:xfrm>
          <a:prstGeom prst="rect">
            <a:avLst/>
          </a:prstGeom>
          <a:solidFill>
            <a:schemeClr val="accent1">
              <a:lumMod val="60000"/>
              <a:lumOff val="40000"/>
            </a:scheme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1"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Posting step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Post payments to AR Subledger: clearing against invoice) automated</a:t>
            </a: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125" name="Rectangle 130">
            <a:extLst>
              <a:ext uri="{FF2B5EF4-FFF2-40B4-BE49-F238E27FC236}">
                <a16:creationId xmlns:a16="http://schemas.microsoft.com/office/drawing/2014/main" id="{DF8848E0-6C44-4417-82BF-B76A8BEC25D3}"/>
              </a:ext>
            </a:extLst>
          </p:cNvPr>
          <p:cNvSpPr>
            <a:spLocks noChangeArrowheads="1"/>
          </p:cNvSpPr>
          <p:nvPr/>
        </p:nvSpPr>
        <p:spPr bwMode="auto">
          <a:xfrm>
            <a:off x="2350323" y="3764506"/>
            <a:ext cx="1167964" cy="807913"/>
          </a:xfrm>
          <a:prstGeom prst="rect">
            <a:avLst/>
          </a:prstGeom>
          <a:solidFill>
            <a:schemeClr val="accent1">
              <a:lumMod val="60000"/>
              <a:lumOff val="40000"/>
            </a:scheme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Webcash </a:t>
            </a: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TRAX) </a:t>
            </a:r>
            <a:r>
              <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Data extraction </a:t>
            </a:r>
            <a:endPar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to SAP via Middleware</a:t>
            </a:r>
            <a:r>
              <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a:t>
            </a:r>
          </a:p>
        </p:txBody>
      </p:sp>
      <p:sp>
        <p:nvSpPr>
          <p:cNvPr id="126" name="Rectangle 130">
            <a:extLst>
              <a:ext uri="{FF2B5EF4-FFF2-40B4-BE49-F238E27FC236}">
                <a16:creationId xmlns:a16="http://schemas.microsoft.com/office/drawing/2014/main" id="{224CD833-C8A3-454F-88B2-158B68254984}"/>
              </a:ext>
            </a:extLst>
          </p:cNvPr>
          <p:cNvSpPr>
            <a:spLocks noChangeArrowheads="1"/>
          </p:cNvSpPr>
          <p:nvPr/>
        </p:nvSpPr>
        <p:spPr bwMode="auto">
          <a:xfrm>
            <a:off x="3751259" y="3766140"/>
            <a:ext cx="1145993" cy="807913"/>
          </a:xfrm>
          <a:prstGeom prst="rect">
            <a:avLst/>
          </a:prstGeom>
          <a:solidFill>
            <a:schemeClr val="accent1">
              <a:lumMod val="60000"/>
              <a:lumOff val="40000"/>
            </a:scheme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Remittence </a:t>
            </a:r>
            <a:r>
              <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extraction </a:t>
            </a:r>
            <a:endPar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SmartEye</a:t>
            </a:r>
            <a:r>
              <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a:t>
            </a:r>
            <a:endPar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140" name="TextBox 139">
            <a:extLst>
              <a:ext uri="{FF2B5EF4-FFF2-40B4-BE49-F238E27FC236}">
                <a16:creationId xmlns:a16="http://schemas.microsoft.com/office/drawing/2014/main" id="{94378781-8311-468D-A754-F71EC421BDB1}"/>
              </a:ext>
            </a:extLst>
          </p:cNvPr>
          <p:cNvSpPr txBox="1"/>
          <p:nvPr/>
        </p:nvSpPr>
        <p:spPr>
          <a:xfrm>
            <a:off x="2350323" y="2921193"/>
            <a:ext cx="1167964" cy="707886"/>
          </a:xfrm>
          <a:prstGeom prst="rect">
            <a:avLst/>
          </a:prstGeom>
          <a:ln/>
        </p:spPr>
        <p:style>
          <a:lnRef idx="1">
            <a:schemeClr val="accent4"/>
          </a:lnRef>
          <a:fillRef idx="3">
            <a:schemeClr val="accent4"/>
          </a:fillRef>
          <a:effectRef idx="2">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1000" b="1"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00" b="1" i="0" u="none" strike="noStrike" kern="0" cap="none" spc="0" normalizeH="0" baseline="0" noProof="0" dirty="0">
                <a:ln>
                  <a:noFill/>
                </a:ln>
                <a:solidFill>
                  <a:prstClr val="black"/>
                </a:solidFill>
                <a:effectLst/>
                <a:uLnTx/>
                <a:uFillTx/>
                <a:latin typeface="Garamond" panose="02020404030301010803" pitchFamily="18" charset="0"/>
                <a:ea typeface="+mn-ea"/>
                <a:cs typeface="+mn-cs"/>
              </a:rPr>
              <a:t>Bank Statement EBS Uploa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p:txBody>
      </p:sp>
      <p:sp>
        <p:nvSpPr>
          <p:cNvPr id="141" name="TextBox 140">
            <a:extLst>
              <a:ext uri="{FF2B5EF4-FFF2-40B4-BE49-F238E27FC236}">
                <a16:creationId xmlns:a16="http://schemas.microsoft.com/office/drawing/2014/main" id="{1741C4E7-AE19-4E00-8D5F-880376E5DE92}"/>
              </a:ext>
            </a:extLst>
          </p:cNvPr>
          <p:cNvSpPr txBox="1"/>
          <p:nvPr/>
        </p:nvSpPr>
        <p:spPr>
          <a:xfrm>
            <a:off x="5129375" y="2921193"/>
            <a:ext cx="1167963" cy="707886"/>
          </a:xfrm>
          <a:prstGeom prst="rect">
            <a:avLst/>
          </a:prstGeom>
          <a:ln/>
        </p:spPr>
        <p:style>
          <a:lnRef idx="1">
            <a:schemeClr val="accent4"/>
          </a:lnRef>
          <a:fillRef idx="3">
            <a:schemeClr val="accent4"/>
          </a:fillRef>
          <a:effectRef idx="2">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500" b="1"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00" b="1" i="0" u="none" strike="noStrike" kern="0" cap="none" spc="0" normalizeH="0" baseline="0" noProof="0" dirty="0">
                <a:ln>
                  <a:noFill/>
                </a:ln>
                <a:solidFill>
                  <a:prstClr val="black"/>
                </a:solidFill>
                <a:effectLst/>
                <a:uLnTx/>
                <a:uFillTx/>
                <a:latin typeface="Garamond" panose="02020404030301010803" pitchFamily="18" charset="0"/>
                <a:ea typeface="+mn-ea"/>
                <a:cs typeface="+mn-cs"/>
              </a:rPr>
              <a:t>Bank Statement and Remittance Process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black"/>
              </a:solidFill>
              <a:effectLst/>
              <a:uLnTx/>
              <a:uFillTx/>
              <a:latin typeface="Garamond" panose="02020404030301010803" pitchFamily="18" charset="0"/>
              <a:ea typeface="+mn-ea"/>
              <a:cs typeface="+mn-cs"/>
            </a:endParaRPr>
          </a:p>
        </p:txBody>
      </p:sp>
      <p:sp>
        <p:nvSpPr>
          <p:cNvPr id="142" name="Rectangle 130">
            <a:extLst>
              <a:ext uri="{FF2B5EF4-FFF2-40B4-BE49-F238E27FC236}">
                <a16:creationId xmlns:a16="http://schemas.microsoft.com/office/drawing/2014/main" id="{05366FBF-2D1B-454E-B5C0-370BCB6C8AFC}"/>
              </a:ext>
            </a:extLst>
          </p:cNvPr>
          <p:cNvSpPr>
            <a:spLocks noChangeArrowheads="1"/>
          </p:cNvSpPr>
          <p:nvPr/>
        </p:nvSpPr>
        <p:spPr bwMode="auto">
          <a:xfrm>
            <a:off x="5125575" y="3764506"/>
            <a:ext cx="1167963" cy="807913"/>
          </a:xfrm>
          <a:prstGeom prst="rect">
            <a:avLst/>
          </a:prstGeom>
          <a:solidFill>
            <a:schemeClr val="accent1">
              <a:lumMod val="60000"/>
              <a:lumOff val="40000"/>
            </a:schemeClr>
          </a:solidFill>
          <a:ln w="12700">
            <a:solidFill>
              <a:sysClr val="windowText" lastClr="000000"/>
            </a:solid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Automated processing of bank statement and remittances in SA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9" name="Arrow: Right 8">
            <a:extLst>
              <a:ext uri="{FF2B5EF4-FFF2-40B4-BE49-F238E27FC236}">
                <a16:creationId xmlns:a16="http://schemas.microsoft.com/office/drawing/2014/main" id="{1F5FC5C4-D5CB-41D6-8CAF-4A18B7A76127}"/>
              </a:ext>
            </a:extLst>
          </p:cNvPr>
          <p:cNvSpPr/>
          <p:nvPr/>
        </p:nvSpPr>
        <p:spPr>
          <a:xfrm>
            <a:off x="4932349" y="4073436"/>
            <a:ext cx="162105" cy="214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Arrow: Right 147">
            <a:extLst>
              <a:ext uri="{FF2B5EF4-FFF2-40B4-BE49-F238E27FC236}">
                <a16:creationId xmlns:a16="http://schemas.microsoft.com/office/drawing/2014/main" id="{424CF64E-7CE2-4DC4-9C0C-102BAFACA7FD}"/>
              </a:ext>
            </a:extLst>
          </p:cNvPr>
          <p:cNvSpPr/>
          <p:nvPr/>
        </p:nvSpPr>
        <p:spPr>
          <a:xfrm>
            <a:off x="6324659" y="4080749"/>
            <a:ext cx="162105" cy="214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Arrow: Right 149">
            <a:extLst>
              <a:ext uri="{FF2B5EF4-FFF2-40B4-BE49-F238E27FC236}">
                <a16:creationId xmlns:a16="http://schemas.microsoft.com/office/drawing/2014/main" id="{C02D7E1D-92FC-47EC-A407-CBF39DA93361}"/>
              </a:ext>
            </a:extLst>
          </p:cNvPr>
          <p:cNvSpPr/>
          <p:nvPr/>
        </p:nvSpPr>
        <p:spPr>
          <a:xfrm>
            <a:off x="7709982" y="4061112"/>
            <a:ext cx="162105" cy="214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 name="Arrow: Right 150">
            <a:extLst>
              <a:ext uri="{FF2B5EF4-FFF2-40B4-BE49-F238E27FC236}">
                <a16:creationId xmlns:a16="http://schemas.microsoft.com/office/drawing/2014/main" id="{55715886-1FFF-4D54-80C6-A9384CC940E4}"/>
              </a:ext>
            </a:extLst>
          </p:cNvPr>
          <p:cNvSpPr/>
          <p:nvPr/>
        </p:nvSpPr>
        <p:spPr>
          <a:xfrm>
            <a:off x="9092820" y="4073436"/>
            <a:ext cx="162105" cy="214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 name="Connector: Elbow 19">
            <a:extLst>
              <a:ext uri="{FF2B5EF4-FFF2-40B4-BE49-F238E27FC236}">
                <a16:creationId xmlns:a16="http://schemas.microsoft.com/office/drawing/2014/main" id="{D7153219-5B8A-416C-84C7-9BDACEAE35B3}"/>
              </a:ext>
            </a:extLst>
          </p:cNvPr>
          <p:cNvCxnSpPr>
            <a:stCxn id="125" idx="2"/>
            <a:endCxn id="142" idx="2"/>
          </p:cNvCxnSpPr>
          <p:nvPr/>
        </p:nvCxnSpPr>
        <p:spPr>
          <a:xfrm rot="16200000" flipH="1">
            <a:off x="4321931" y="3184793"/>
            <a:ext cx="12700" cy="2775252"/>
          </a:xfrm>
          <a:prstGeom prst="bentConnector3">
            <a:avLst>
              <a:gd name="adj1" fmla="val 2640000"/>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A49C80F0-C653-44F4-8285-E5E643F76009}"/>
              </a:ext>
            </a:extLst>
          </p:cNvPr>
          <p:cNvCxnSpPr>
            <a:cxnSpLocks/>
          </p:cNvCxnSpPr>
          <p:nvPr/>
        </p:nvCxnSpPr>
        <p:spPr>
          <a:xfrm flipV="1">
            <a:off x="2350323" y="5143818"/>
            <a:ext cx="1367032" cy="175664"/>
          </a:xfrm>
          <a:prstGeom prst="bentConnector3">
            <a:avLst>
              <a:gd name="adj1" fmla="val 85303"/>
            </a:avLst>
          </a:prstGeom>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C1DBCACC-31A6-4C69-8846-B9C9491CA66C}"/>
              </a:ext>
            </a:extLst>
          </p:cNvPr>
          <p:cNvCxnSpPr>
            <a:cxnSpLocks/>
          </p:cNvCxnSpPr>
          <p:nvPr/>
        </p:nvCxnSpPr>
        <p:spPr>
          <a:xfrm>
            <a:off x="3717355" y="5143818"/>
            <a:ext cx="0" cy="191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8" name="Connector: Elbow 167">
            <a:extLst>
              <a:ext uri="{FF2B5EF4-FFF2-40B4-BE49-F238E27FC236}">
                <a16:creationId xmlns:a16="http://schemas.microsoft.com/office/drawing/2014/main" id="{F4E24927-B453-44DE-B9A3-509E73F93A4C}"/>
              </a:ext>
            </a:extLst>
          </p:cNvPr>
          <p:cNvCxnSpPr>
            <a:cxnSpLocks/>
          </p:cNvCxnSpPr>
          <p:nvPr/>
        </p:nvCxnSpPr>
        <p:spPr>
          <a:xfrm flipV="1">
            <a:off x="3717355" y="5158878"/>
            <a:ext cx="1367032" cy="175664"/>
          </a:xfrm>
          <a:prstGeom prst="bentConnector3">
            <a:avLst>
              <a:gd name="adj1" fmla="val 84838"/>
            </a:avLst>
          </a:prstGeom>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120188B-978D-485E-B462-603FC5D5521A}"/>
              </a:ext>
            </a:extLst>
          </p:cNvPr>
          <p:cNvCxnSpPr>
            <a:cxnSpLocks/>
          </p:cNvCxnSpPr>
          <p:nvPr/>
        </p:nvCxnSpPr>
        <p:spPr>
          <a:xfrm>
            <a:off x="5084387" y="5158878"/>
            <a:ext cx="0" cy="191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3167E23B-06EC-4480-AD1F-901BB170108D}"/>
              </a:ext>
            </a:extLst>
          </p:cNvPr>
          <p:cNvCxnSpPr>
            <a:cxnSpLocks/>
          </p:cNvCxnSpPr>
          <p:nvPr/>
        </p:nvCxnSpPr>
        <p:spPr>
          <a:xfrm flipV="1">
            <a:off x="5094454" y="5167972"/>
            <a:ext cx="1367032" cy="175664"/>
          </a:xfrm>
          <a:prstGeom prst="bentConnector3">
            <a:avLst>
              <a:gd name="adj1" fmla="val 84838"/>
            </a:avLst>
          </a:prstGeom>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5154ED8-F0B8-4F20-95AE-0A377E8C745D}"/>
              </a:ext>
            </a:extLst>
          </p:cNvPr>
          <p:cNvCxnSpPr>
            <a:cxnSpLocks/>
          </p:cNvCxnSpPr>
          <p:nvPr/>
        </p:nvCxnSpPr>
        <p:spPr>
          <a:xfrm>
            <a:off x="6461486" y="5167972"/>
            <a:ext cx="0" cy="191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3252AFD1-51E8-4FCE-9AA6-3D44F39DCA07}"/>
              </a:ext>
            </a:extLst>
          </p:cNvPr>
          <p:cNvCxnSpPr>
            <a:cxnSpLocks/>
          </p:cNvCxnSpPr>
          <p:nvPr/>
        </p:nvCxnSpPr>
        <p:spPr>
          <a:xfrm flipV="1">
            <a:off x="6461549" y="5181629"/>
            <a:ext cx="1367032" cy="175664"/>
          </a:xfrm>
          <a:prstGeom prst="bentConnector3">
            <a:avLst>
              <a:gd name="adj1" fmla="val 84838"/>
            </a:avLst>
          </a:prstGeom>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95EC69B2-95CA-420D-8C1B-1D562E7E57EE}"/>
              </a:ext>
            </a:extLst>
          </p:cNvPr>
          <p:cNvCxnSpPr>
            <a:cxnSpLocks/>
          </p:cNvCxnSpPr>
          <p:nvPr/>
        </p:nvCxnSpPr>
        <p:spPr>
          <a:xfrm>
            <a:off x="7828581" y="5181629"/>
            <a:ext cx="0" cy="191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0" name="Connector: Elbow 199">
            <a:extLst>
              <a:ext uri="{FF2B5EF4-FFF2-40B4-BE49-F238E27FC236}">
                <a16:creationId xmlns:a16="http://schemas.microsoft.com/office/drawing/2014/main" id="{6680C729-4639-4A4B-AAF8-D716D9F4C0B9}"/>
              </a:ext>
            </a:extLst>
          </p:cNvPr>
          <p:cNvCxnSpPr>
            <a:cxnSpLocks/>
          </p:cNvCxnSpPr>
          <p:nvPr/>
        </p:nvCxnSpPr>
        <p:spPr>
          <a:xfrm flipV="1">
            <a:off x="7828515" y="5195605"/>
            <a:ext cx="1367032" cy="175664"/>
          </a:xfrm>
          <a:prstGeom prst="bentConnector3">
            <a:avLst>
              <a:gd name="adj1" fmla="val 84838"/>
            </a:avLst>
          </a:prstGeom>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5E7F0B31-2953-4CD5-9122-81C098F2E016}"/>
              </a:ext>
            </a:extLst>
          </p:cNvPr>
          <p:cNvCxnSpPr>
            <a:cxnSpLocks/>
          </p:cNvCxnSpPr>
          <p:nvPr/>
        </p:nvCxnSpPr>
        <p:spPr>
          <a:xfrm>
            <a:off x="9195547" y="5198525"/>
            <a:ext cx="0" cy="191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2" name="Connector: Elbow 201">
            <a:extLst>
              <a:ext uri="{FF2B5EF4-FFF2-40B4-BE49-F238E27FC236}">
                <a16:creationId xmlns:a16="http://schemas.microsoft.com/office/drawing/2014/main" id="{C1CD9687-DD89-4140-9961-9B885B563BCA}"/>
              </a:ext>
            </a:extLst>
          </p:cNvPr>
          <p:cNvCxnSpPr>
            <a:cxnSpLocks/>
          </p:cNvCxnSpPr>
          <p:nvPr/>
        </p:nvCxnSpPr>
        <p:spPr>
          <a:xfrm flipV="1">
            <a:off x="9193028" y="5216890"/>
            <a:ext cx="1367032" cy="175664"/>
          </a:xfrm>
          <a:prstGeom prst="bentConnector3">
            <a:avLst>
              <a:gd name="adj1" fmla="val 84838"/>
            </a:avLst>
          </a:prstGeom>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8B17AA63-065F-4B7B-AA53-7E9D4F2BCC41}"/>
              </a:ext>
            </a:extLst>
          </p:cNvPr>
          <p:cNvCxnSpPr>
            <a:cxnSpLocks/>
          </p:cNvCxnSpPr>
          <p:nvPr/>
        </p:nvCxnSpPr>
        <p:spPr>
          <a:xfrm>
            <a:off x="10557609" y="5215943"/>
            <a:ext cx="0" cy="191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01FC56EF-8C50-4A7E-BBCA-78DA4CF680E1}"/>
              </a:ext>
            </a:extLst>
          </p:cNvPr>
          <p:cNvCxnSpPr>
            <a:cxnSpLocks/>
          </p:cNvCxnSpPr>
          <p:nvPr/>
        </p:nvCxnSpPr>
        <p:spPr>
          <a:xfrm>
            <a:off x="2350323" y="5137082"/>
            <a:ext cx="0" cy="191109"/>
          </a:xfrm>
          <a:prstGeom prst="line">
            <a:avLst/>
          </a:prstGeom>
        </p:spPr>
        <p:style>
          <a:lnRef idx="1">
            <a:schemeClr val="accent1"/>
          </a:lnRef>
          <a:fillRef idx="0">
            <a:schemeClr val="accent1"/>
          </a:fillRef>
          <a:effectRef idx="0">
            <a:schemeClr val="accent1"/>
          </a:effectRef>
          <a:fontRef idx="minor">
            <a:schemeClr val="tx1"/>
          </a:fontRef>
        </p:style>
      </p:cxnSp>
      <p:grpSp>
        <p:nvGrpSpPr>
          <p:cNvPr id="245" name="Group 244">
            <a:extLst>
              <a:ext uri="{FF2B5EF4-FFF2-40B4-BE49-F238E27FC236}">
                <a16:creationId xmlns:a16="http://schemas.microsoft.com/office/drawing/2014/main" id="{BCE30FDB-7473-4E9D-86B3-F4FF72D83BBD}"/>
              </a:ext>
            </a:extLst>
          </p:cNvPr>
          <p:cNvGrpSpPr/>
          <p:nvPr/>
        </p:nvGrpSpPr>
        <p:grpSpPr>
          <a:xfrm>
            <a:off x="10521039" y="1089768"/>
            <a:ext cx="1061011" cy="703994"/>
            <a:chOff x="9241234" y="824394"/>
            <a:chExt cx="1061011" cy="703994"/>
          </a:xfrm>
        </p:grpSpPr>
        <p:sp>
          <p:nvSpPr>
            <p:cNvPr id="242" name="Rectangle 241">
              <a:extLst>
                <a:ext uri="{FF2B5EF4-FFF2-40B4-BE49-F238E27FC236}">
                  <a16:creationId xmlns:a16="http://schemas.microsoft.com/office/drawing/2014/main" id="{608A6C76-962B-4133-BF11-521B02198860}"/>
                </a:ext>
              </a:extLst>
            </p:cNvPr>
            <p:cNvSpPr/>
            <p:nvPr/>
          </p:nvSpPr>
          <p:spPr>
            <a:xfrm>
              <a:off x="9248500" y="1057466"/>
              <a:ext cx="1053741" cy="4709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206" name="Right Triangle 205">
              <a:extLst>
                <a:ext uri="{FF2B5EF4-FFF2-40B4-BE49-F238E27FC236}">
                  <a16:creationId xmlns:a16="http://schemas.microsoft.com/office/drawing/2014/main" id="{CF278841-A570-4671-AD7A-A40DB93948EB}"/>
                </a:ext>
              </a:extLst>
            </p:cNvPr>
            <p:cNvSpPr/>
            <p:nvPr/>
          </p:nvSpPr>
          <p:spPr>
            <a:xfrm flipH="1">
              <a:off x="9945191" y="824394"/>
              <a:ext cx="357054" cy="24622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244" name="TextBox 243">
              <a:extLst>
                <a:ext uri="{FF2B5EF4-FFF2-40B4-BE49-F238E27FC236}">
                  <a16:creationId xmlns:a16="http://schemas.microsoft.com/office/drawing/2014/main" id="{04A7D051-978E-4474-B560-0665D5A8F5B4}"/>
                </a:ext>
              </a:extLst>
            </p:cNvPr>
            <p:cNvSpPr txBox="1"/>
            <p:nvPr/>
          </p:nvSpPr>
          <p:spPr>
            <a:xfrm>
              <a:off x="9241234" y="1080439"/>
              <a:ext cx="106100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GE Renewables/Grid</a:t>
              </a:r>
              <a:endParaRPr kumimoji="0" lang="en-US" sz="1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p:txBody>
        </p:sp>
        <p:sp>
          <p:nvSpPr>
            <p:cNvPr id="243" name="Right Triangle 242">
              <a:extLst>
                <a:ext uri="{FF2B5EF4-FFF2-40B4-BE49-F238E27FC236}">
                  <a16:creationId xmlns:a16="http://schemas.microsoft.com/office/drawing/2014/main" id="{DB8B360D-64F6-4A2A-931B-65386194AC2C}"/>
                </a:ext>
              </a:extLst>
            </p:cNvPr>
            <p:cNvSpPr/>
            <p:nvPr/>
          </p:nvSpPr>
          <p:spPr>
            <a:xfrm flipH="1">
              <a:off x="9248500" y="836023"/>
              <a:ext cx="357054" cy="227232"/>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205" name="Right Triangle 204">
              <a:extLst>
                <a:ext uri="{FF2B5EF4-FFF2-40B4-BE49-F238E27FC236}">
                  <a16:creationId xmlns:a16="http://schemas.microsoft.com/office/drawing/2014/main" id="{D30B36EF-C328-4241-8D79-C36179E29405}"/>
                </a:ext>
              </a:extLst>
            </p:cNvPr>
            <p:cNvSpPr/>
            <p:nvPr/>
          </p:nvSpPr>
          <p:spPr>
            <a:xfrm flipH="1">
              <a:off x="9588137" y="836023"/>
              <a:ext cx="357054" cy="227232"/>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grpSp>
      <p:sp>
        <p:nvSpPr>
          <p:cNvPr id="246" name="TextBox 245">
            <a:extLst>
              <a:ext uri="{FF2B5EF4-FFF2-40B4-BE49-F238E27FC236}">
                <a16:creationId xmlns:a16="http://schemas.microsoft.com/office/drawing/2014/main" id="{7AE504C3-58CC-4231-83D5-DA172855654D}"/>
              </a:ext>
            </a:extLst>
          </p:cNvPr>
          <p:cNvSpPr txBox="1"/>
          <p:nvPr/>
        </p:nvSpPr>
        <p:spPr>
          <a:xfrm>
            <a:off x="411829" y="5977337"/>
            <a:ext cx="910043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u-HU" sz="1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Autobank process is working 24/7 with inmediate processing when input files are available. Rules are available in the next sl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u-HU" sz="1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One case can have one or multiple issu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u-HU" sz="1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Times are estimated</a:t>
            </a:r>
            <a:endParaRPr kumimoji="0" lang="en-US" sz="1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p:txBody>
      </p:sp>
      <p:sp>
        <p:nvSpPr>
          <p:cNvPr id="219" name="Rectangle 130">
            <a:extLst>
              <a:ext uri="{FF2B5EF4-FFF2-40B4-BE49-F238E27FC236}">
                <a16:creationId xmlns:a16="http://schemas.microsoft.com/office/drawing/2014/main" id="{70D6D96E-0EB2-4CD7-B7DF-2097A224845D}"/>
              </a:ext>
            </a:extLst>
          </p:cNvPr>
          <p:cNvSpPr>
            <a:spLocks noChangeArrowheads="1"/>
          </p:cNvSpPr>
          <p:nvPr/>
        </p:nvSpPr>
        <p:spPr bwMode="auto">
          <a:xfrm>
            <a:off x="2630634" y="5122301"/>
            <a:ext cx="649318" cy="161583"/>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5 mins</a:t>
            </a: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20" name="Rectangle 130">
            <a:extLst>
              <a:ext uri="{FF2B5EF4-FFF2-40B4-BE49-F238E27FC236}">
                <a16:creationId xmlns:a16="http://schemas.microsoft.com/office/drawing/2014/main" id="{5772450A-080A-4216-8E12-7F5E85C7E09C}"/>
              </a:ext>
            </a:extLst>
          </p:cNvPr>
          <p:cNvSpPr>
            <a:spLocks noChangeArrowheads="1"/>
          </p:cNvSpPr>
          <p:nvPr/>
        </p:nvSpPr>
        <p:spPr bwMode="auto">
          <a:xfrm>
            <a:off x="3992695" y="5127495"/>
            <a:ext cx="649318" cy="161583"/>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5 mins</a:t>
            </a: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21" name="Rectangle 130">
            <a:extLst>
              <a:ext uri="{FF2B5EF4-FFF2-40B4-BE49-F238E27FC236}">
                <a16:creationId xmlns:a16="http://schemas.microsoft.com/office/drawing/2014/main" id="{5EDE135C-067B-4AC6-828B-EEFF2097036C}"/>
              </a:ext>
            </a:extLst>
          </p:cNvPr>
          <p:cNvSpPr>
            <a:spLocks noChangeArrowheads="1"/>
          </p:cNvSpPr>
          <p:nvPr/>
        </p:nvSpPr>
        <p:spPr bwMode="auto">
          <a:xfrm>
            <a:off x="5354756" y="5126286"/>
            <a:ext cx="649318" cy="161583"/>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5 mins</a:t>
            </a: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22" name="Rectangle 130">
            <a:extLst>
              <a:ext uri="{FF2B5EF4-FFF2-40B4-BE49-F238E27FC236}">
                <a16:creationId xmlns:a16="http://schemas.microsoft.com/office/drawing/2014/main" id="{6981DE01-0E7E-4386-9C8C-4422BD4A8A35}"/>
              </a:ext>
            </a:extLst>
          </p:cNvPr>
          <p:cNvSpPr>
            <a:spLocks noChangeArrowheads="1"/>
          </p:cNvSpPr>
          <p:nvPr/>
        </p:nvSpPr>
        <p:spPr bwMode="auto">
          <a:xfrm>
            <a:off x="6716817" y="5143818"/>
            <a:ext cx="649318" cy="161583"/>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5 mins</a:t>
            </a: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23" name="Rectangle 130">
            <a:extLst>
              <a:ext uri="{FF2B5EF4-FFF2-40B4-BE49-F238E27FC236}">
                <a16:creationId xmlns:a16="http://schemas.microsoft.com/office/drawing/2014/main" id="{8DF6926B-A573-4AB2-9F57-0FF569ED7A0E}"/>
              </a:ext>
            </a:extLst>
          </p:cNvPr>
          <p:cNvSpPr>
            <a:spLocks noChangeArrowheads="1"/>
          </p:cNvSpPr>
          <p:nvPr/>
        </p:nvSpPr>
        <p:spPr bwMode="auto">
          <a:xfrm>
            <a:off x="8078878" y="5143818"/>
            <a:ext cx="649318" cy="161583"/>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u-HU"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1 mins</a:t>
            </a: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49" name="Rectangle 130">
            <a:extLst>
              <a:ext uri="{FF2B5EF4-FFF2-40B4-BE49-F238E27FC236}">
                <a16:creationId xmlns:a16="http://schemas.microsoft.com/office/drawing/2014/main" id="{C39BF670-D4E7-44D0-8D82-3A07EEBA38EC}"/>
              </a:ext>
            </a:extLst>
          </p:cNvPr>
          <p:cNvSpPr>
            <a:spLocks noChangeArrowheads="1"/>
          </p:cNvSpPr>
          <p:nvPr/>
        </p:nvSpPr>
        <p:spPr bwMode="auto">
          <a:xfrm>
            <a:off x="9443474" y="5143817"/>
            <a:ext cx="649318" cy="161583"/>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51" name="Rectangle 130">
            <a:extLst>
              <a:ext uri="{FF2B5EF4-FFF2-40B4-BE49-F238E27FC236}">
                <a16:creationId xmlns:a16="http://schemas.microsoft.com/office/drawing/2014/main" id="{08238BAC-14D8-4211-B1AB-3993B8E06731}"/>
              </a:ext>
            </a:extLst>
          </p:cNvPr>
          <p:cNvSpPr>
            <a:spLocks noChangeArrowheads="1"/>
          </p:cNvSpPr>
          <p:nvPr/>
        </p:nvSpPr>
        <p:spPr bwMode="auto">
          <a:xfrm>
            <a:off x="3456898" y="4961189"/>
            <a:ext cx="312060" cy="145155"/>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66" name="Rectangle 130">
            <a:extLst>
              <a:ext uri="{FF2B5EF4-FFF2-40B4-BE49-F238E27FC236}">
                <a16:creationId xmlns:a16="http://schemas.microsoft.com/office/drawing/2014/main" id="{80E77C6E-7905-4E72-B87A-61E2938BC39A}"/>
              </a:ext>
            </a:extLst>
          </p:cNvPr>
          <p:cNvSpPr>
            <a:spLocks noChangeArrowheads="1"/>
          </p:cNvSpPr>
          <p:nvPr/>
        </p:nvSpPr>
        <p:spPr bwMode="auto">
          <a:xfrm>
            <a:off x="4813515" y="4975657"/>
            <a:ext cx="312060" cy="145155"/>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67" name="Rectangle 130">
            <a:extLst>
              <a:ext uri="{FF2B5EF4-FFF2-40B4-BE49-F238E27FC236}">
                <a16:creationId xmlns:a16="http://schemas.microsoft.com/office/drawing/2014/main" id="{3866BC0D-CB64-400E-B91F-A74C2F618F66}"/>
              </a:ext>
            </a:extLst>
          </p:cNvPr>
          <p:cNvSpPr>
            <a:spLocks noChangeArrowheads="1"/>
          </p:cNvSpPr>
          <p:nvPr/>
        </p:nvSpPr>
        <p:spPr bwMode="auto">
          <a:xfrm>
            <a:off x="6204332" y="4975657"/>
            <a:ext cx="312060" cy="145155"/>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68" name="Rectangle 130">
            <a:extLst>
              <a:ext uri="{FF2B5EF4-FFF2-40B4-BE49-F238E27FC236}">
                <a16:creationId xmlns:a16="http://schemas.microsoft.com/office/drawing/2014/main" id="{AAC69A24-93BD-46DC-AD70-73E1E7322D72}"/>
              </a:ext>
            </a:extLst>
          </p:cNvPr>
          <p:cNvSpPr>
            <a:spLocks noChangeArrowheads="1"/>
          </p:cNvSpPr>
          <p:nvPr/>
        </p:nvSpPr>
        <p:spPr bwMode="auto">
          <a:xfrm>
            <a:off x="7562564" y="4998662"/>
            <a:ext cx="312060" cy="145155"/>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sp>
        <p:nvSpPr>
          <p:cNvPr id="269" name="Rectangle 130">
            <a:extLst>
              <a:ext uri="{FF2B5EF4-FFF2-40B4-BE49-F238E27FC236}">
                <a16:creationId xmlns:a16="http://schemas.microsoft.com/office/drawing/2014/main" id="{1F994599-1BE1-44C4-A5EB-FBA8CE59968C}"/>
              </a:ext>
            </a:extLst>
          </p:cNvPr>
          <p:cNvSpPr>
            <a:spLocks noChangeArrowheads="1"/>
          </p:cNvSpPr>
          <p:nvPr/>
        </p:nvSpPr>
        <p:spPr bwMode="auto">
          <a:xfrm>
            <a:off x="8928454" y="5024556"/>
            <a:ext cx="312060" cy="145155"/>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Garamond" panose="02020404030301010803" pitchFamily="18" charset="0"/>
              <a:ea typeface="+mn-ea"/>
              <a:cs typeface="+mn-cs"/>
            </a:endParaRPr>
          </a:p>
        </p:txBody>
      </p:sp>
      <p:cxnSp>
        <p:nvCxnSpPr>
          <p:cNvPr id="3" name="Connector: Elbow 2">
            <a:extLst>
              <a:ext uri="{FF2B5EF4-FFF2-40B4-BE49-F238E27FC236}">
                <a16:creationId xmlns:a16="http://schemas.microsoft.com/office/drawing/2014/main" id="{28BA436A-93B8-43BC-ACDB-9BE4DA1A29AA}"/>
              </a:ext>
            </a:extLst>
          </p:cNvPr>
          <p:cNvCxnSpPr>
            <a:stCxn id="244" idx="1"/>
            <a:endCxn id="125" idx="1"/>
          </p:cNvCxnSpPr>
          <p:nvPr/>
        </p:nvCxnSpPr>
        <p:spPr>
          <a:xfrm rot="10800000" flipV="1">
            <a:off x="2350323" y="1545867"/>
            <a:ext cx="8170716" cy="2622595"/>
          </a:xfrm>
          <a:prstGeom prst="bentConnector3">
            <a:avLst>
              <a:gd name="adj1" fmla="val 118810"/>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 Placeholder 1">
            <a:extLst>
              <a:ext uri="{FF2B5EF4-FFF2-40B4-BE49-F238E27FC236}">
                <a16:creationId xmlns:a16="http://schemas.microsoft.com/office/drawing/2014/main" id="{BB1BA68E-950D-4C35-86A8-1007A7B3D470}"/>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lvl="0">
              <a:defRPr/>
            </a:pPr>
            <a:r>
              <a:rPr lang="en-US" kern="0" dirty="0">
                <a:solidFill>
                  <a:srgbClr val="073262"/>
                </a:solidFill>
              </a:rPr>
              <a:t>Current state: Autobank process – I2C</a:t>
            </a:r>
          </a:p>
        </p:txBody>
      </p:sp>
    </p:spTree>
    <p:extLst>
      <p:ext uri="{BB962C8B-B14F-4D97-AF65-F5344CB8AC3E}">
        <p14:creationId xmlns:p14="http://schemas.microsoft.com/office/powerpoint/2010/main" val="17133524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ine 24">
            <a:extLst>
              <a:ext uri="{FF2B5EF4-FFF2-40B4-BE49-F238E27FC236}">
                <a16:creationId xmlns:a16="http://schemas.microsoft.com/office/drawing/2014/main" id="{FACE8067-3CB8-40B9-B83C-0E8A61DD9474}"/>
              </a:ext>
            </a:extLst>
          </p:cNvPr>
          <p:cNvSpPr>
            <a:spLocks noChangeShapeType="1"/>
          </p:cNvSpPr>
          <p:nvPr/>
        </p:nvSpPr>
        <p:spPr bwMode="auto">
          <a:xfrm flipV="1">
            <a:off x="1586629" y="6263694"/>
            <a:ext cx="8929105" cy="0"/>
          </a:xfrm>
          <a:prstGeom prst="line">
            <a:avLst/>
          </a:prstGeom>
          <a:noFill/>
          <a:ln w="38100">
            <a:solidFill>
              <a:srgbClr val="073262">
                <a:lumMod val="60000"/>
                <a:lumOff val="40000"/>
              </a:srgb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14" name="Text Box 25">
            <a:extLst>
              <a:ext uri="{FF2B5EF4-FFF2-40B4-BE49-F238E27FC236}">
                <a16:creationId xmlns:a16="http://schemas.microsoft.com/office/drawing/2014/main" id="{B3670772-B751-4DF9-81BF-93B5C7EFD17E}"/>
              </a:ext>
            </a:extLst>
          </p:cNvPr>
          <p:cNvSpPr txBox="1">
            <a:spLocks noChangeArrowheads="1"/>
          </p:cNvSpPr>
          <p:nvPr/>
        </p:nvSpPr>
        <p:spPr bwMode="auto">
          <a:xfrm>
            <a:off x="5138096" y="6130051"/>
            <a:ext cx="844060" cy="246221"/>
          </a:xfrm>
          <a:prstGeom prst="rect">
            <a:avLst/>
          </a:prstGeom>
          <a:solidFill>
            <a:sysClr val="window" lastClr="FFFFFF"/>
          </a:solidFill>
          <a:ln>
            <a:noFill/>
          </a:ln>
          <a:effectLst/>
        </p:spPr>
        <p:txBody>
          <a:bodyPr wrap="square" lIns="0" tIns="0" rIns="0" bIns="0">
            <a:spAutoFit/>
          </a:bodyPr>
          <a:lstStyle>
            <a:lvl1pPr defTabSz="973138" eaLnBrk="0" hangingPunct="0">
              <a:tabLst>
                <a:tab pos="1374775" algn="l"/>
              </a:tabLst>
              <a:defRPr sz="1400">
                <a:solidFill>
                  <a:schemeClr val="tx1"/>
                </a:solidFill>
                <a:latin typeface="Arial" charset="0"/>
                <a:ea typeface="ＭＳ Ｐゴシック" pitchFamily="34" charset="-128"/>
              </a:defRPr>
            </a:lvl1pPr>
            <a:lvl2pPr marL="742950" indent="-285750" defTabSz="973138" eaLnBrk="0" hangingPunct="0">
              <a:tabLst>
                <a:tab pos="1374775" algn="l"/>
              </a:tabLst>
              <a:defRPr sz="1400">
                <a:solidFill>
                  <a:schemeClr val="tx1"/>
                </a:solidFill>
                <a:latin typeface="Arial" charset="0"/>
                <a:ea typeface="ＭＳ Ｐゴシック" pitchFamily="34" charset="-128"/>
              </a:defRPr>
            </a:lvl2pPr>
            <a:lvl3pPr marL="1143000" indent="-228600" defTabSz="973138" eaLnBrk="0" hangingPunct="0">
              <a:tabLst>
                <a:tab pos="1374775" algn="l"/>
              </a:tabLst>
              <a:defRPr sz="1400">
                <a:solidFill>
                  <a:schemeClr val="tx1"/>
                </a:solidFill>
                <a:latin typeface="Arial" charset="0"/>
                <a:ea typeface="ＭＳ Ｐゴシック" pitchFamily="34" charset="-128"/>
              </a:defRPr>
            </a:lvl3pPr>
            <a:lvl4pPr marL="1600200" indent="-228600" defTabSz="973138" eaLnBrk="0" hangingPunct="0">
              <a:tabLst>
                <a:tab pos="1374775" algn="l"/>
              </a:tabLst>
              <a:defRPr sz="1400">
                <a:solidFill>
                  <a:schemeClr val="tx1"/>
                </a:solidFill>
                <a:latin typeface="Arial" charset="0"/>
                <a:ea typeface="ＭＳ Ｐゴシック" pitchFamily="34" charset="-128"/>
              </a:defRPr>
            </a:lvl4pPr>
            <a:lvl5pPr marL="2057400" indent="-228600" defTabSz="973138" eaLnBrk="0" hangingPunct="0">
              <a:tabLst>
                <a:tab pos="1374775" algn="l"/>
              </a:tabLst>
              <a:defRPr sz="14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9pPr>
          </a:lstStyle>
          <a:p>
            <a:pPr marL="0" marR="0" lvl="0" indent="0" algn="ctr" defTabSz="973138" eaLnBrk="1" fontAlgn="auto" latinLnBrk="0" hangingPunct="1">
              <a:lnSpc>
                <a:spcPct val="100000"/>
              </a:lnSpc>
              <a:spcBef>
                <a:spcPct val="50000"/>
              </a:spcBef>
              <a:spcAft>
                <a:spcPts val="0"/>
              </a:spcAft>
              <a:buClrTx/>
              <a:buSzTx/>
              <a:buFontTx/>
              <a:buNone/>
              <a:tabLst>
                <a:tab pos="1374775" algn="l"/>
              </a:tabLst>
              <a:defRPr/>
            </a:pPr>
            <a:r>
              <a:rPr kumimoji="0" lang="en-US" sz="1600" b="0" i="0" u="none" strike="noStrike" kern="0" cap="none" spc="0" normalizeH="0" baseline="0" noProof="0" dirty="0">
                <a:ln>
                  <a:noFill/>
                </a:ln>
                <a:solidFill>
                  <a:srgbClr val="073262"/>
                </a:solidFill>
                <a:effectLst/>
                <a:uLnTx/>
                <a:uFillTx/>
                <a:latin typeface="Georgia" panose="02040502050405020303" pitchFamily="18" charset="0"/>
                <a:ea typeface="ＭＳ Ｐゴシック" pitchFamily="34" charset="-128"/>
              </a:rPr>
              <a:t>Effort</a:t>
            </a:r>
          </a:p>
        </p:txBody>
      </p:sp>
      <p:sp>
        <p:nvSpPr>
          <p:cNvPr id="15" name="Line 23">
            <a:extLst>
              <a:ext uri="{FF2B5EF4-FFF2-40B4-BE49-F238E27FC236}">
                <a16:creationId xmlns:a16="http://schemas.microsoft.com/office/drawing/2014/main" id="{47F3FDBE-0972-46EC-A739-1B1CB2ED1CC6}"/>
              </a:ext>
            </a:extLst>
          </p:cNvPr>
          <p:cNvSpPr>
            <a:spLocks noChangeShapeType="1"/>
          </p:cNvSpPr>
          <p:nvPr/>
        </p:nvSpPr>
        <p:spPr bwMode="auto">
          <a:xfrm flipV="1">
            <a:off x="1161608" y="1280159"/>
            <a:ext cx="0" cy="4733779"/>
          </a:xfrm>
          <a:prstGeom prst="line">
            <a:avLst/>
          </a:prstGeom>
          <a:noFill/>
          <a:ln w="38100">
            <a:solidFill>
              <a:srgbClr val="073262">
                <a:lumMod val="60000"/>
                <a:lumOff val="40000"/>
              </a:srgb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16" name="Text Box 26">
            <a:extLst>
              <a:ext uri="{FF2B5EF4-FFF2-40B4-BE49-F238E27FC236}">
                <a16:creationId xmlns:a16="http://schemas.microsoft.com/office/drawing/2014/main" id="{E82BF53D-C5F9-4614-B5E7-E0579AC352CF}"/>
              </a:ext>
            </a:extLst>
          </p:cNvPr>
          <p:cNvSpPr txBox="1">
            <a:spLocks noChangeArrowheads="1"/>
          </p:cNvSpPr>
          <p:nvPr/>
        </p:nvSpPr>
        <p:spPr bwMode="auto">
          <a:xfrm rot="16200000">
            <a:off x="699534" y="3536637"/>
            <a:ext cx="852714" cy="246222"/>
          </a:xfrm>
          <a:prstGeom prst="rect">
            <a:avLst/>
          </a:prstGeom>
          <a:solidFill>
            <a:sysClr val="window" lastClr="FFFFFF"/>
          </a:solidFill>
          <a:ln>
            <a:noFill/>
          </a:ln>
          <a:effectLst/>
        </p:spPr>
        <p:txBody>
          <a:bodyPr wrap="square" lIns="0" tIns="0" rIns="0" bIns="0">
            <a:spAutoFit/>
          </a:bodyPr>
          <a:lstStyle>
            <a:defPPr>
              <a:defRPr lang="en-US"/>
            </a:defPPr>
            <a:lvl1pPr algn="ctr" defTabSz="973138">
              <a:spcBef>
                <a:spcPct val="50000"/>
              </a:spcBef>
              <a:tabLst>
                <a:tab pos="1374775" algn="l"/>
              </a:tabLst>
              <a:defRPr sz="1600">
                <a:solidFill>
                  <a:srgbClr val="073262"/>
                </a:solidFill>
                <a:latin typeface="Georgia" panose="02040502050405020303" pitchFamily="18" charset="0"/>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pPr marL="0" marR="0" lvl="0" indent="0" algn="ctr" defTabSz="973138" eaLnBrk="1" fontAlgn="auto" latinLnBrk="0" hangingPunct="1">
              <a:lnSpc>
                <a:spcPct val="100000"/>
              </a:lnSpc>
              <a:spcBef>
                <a:spcPct val="50000"/>
              </a:spcBef>
              <a:spcAft>
                <a:spcPts val="0"/>
              </a:spcAft>
              <a:buClrTx/>
              <a:buSzTx/>
              <a:buFontTx/>
              <a:buNone/>
              <a:tabLst>
                <a:tab pos="1374775" algn="l"/>
              </a:tabLst>
              <a:defRPr/>
            </a:pPr>
            <a:r>
              <a:rPr kumimoji="0" lang="en-US" sz="1600" b="0" i="0" u="none" strike="noStrike" kern="0" cap="none" spc="0" normalizeH="0" baseline="0" noProof="0" dirty="0">
                <a:ln>
                  <a:noFill/>
                </a:ln>
                <a:solidFill>
                  <a:srgbClr val="073262"/>
                </a:solidFill>
                <a:effectLst/>
                <a:uLnTx/>
                <a:uFillTx/>
                <a:latin typeface="Georgia" panose="02040502050405020303" pitchFamily="18" charset="0"/>
              </a:rPr>
              <a:t>Impact</a:t>
            </a:r>
          </a:p>
        </p:txBody>
      </p:sp>
      <p:sp>
        <p:nvSpPr>
          <p:cNvPr id="17" name="Rectangle 16">
            <a:extLst>
              <a:ext uri="{FF2B5EF4-FFF2-40B4-BE49-F238E27FC236}">
                <a16:creationId xmlns:a16="http://schemas.microsoft.com/office/drawing/2014/main" id="{5DA1E58A-30E6-4C46-8566-5161BEEC9559}"/>
              </a:ext>
            </a:extLst>
          </p:cNvPr>
          <p:cNvSpPr/>
          <p:nvPr/>
        </p:nvSpPr>
        <p:spPr>
          <a:xfrm>
            <a:off x="1745457" y="3587261"/>
            <a:ext cx="4236695" cy="1988011"/>
          </a:xfrm>
          <a:prstGeom prst="rect">
            <a:avLst/>
          </a:prstGeom>
          <a:solidFill>
            <a:srgbClr val="FFC000">
              <a:alpha val="23922"/>
            </a:srgbClr>
          </a:solidFill>
          <a:ln w="28575">
            <a:solidFill>
              <a:schemeClr val="accent1">
                <a:lumMod val="75000"/>
              </a:schemeClr>
            </a:solidFill>
            <a:miter lim="800000"/>
            <a:headEnd/>
            <a:tailEnd/>
          </a:ln>
        </p:spPr>
        <p:txBody>
          <a:bodyPr wrap="none" anchor="ctr"/>
          <a:lstStyle/>
          <a:p>
            <a:pPr algn="ctr">
              <a:buClr>
                <a:srgbClr val="0093D1"/>
              </a:buClr>
            </a:pPr>
            <a:r>
              <a:rPr lang="en-US" sz="2000" b="1" i="1" kern="0" dirty="0">
                <a:latin typeface="+mj-lt"/>
              </a:rPr>
              <a:t>“May be”</a:t>
            </a:r>
          </a:p>
        </p:txBody>
      </p:sp>
      <p:sp>
        <p:nvSpPr>
          <p:cNvPr id="18" name="Rectangle 17">
            <a:extLst>
              <a:ext uri="{FF2B5EF4-FFF2-40B4-BE49-F238E27FC236}">
                <a16:creationId xmlns:a16="http://schemas.microsoft.com/office/drawing/2014/main" id="{2F324F1E-D6AC-4351-8C8C-203B33A3077B}"/>
              </a:ext>
            </a:extLst>
          </p:cNvPr>
          <p:cNvSpPr/>
          <p:nvPr/>
        </p:nvSpPr>
        <p:spPr>
          <a:xfrm>
            <a:off x="6209848" y="3587261"/>
            <a:ext cx="4236695" cy="1988011"/>
          </a:xfrm>
          <a:prstGeom prst="rect">
            <a:avLst/>
          </a:prstGeom>
          <a:noFill/>
          <a:ln w="28575">
            <a:solidFill>
              <a:schemeClr val="accent1">
                <a:lumMod val="75000"/>
              </a:schemeClr>
            </a:solidFill>
            <a:miter lim="800000"/>
            <a:headEnd/>
            <a:tailEnd/>
          </a:ln>
        </p:spPr>
        <p:txBody>
          <a:bodyPr wrap="none" anchor="ctr"/>
          <a:lstStyle/>
          <a:p>
            <a:pPr algn="ctr">
              <a:buClr>
                <a:srgbClr val="0093D1"/>
              </a:buClr>
            </a:pPr>
            <a:r>
              <a:rPr lang="en-US" sz="2000" b="1" i="1" kern="0" dirty="0">
                <a:latin typeface="+mj-lt"/>
              </a:rPr>
              <a:t>“Pass”</a:t>
            </a:r>
          </a:p>
        </p:txBody>
      </p:sp>
      <p:sp>
        <p:nvSpPr>
          <p:cNvPr id="19" name="Rectangle 18">
            <a:extLst>
              <a:ext uri="{FF2B5EF4-FFF2-40B4-BE49-F238E27FC236}">
                <a16:creationId xmlns:a16="http://schemas.microsoft.com/office/drawing/2014/main" id="{1A1E6D53-BF5A-4C04-8907-A623A4FE2E3A}"/>
              </a:ext>
            </a:extLst>
          </p:cNvPr>
          <p:cNvSpPr/>
          <p:nvPr/>
        </p:nvSpPr>
        <p:spPr>
          <a:xfrm>
            <a:off x="1745457" y="1440989"/>
            <a:ext cx="4236695" cy="1988011"/>
          </a:xfrm>
          <a:prstGeom prst="rect">
            <a:avLst/>
          </a:prstGeom>
          <a:solidFill>
            <a:srgbClr val="FFC000">
              <a:alpha val="63922"/>
            </a:srgbClr>
          </a:solidFill>
          <a:ln w="28575">
            <a:solidFill>
              <a:schemeClr val="accent1">
                <a:lumMod val="75000"/>
              </a:schemeClr>
            </a:solidFill>
            <a:miter lim="800000"/>
            <a:headEnd/>
            <a:tailEnd/>
          </a:ln>
        </p:spPr>
        <p:txBody>
          <a:bodyPr wrap="none" anchor="ctr"/>
          <a:lstStyle/>
          <a:p>
            <a:pPr algn="ctr">
              <a:buClr>
                <a:srgbClr val="0093D1"/>
              </a:buClr>
            </a:pPr>
            <a:r>
              <a:rPr lang="en-US" sz="2000" b="1" i="1" kern="0" dirty="0">
                <a:latin typeface="+mj-lt"/>
              </a:rPr>
              <a:t>“Quick hits / Just </a:t>
            </a:r>
            <a:r>
              <a:rPr lang="en-US" sz="2000" b="1" i="1" kern="0">
                <a:latin typeface="+mj-lt"/>
              </a:rPr>
              <a:t>do it”</a:t>
            </a:r>
            <a:endParaRPr lang="en-US" sz="2000" b="1" i="1" kern="0" dirty="0">
              <a:latin typeface="+mj-lt"/>
            </a:endParaRPr>
          </a:p>
        </p:txBody>
      </p:sp>
      <p:sp>
        <p:nvSpPr>
          <p:cNvPr id="20" name="Rectangle 19">
            <a:extLst>
              <a:ext uri="{FF2B5EF4-FFF2-40B4-BE49-F238E27FC236}">
                <a16:creationId xmlns:a16="http://schemas.microsoft.com/office/drawing/2014/main" id="{58859465-F8E9-473B-B074-7D3A76460E83}"/>
              </a:ext>
            </a:extLst>
          </p:cNvPr>
          <p:cNvSpPr/>
          <p:nvPr/>
        </p:nvSpPr>
        <p:spPr>
          <a:xfrm>
            <a:off x="6209848" y="1440989"/>
            <a:ext cx="4236695" cy="1988011"/>
          </a:xfrm>
          <a:prstGeom prst="rect">
            <a:avLst/>
          </a:prstGeom>
          <a:solidFill>
            <a:srgbClr val="FFC000">
              <a:alpha val="43922"/>
            </a:srgbClr>
          </a:solidFill>
          <a:ln w="28575">
            <a:solidFill>
              <a:schemeClr val="accent1">
                <a:lumMod val="75000"/>
              </a:schemeClr>
            </a:solidFill>
            <a:miter lim="800000"/>
            <a:headEnd/>
            <a:tailEnd/>
          </a:ln>
        </p:spPr>
        <p:txBody>
          <a:bodyPr wrap="none" anchor="ctr"/>
          <a:lstStyle/>
          <a:p>
            <a:pPr algn="ctr">
              <a:buClr>
                <a:srgbClr val="0093D1"/>
              </a:buClr>
            </a:pPr>
            <a:r>
              <a:rPr lang="en-US" sz="2000" b="1" i="1" kern="0" dirty="0">
                <a:latin typeface="+mj-lt"/>
              </a:rPr>
              <a:t>“Strategic”</a:t>
            </a:r>
          </a:p>
        </p:txBody>
      </p:sp>
      <p:sp>
        <p:nvSpPr>
          <p:cNvPr id="21" name="TextBox 60">
            <a:extLst>
              <a:ext uri="{FF2B5EF4-FFF2-40B4-BE49-F238E27FC236}">
                <a16:creationId xmlns:a16="http://schemas.microsoft.com/office/drawing/2014/main" id="{3830E59E-517D-4388-9577-ED58C6612A73}"/>
              </a:ext>
            </a:extLst>
          </p:cNvPr>
          <p:cNvSpPr txBox="1">
            <a:spLocks noChangeArrowheads="1"/>
          </p:cNvSpPr>
          <p:nvPr/>
        </p:nvSpPr>
        <p:spPr bwMode="auto">
          <a:xfrm>
            <a:off x="7053941" y="1084859"/>
            <a:ext cx="2325065" cy="276999"/>
          </a:xfrm>
          <a:prstGeom prst="rect">
            <a:avLst/>
          </a:prstGeom>
          <a:noFill/>
          <a:ln w="9525">
            <a:noFill/>
            <a:miter lim="800000"/>
            <a:headEnd/>
            <a:tailEnd/>
          </a:ln>
        </p:spPr>
        <p:txBody>
          <a:bodyPr wrap="square">
            <a:spAutoFit/>
          </a:bodyPr>
          <a:lstStyle/>
          <a:p>
            <a:pPr algn="ctr" defTabSz="973138">
              <a:spcBef>
                <a:spcPct val="50000"/>
              </a:spcBef>
              <a:tabLst>
                <a:tab pos="1374775" algn="l"/>
              </a:tabLst>
            </a:pPr>
            <a:r>
              <a:rPr lang="en-US" sz="1200" dirty="0">
                <a:solidFill>
                  <a:srgbClr val="073262"/>
                </a:solidFill>
                <a:latin typeface="Georgia" panose="02040502050405020303" pitchFamily="18" charset="0"/>
              </a:rPr>
              <a:t>Strategic/Long Term </a:t>
            </a:r>
          </a:p>
        </p:txBody>
      </p:sp>
      <p:sp>
        <p:nvSpPr>
          <p:cNvPr id="22" name="TextBox 62">
            <a:extLst>
              <a:ext uri="{FF2B5EF4-FFF2-40B4-BE49-F238E27FC236}">
                <a16:creationId xmlns:a16="http://schemas.microsoft.com/office/drawing/2014/main" id="{0F71B16E-C77A-4CD3-BC25-D4B2D1BCC4FA}"/>
              </a:ext>
            </a:extLst>
          </p:cNvPr>
          <p:cNvSpPr txBox="1">
            <a:spLocks noChangeArrowheads="1"/>
          </p:cNvSpPr>
          <p:nvPr/>
        </p:nvSpPr>
        <p:spPr bwMode="auto">
          <a:xfrm>
            <a:off x="2510982" y="1086354"/>
            <a:ext cx="2184980" cy="276999"/>
          </a:xfrm>
          <a:prstGeom prst="rect">
            <a:avLst/>
          </a:prstGeom>
          <a:noFill/>
          <a:ln w="9525">
            <a:noFill/>
            <a:miter lim="800000"/>
            <a:headEnd/>
            <a:tailEnd/>
          </a:ln>
        </p:spPr>
        <p:txBody>
          <a:bodyPr wrap="square">
            <a:spAutoFit/>
          </a:bodyPr>
          <a:lstStyle/>
          <a:p>
            <a:pPr algn="ctr" defTabSz="973138">
              <a:spcBef>
                <a:spcPct val="50000"/>
              </a:spcBef>
              <a:tabLst>
                <a:tab pos="1374775" algn="l"/>
              </a:tabLst>
            </a:pPr>
            <a:r>
              <a:rPr lang="en-US" sz="1200" dirty="0">
                <a:solidFill>
                  <a:srgbClr val="073262"/>
                </a:solidFill>
                <a:latin typeface="Georgia" panose="02040502050405020303" pitchFamily="18" charset="0"/>
              </a:rPr>
              <a:t>Quick Hits / Short Term</a:t>
            </a:r>
          </a:p>
        </p:txBody>
      </p:sp>
      <p:sp>
        <p:nvSpPr>
          <p:cNvPr id="23" name="TextBox 22">
            <a:extLst>
              <a:ext uri="{FF2B5EF4-FFF2-40B4-BE49-F238E27FC236}">
                <a16:creationId xmlns:a16="http://schemas.microsoft.com/office/drawing/2014/main" id="{10423D34-184F-409D-83B0-0C8603D722E6}"/>
              </a:ext>
            </a:extLst>
          </p:cNvPr>
          <p:cNvSpPr txBox="1"/>
          <p:nvPr/>
        </p:nvSpPr>
        <p:spPr>
          <a:xfrm>
            <a:off x="3469459" y="5854055"/>
            <a:ext cx="6858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Low</a:t>
            </a:r>
          </a:p>
        </p:txBody>
      </p:sp>
      <p:sp>
        <p:nvSpPr>
          <p:cNvPr id="24" name="TextBox 23">
            <a:extLst>
              <a:ext uri="{FF2B5EF4-FFF2-40B4-BE49-F238E27FC236}">
                <a16:creationId xmlns:a16="http://schemas.microsoft.com/office/drawing/2014/main" id="{8AD949AF-A133-4797-9A72-FEC30C7A016A}"/>
              </a:ext>
            </a:extLst>
          </p:cNvPr>
          <p:cNvSpPr txBox="1"/>
          <p:nvPr/>
        </p:nvSpPr>
        <p:spPr>
          <a:xfrm>
            <a:off x="8036743" y="5854055"/>
            <a:ext cx="6858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High</a:t>
            </a:r>
          </a:p>
        </p:txBody>
      </p:sp>
      <p:sp>
        <p:nvSpPr>
          <p:cNvPr id="25" name="TextBox 24">
            <a:extLst>
              <a:ext uri="{FF2B5EF4-FFF2-40B4-BE49-F238E27FC236}">
                <a16:creationId xmlns:a16="http://schemas.microsoft.com/office/drawing/2014/main" id="{6B3E56D7-83FF-4371-A430-419428A0E18B}"/>
              </a:ext>
            </a:extLst>
          </p:cNvPr>
          <p:cNvSpPr txBox="1"/>
          <p:nvPr/>
        </p:nvSpPr>
        <p:spPr>
          <a:xfrm rot="16200000">
            <a:off x="541877" y="4488932"/>
            <a:ext cx="198800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Low</a:t>
            </a:r>
          </a:p>
        </p:txBody>
      </p:sp>
      <p:sp>
        <p:nvSpPr>
          <p:cNvPr id="27" name="TextBox 26">
            <a:extLst>
              <a:ext uri="{FF2B5EF4-FFF2-40B4-BE49-F238E27FC236}">
                <a16:creationId xmlns:a16="http://schemas.microsoft.com/office/drawing/2014/main" id="{11477C30-3189-41C5-BEBC-912B73F7E705}"/>
              </a:ext>
            </a:extLst>
          </p:cNvPr>
          <p:cNvSpPr txBox="1"/>
          <p:nvPr/>
        </p:nvSpPr>
        <p:spPr>
          <a:xfrm rot="16200000">
            <a:off x="541877" y="2324715"/>
            <a:ext cx="198800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High</a:t>
            </a:r>
          </a:p>
        </p:txBody>
      </p:sp>
      <p:sp>
        <p:nvSpPr>
          <p:cNvPr id="28" name="Text Placeholder 1">
            <a:extLst>
              <a:ext uri="{FF2B5EF4-FFF2-40B4-BE49-F238E27FC236}">
                <a16:creationId xmlns:a16="http://schemas.microsoft.com/office/drawing/2014/main" id="{D0C66E63-4B57-47A9-B62C-18A60115FDF0}"/>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73262"/>
                </a:solidFill>
                <a:effectLst/>
                <a:uLnTx/>
                <a:uFillTx/>
                <a:latin typeface="Georgia" panose="02040502050405020303" pitchFamily="18" charset="0"/>
                <a:ea typeface="+mn-ea"/>
                <a:cs typeface="+mn-cs"/>
              </a:rPr>
              <a:t>Effort – Impact matrix</a:t>
            </a:r>
            <a:endParaRPr kumimoji="0" lang="en-US" sz="3000" b="0" i="0" u="none" strike="noStrike" kern="0" cap="none" spc="0" normalizeH="0" baseline="0" noProof="0" dirty="0">
              <a:ln>
                <a:noFill/>
              </a:ln>
              <a:solidFill>
                <a:schemeClr val="accent2"/>
              </a:solidFill>
              <a:effectLst/>
              <a:uLnTx/>
              <a:uFillTx/>
              <a:latin typeface="Georgia" panose="02040502050405020303" pitchFamily="18" charset="0"/>
              <a:ea typeface="+mn-ea"/>
              <a:cs typeface="+mn-cs"/>
            </a:endParaRPr>
          </a:p>
        </p:txBody>
      </p:sp>
      <p:sp>
        <p:nvSpPr>
          <p:cNvPr id="29" name="Oval 28">
            <a:extLst>
              <a:ext uri="{FF2B5EF4-FFF2-40B4-BE49-F238E27FC236}">
                <a16:creationId xmlns:a16="http://schemas.microsoft.com/office/drawing/2014/main" id="{8C6ECB48-9999-4815-8943-440E721FEB48}"/>
              </a:ext>
            </a:extLst>
          </p:cNvPr>
          <p:cNvSpPr/>
          <p:nvPr/>
        </p:nvSpPr>
        <p:spPr>
          <a:xfrm>
            <a:off x="4520164" y="1636727"/>
            <a:ext cx="1210064" cy="478387"/>
          </a:xfrm>
          <a:prstGeom prst="ellipse">
            <a:avLst/>
          </a:pr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t>JDI</a:t>
            </a:r>
          </a:p>
        </p:txBody>
      </p:sp>
      <p:sp>
        <p:nvSpPr>
          <p:cNvPr id="30" name="Oval 29">
            <a:extLst>
              <a:ext uri="{FF2B5EF4-FFF2-40B4-BE49-F238E27FC236}">
                <a16:creationId xmlns:a16="http://schemas.microsoft.com/office/drawing/2014/main" id="{14CB839E-B471-4E2B-97C3-71BBBBACC91E}"/>
              </a:ext>
            </a:extLst>
          </p:cNvPr>
          <p:cNvSpPr/>
          <p:nvPr/>
        </p:nvSpPr>
        <p:spPr>
          <a:xfrm>
            <a:off x="9101797" y="1636727"/>
            <a:ext cx="1156888" cy="478387"/>
          </a:xfrm>
          <a:prstGeom prst="ellipse">
            <a:avLst/>
          </a:pr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t>Projects</a:t>
            </a:r>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795819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ine 24">
            <a:extLst>
              <a:ext uri="{FF2B5EF4-FFF2-40B4-BE49-F238E27FC236}">
                <a16:creationId xmlns:a16="http://schemas.microsoft.com/office/drawing/2014/main" id="{FACE8067-3CB8-40B9-B83C-0E8A61DD9474}"/>
              </a:ext>
            </a:extLst>
          </p:cNvPr>
          <p:cNvSpPr>
            <a:spLocks noChangeShapeType="1"/>
          </p:cNvSpPr>
          <p:nvPr/>
        </p:nvSpPr>
        <p:spPr bwMode="auto">
          <a:xfrm flipV="1">
            <a:off x="1586629" y="6263694"/>
            <a:ext cx="8929105" cy="0"/>
          </a:xfrm>
          <a:prstGeom prst="line">
            <a:avLst/>
          </a:prstGeom>
          <a:noFill/>
          <a:ln w="38100">
            <a:solidFill>
              <a:srgbClr val="073262">
                <a:lumMod val="60000"/>
                <a:lumOff val="40000"/>
              </a:srgb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14" name="Text Box 25">
            <a:extLst>
              <a:ext uri="{FF2B5EF4-FFF2-40B4-BE49-F238E27FC236}">
                <a16:creationId xmlns:a16="http://schemas.microsoft.com/office/drawing/2014/main" id="{B3670772-B751-4DF9-81BF-93B5C7EFD17E}"/>
              </a:ext>
            </a:extLst>
          </p:cNvPr>
          <p:cNvSpPr txBox="1">
            <a:spLocks noChangeArrowheads="1"/>
          </p:cNvSpPr>
          <p:nvPr/>
        </p:nvSpPr>
        <p:spPr bwMode="auto">
          <a:xfrm>
            <a:off x="5138096" y="6130051"/>
            <a:ext cx="844060" cy="246221"/>
          </a:xfrm>
          <a:prstGeom prst="rect">
            <a:avLst/>
          </a:prstGeom>
          <a:solidFill>
            <a:sysClr val="window" lastClr="FFFFFF"/>
          </a:solidFill>
          <a:ln>
            <a:noFill/>
          </a:ln>
          <a:effectLst/>
        </p:spPr>
        <p:txBody>
          <a:bodyPr wrap="square" lIns="0" tIns="0" rIns="0" bIns="0">
            <a:spAutoFit/>
          </a:bodyPr>
          <a:lstStyle>
            <a:lvl1pPr defTabSz="973138" eaLnBrk="0" hangingPunct="0">
              <a:tabLst>
                <a:tab pos="1374775" algn="l"/>
              </a:tabLst>
              <a:defRPr sz="1400">
                <a:solidFill>
                  <a:schemeClr val="tx1"/>
                </a:solidFill>
                <a:latin typeface="Arial" charset="0"/>
                <a:ea typeface="ＭＳ Ｐゴシック" pitchFamily="34" charset="-128"/>
              </a:defRPr>
            </a:lvl1pPr>
            <a:lvl2pPr marL="742950" indent="-285750" defTabSz="973138" eaLnBrk="0" hangingPunct="0">
              <a:tabLst>
                <a:tab pos="1374775" algn="l"/>
              </a:tabLst>
              <a:defRPr sz="1400">
                <a:solidFill>
                  <a:schemeClr val="tx1"/>
                </a:solidFill>
                <a:latin typeface="Arial" charset="0"/>
                <a:ea typeface="ＭＳ Ｐゴシック" pitchFamily="34" charset="-128"/>
              </a:defRPr>
            </a:lvl2pPr>
            <a:lvl3pPr marL="1143000" indent="-228600" defTabSz="973138" eaLnBrk="0" hangingPunct="0">
              <a:tabLst>
                <a:tab pos="1374775" algn="l"/>
              </a:tabLst>
              <a:defRPr sz="1400">
                <a:solidFill>
                  <a:schemeClr val="tx1"/>
                </a:solidFill>
                <a:latin typeface="Arial" charset="0"/>
                <a:ea typeface="ＭＳ Ｐゴシック" pitchFamily="34" charset="-128"/>
              </a:defRPr>
            </a:lvl3pPr>
            <a:lvl4pPr marL="1600200" indent="-228600" defTabSz="973138" eaLnBrk="0" hangingPunct="0">
              <a:tabLst>
                <a:tab pos="1374775" algn="l"/>
              </a:tabLst>
              <a:defRPr sz="1400">
                <a:solidFill>
                  <a:schemeClr val="tx1"/>
                </a:solidFill>
                <a:latin typeface="Arial" charset="0"/>
                <a:ea typeface="ＭＳ Ｐゴシック" pitchFamily="34" charset="-128"/>
              </a:defRPr>
            </a:lvl4pPr>
            <a:lvl5pPr marL="2057400" indent="-228600" defTabSz="973138" eaLnBrk="0" hangingPunct="0">
              <a:tabLst>
                <a:tab pos="1374775" algn="l"/>
              </a:tabLst>
              <a:defRPr sz="1400">
                <a:solidFill>
                  <a:schemeClr val="tx1"/>
                </a:solidFill>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solidFill>
                  <a:schemeClr val="tx1"/>
                </a:solidFill>
                <a:latin typeface="Arial" charset="0"/>
                <a:ea typeface="ＭＳ Ｐゴシック" pitchFamily="34" charset="-128"/>
              </a:defRPr>
            </a:lvl9pPr>
          </a:lstStyle>
          <a:p>
            <a:pPr marL="0" marR="0" lvl="0" indent="0" algn="ctr" defTabSz="973138" eaLnBrk="1" fontAlgn="auto" latinLnBrk="0" hangingPunct="1">
              <a:lnSpc>
                <a:spcPct val="100000"/>
              </a:lnSpc>
              <a:spcBef>
                <a:spcPct val="50000"/>
              </a:spcBef>
              <a:spcAft>
                <a:spcPts val="0"/>
              </a:spcAft>
              <a:buClrTx/>
              <a:buSzTx/>
              <a:buFontTx/>
              <a:buNone/>
              <a:tabLst>
                <a:tab pos="1374775" algn="l"/>
              </a:tabLst>
              <a:defRPr/>
            </a:pPr>
            <a:r>
              <a:rPr kumimoji="0" lang="en-US" sz="1600" b="0" i="0" u="none" strike="noStrike" kern="0" cap="none" spc="0" normalizeH="0" baseline="0" noProof="0" dirty="0">
                <a:ln>
                  <a:noFill/>
                </a:ln>
                <a:solidFill>
                  <a:srgbClr val="073262"/>
                </a:solidFill>
                <a:effectLst/>
                <a:uLnTx/>
                <a:uFillTx/>
                <a:latin typeface="Georgia" panose="02040502050405020303" pitchFamily="18" charset="0"/>
                <a:ea typeface="ＭＳ Ｐゴシック" pitchFamily="34" charset="-128"/>
              </a:rPr>
              <a:t>Effort</a:t>
            </a:r>
          </a:p>
        </p:txBody>
      </p:sp>
      <p:sp>
        <p:nvSpPr>
          <p:cNvPr id="15" name="Line 23">
            <a:extLst>
              <a:ext uri="{FF2B5EF4-FFF2-40B4-BE49-F238E27FC236}">
                <a16:creationId xmlns:a16="http://schemas.microsoft.com/office/drawing/2014/main" id="{47F3FDBE-0972-46EC-A739-1B1CB2ED1CC6}"/>
              </a:ext>
            </a:extLst>
          </p:cNvPr>
          <p:cNvSpPr>
            <a:spLocks noChangeShapeType="1"/>
          </p:cNvSpPr>
          <p:nvPr/>
        </p:nvSpPr>
        <p:spPr bwMode="auto">
          <a:xfrm flipV="1">
            <a:off x="1161608" y="1280159"/>
            <a:ext cx="0" cy="4733779"/>
          </a:xfrm>
          <a:prstGeom prst="line">
            <a:avLst/>
          </a:prstGeom>
          <a:noFill/>
          <a:ln w="38100">
            <a:solidFill>
              <a:srgbClr val="073262">
                <a:lumMod val="60000"/>
                <a:lumOff val="40000"/>
              </a:srgb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Georgia"/>
            </a:endParaRPr>
          </a:p>
        </p:txBody>
      </p:sp>
      <p:sp>
        <p:nvSpPr>
          <p:cNvPr id="16" name="Text Box 26">
            <a:extLst>
              <a:ext uri="{FF2B5EF4-FFF2-40B4-BE49-F238E27FC236}">
                <a16:creationId xmlns:a16="http://schemas.microsoft.com/office/drawing/2014/main" id="{E82BF53D-C5F9-4614-B5E7-E0579AC352CF}"/>
              </a:ext>
            </a:extLst>
          </p:cNvPr>
          <p:cNvSpPr txBox="1">
            <a:spLocks noChangeArrowheads="1"/>
          </p:cNvSpPr>
          <p:nvPr/>
        </p:nvSpPr>
        <p:spPr bwMode="auto">
          <a:xfrm rot="16200000">
            <a:off x="699534" y="3536637"/>
            <a:ext cx="852714" cy="246222"/>
          </a:xfrm>
          <a:prstGeom prst="rect">
            <a:avLst/>
          </a:prstGeom>
          <a:solidFill>
            <a:sysClr val="window" lastClr="FFFFFF"/>
          </a:solidFill>
          <a:ln>
            <a:noFill/>
          </a:ln>
          <a:effectLst/>
        </p:spPr>
        <p:txBody>
          <a:bodyPr wrap="square" lIns="0" tIns="0" rIns="0" bIns="0">
            <a:spAutoFit/>
          </a:bodyPr>
          <a:lstStyle>
            <a:defPPr>
              <a:defRPr lang="en-US"/>
            </a:defPPr>
            <a:lvl1pPr algn="ctr" defTabSz="973138">
              <a:spcBef>
                <a:spcPct val="50000"/>
              </a:spcBef>
              <a:tabLst>
                <a:tab pos="1374775" algn="l"/>
              </a:tabLst>
              <a:defRPr sz="1600">
                <a:solidFill>
                  <a:srgbClr val="073262"/>
                </a:solidFill>
                <a:latin typeface="Georgia" panose="02040502050405020303" pitchFamily="18" charset="0"/>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pPr marL="0" marR="0" lvl="0" indent="0" algn="ctr" defTabSz="973138" eaLnBrk="1" fontAlgn="auto" latinLnBrk="0" hangingPunct="1">
              <a:lnSpc>
                <a:spcPct val="100000"/>
              </a:lnSpc>
              <a:spcBef>
                <a:spcPct val="50000"/>
              </a:spcBef>
              <a:spcAft>
                <a:spcPts val="0"/>
              </a:spcAft>
              <a:buClrTx/>
              <a:buSzTx/>
              <a:buFontTx/>
              <a:buNone/>
              <a:tabLst>
                <a:tab pos="1374775" algn="l"/>
              </a:tabLst>
              <a:defRPr/>
            </a:pPr>
            <a:r>
              <a:rPr kumimoji="0" lang="en-US" sz="1600" b="0" i="0" u="none" strike="noStrike" kern="0" cap="none" spc="0" normalizeH="0" baseline="0" noProof="0" dirty="0">
                <a:ln>
                  <a:noFill/>
                </a:ln>
                <a:solidFill>
                  <a:srgbClr val="073262"/>
                </a:solidFill>
                <a:effectLst/>
                <a:uLnTx/>
                <a:uFillTx/>
                <a:latin typeface="Georgia" panose="02040502050405020303" pitchFamily="18" charset="0"/>
              </a:rPr>
              <a:t>Impact</a:t>
            </a:r>
          </a:p>
        </p:txBody>
      </p:sp>
      <p:sp>
        <p:nvSpPr>
          <p:cNvPr id="17" name="Rectangle 16">
            <a:extLst>
              <a:ext uri="{FF2B5EF4-FFF2-40B4-BE49-F238E27FC236}">
                <a16:creationId xmlns:a16="http://schemas.microsoft.com/office/drawing/2014/main" id="{5DA1E58A-30E6-4C46-8566-5161BEEC9559}"/>
              </a:ext>
            </a:extLst>
          </p:cNvPr>
          <p:cNvSpPr/>
          <p:nvPr/>
        </p:nvSpPr>
        <p:spPr>
          <a:xfrm>
            <a:off x="1745457" y="3587261"/>
            <a:ext cx="4236695" cy="1988011"/>
          </a:xfrm>
          <a:prstGeom prst="rect">
            <a:avLst/>
          </a:prstGeom>
          <a:solidFill>
            <a:srgbClr val="FFC000">
              <a:alpha val="23922"/>
            </a:srgbClr>
          </a:solidFill>
          <a:ln w="28575">
            <a:solidFill>
              <a:schemeClr val="accent1">
                <a:lumMod val="75000"/>
              </a:schemeClr>
            </a:solidFill>
            <a:miter lim="800000"/>
            <a:headEnd/>
            <a:tailEnd/>
          </a:ln>
        </p:spPr>
        <p:txBody>
          <a:bodyPr wrap="none" anchor="ctr"/>
          <a:lstStyle/>
          <a:p>
            <a:pPr algn="ctr">
              <a:buClr>
                <a:srgbClr val="0093D1"/>
              </a:buClr>
            </a:pPr>
            <a:endParaRPr lang="en-US" sz="2000" b="1" i="1" kern="0" dirty="0">
              <a:latin typeface="+mj-lt"/>
            </a:endParaRPr>
          </a:p>
        </p:txBody>
      </p:sp>
      <p:sp>
        <p:nvSpPr>
          <p:cNvPr id="18" name="Rectangle 17">
            <a:extLst>
              <a:ext uri="{FF2B5EF4-FFF2-40B4-BE49-F238E27FC236}">
                <a16:creationId xmlns:a16="http://schemas.microsoft.com/office/drawing/2014/main" id="{2F324F1E-D6AC-4351-8C8C-203B33A3077B}"/>
              </a:ext>
            </a:extLst>
          </p:cNvPr>
          <p:cNvSpPr/>
          <p:nvPr/>
        </p:nvSpPr>
        <p:spPr>
          <a:xfrm>
            <a:off x="6209848" y="3587261"/>
            <a:ext cx="4236695" cy="1988011"/>
          </a:xfrm>
          <a:prstGeom prst="rect">
            <a:avLst/>
          </a:prstGeom>
          <a:noFill/>
          <a:ln w="28575">
            <a:solidFill>
              <a:schemeClr val="accent1">
                <a:lumMod val="75000"/>
              </a:schemeClr>
            </a:solidFill>
            <a:miter lim="800000"/>
            <a:headEnd/>
            <a:tailEnd/>
          </a:ln>
        </p:spPr>
        <p:txBody>
          <a:bodyPr wrap="none" anchor="ctr"/>
          <a:lstStyle/>
          <a:p>
            <a:pPr algn="ctr">
              <a:buClr>
                <a:srgbClr val="0093D1"/>
              </a:buClr>
            </a:pPr>
            <a:endParaRPr lang="en-US" sz="2000" b="1" i="1" kern="0" dirty="0">
              <a:latin typeface="+mj-lt"/>
            </a:endParaRPr>
          </a:p>
        </p:txBody>
      </p:sp>
      <p:sp>
        <p:nvSpPr>
          <p:cNvPr id="19" name="Rectangle 18">
            <a:extLst>
              <a:ext uri="{FF2B5EF4-FFF2-40B4-BE49-F238E27FC236}">
                <a16:creationId xmlns:a16="http://schemas.microsoft.com/office/drawing/2014/main" id="{1A1E6D53-BF5A-4C04-8907-A623A4FE2E3A}"/>
              </a:ext>
            </a:extLst>
          </p:cNvPr>
          <p:cNvSpPr/>
          <p:nvPr/>
        </p:nvSpPr>
        <p:spPr>
          <a:xfrm>
            <a:off x="1745457" y="1440989"/>
            <a:ext cx="4236695" cy="1988011"/>
          </a:xfrm>
          <a:prstGeom prst="rect">
            <a:avLst/>
          </a:prstGeom>
          <a:solidFill>
            <a:srgbClr val="FFC000">
              <a:alpha val="63922"/>
            </a:srgbClr>
          </a:solidFill>
          <a:ln w="28575">
            <a:solidFill>
              <a:schemeClr val="accent1">
                <a:lumMod val="75000"/>
              </a:schemeClr>
            </a:solidFill>
            <a:miter lim="800000"/>
            <a:headEnd/>
            <a:tailEnd/>
          </a:ln>
        </p:spPr>
        <p:txBody>
          <a:bodyPr wrap="none" anchor="ctr"/>
          <a:lstStyle/>
          <a:p>
            <a:pPr algn="ctr">
              <a:buClr>
                <a:srgbClr val="0093D1"/>
              </a:buClr>
            </a:pPr>
            <a:endParaRPr lang="en-US" sz="2000" b="1" i="1" kern="0" dirty="0">
              <a:latin typeface="+mj-lt"/>
            </a:endParaRPr>
          </a:p>
        </p:txBody>
      </p:sp>
      <p:sp>
        <p:nvSpPr>
          <p:cNvPr id="20" name="Rectangle 19">
            <a:extLst>
              <a:ext uri="{FF2B5EF4-FFF2-40B4-BE49-F238E27FC236}">
                <a16:creationId xmlns:a16="http://schemas.microsoft.com/office/drawing/2014/main" id="{58859465-F8E9-473B-B074-7D3A76460E83}"/>
              </a:ext>
            </a:extLst>
          </p:cNvPr>
          <p:cNvSpPr/>
          <p:nvPr/>
        </p:nvSpPr>
        <p:spPr>
          <a:xfrm>
            <a:off x="6209848" y="1440989"/>
            <a:ext cx="4236695" cy="1988011"/>
          </a:xfrm>
          <a:prstGeom prst="rect">
            <a:avLst/>
          </a:prstGeom>
          <a:solidFill>
            <a:srgbClr val="FFC000">
              <a:alpha val="43922"/>
            </a:srgbClr>
          </a:solidFill>
          <a:ln w="28575">
            <a:solidFill>
              <a:schemeClr val="accent1">
                <a:lumMod val="75000"/>
              </a:schemeClr>
            </a:solidFill>
            <a:miter lim="800000"/>
            <a:headEnd/>
            <a:tailEnd/>
          </a:ln>
        </p:spPr>
        <p:txBody>
          <a:bodyPr wrap="none" anchor="ctr"/>
          <a:lstStyle/>
          <a:p>
            <a:pPr algn="ctr">
              <a:buClr>
                <a:srgbClr val="0093D1"/>
              </a:buClr>
            </a:pPr>
            <a:endParaRPr lang="en-US" sz="2000" b="1" i="1" kern="0" dirty="0">
              <a:latin typeface="+mj-lt"/>
            </a:endParaRPr>
          </a:p>
        </p:txBody>
      </p:sp>
      <p:sp>
        <p:nvSpPr>
          <p:cNvPr id="21" name="TextBox 60">
            <a:extLst>
              <a:ext uri="{FF2B5EF4-FFF2-40B4-BE49-F238E27FC236}">
                <a16:creationId xmlns:a16="http://schemas.microsoft.com/office/drawing/2014/main" id="{3830E59E-517D-4388-9577-ED58C6612A73}"/>
              </a:ext>
            </a:extLst>
          </p:cNvPr>
          <p:cNvSpPr txBox="1">
            <a:spLocks noChangeArrowheads="1"/>
          </p:cNvSpPr>
          <p:nvPr/>
        </p:nvSpPr>
        <p:spPr bwMode="auto">
          <a:xfrm>
            <a:off x="7053941" y="1084859"/>
            <a:ext cx="2325065" cy="276999"/>
          </a:xfrm>
          <a:prstGeom prst="rect">
            <a:avLst/>
          </a:prstGeom>
          <a:noFill/>
          <a:ln w="9525">
            <a:noFill/>
            <a:miter lim="800000"/>
            <a:headEnd/>
            <a:tailEnd/>
          </a:ln>
        </p:spPr>
        <p:txBody>
          <a:bodyPr wrap="square">
            <a:spAutoFit/>
          </a:bodyPr>
          <a:lstStyle/>
          <a:p>
            <a:pPr algn="ctr" defTabSz="973138">
              <a:spcBef>
                <a:spcPct val="50000"/>
              </a:spcBef>
              <a:tabLst>
                <a:tab pos="1374775" algn="l"/>
              </a:tabLst>
            </a:pPr>
            <a:r>
              <a:rPr lang="en-US" sz="1200" dirty="0">
                <a:solidFill>
                  <a:srgbClr val="073262"/>
                </a:solidFill>
                <a:latin typeface="Georgia" panose="02040502050405020303" pitchFamily="18" charset="0"/>
              </a:rPr>
              <a:t>Strategic/Long Term </a:t>
            </a:r>
          </a:p>
        </p:txBody>
      </p:sp>
      <p:sp>
        <p:nvSpPr>
          <p:cNvPr id="22" name="TextBox 62">
            <a:extLst>
              <a:ext uri="{FF2B5EF4-FFF2-40B4-BE49-F238E27FC236}">
                <a16:creationId xmlns:a16="http://schemas.microsoft.com/office/drawing/2014/main" id="{0F71B16E-C77A-4CD3-BC25-D4B2D1BCC4FA}"/>
              </a:ext>
            </a:extLst>
          </p:cNvPr>
          <p:cNvSpPr txBox="1">
            <a:spLocks noChangeArrowheads="1"/>
          </p:cNvSpPr>
          <p:nvPr/>
        </p:nvSpPr>
        <p:spPr bwMode="auto">
          <a:xfrm>
            <a:off x="2510982" y="1086354"/>
            <a:ext cx="2184980" cy="276999"/>
          </a:xfrm>
          <a:prstGeom prst="rect">
            <a:avLst/>
          </a:prstGeom>
          <a:noFill/>
          <a:ln w="9525">
            <a:noFill/>
            <a:miter lim="800000"/>
            <a:headEnd/>
            <a:tailEnd/>
          </a:ln>
        </p:spPr>
        <p:txBody>
          <a:bodyPr wrap="square">
            <a:spAutoFit/>
          </a:bodyPr>
          <a:lstStyle/>
          <a:p>
            <a:pPr algn="ctr" defTabSz="973138">
              <a:spcBef>
                <a:spcPct val="50000"/>
              </a:spcBef>
              <a:tabLst>
                <a:tab pos="1374775" algn="l"/>
              </a:tabLst>
            </a:pPr>
            <a:r>
              <a:rPr lang="en-US" sz="1200" dirty="0">
                <a:solidFill>
                  <a:srgbClr val="073262"/>
                </a:solidFill>
                <a:latin typeface="Georgia" panose="02040502050405020303" pitchFamily="18" charset="0"/>
              </a:rPr>
              <a:t>Quick Hits / Short Term</a:t>
            </a:r>
          </a:p>
        </p:txBody>
      </p:sp>
      <p:sp>
        <p:nvSpPr>
          <p:cNvPr id="23" name="TextBox 22">
            <a:extLst>
              <a:ext uri="{FF2B5EF4-FFF2-40B4-BE49-F238E27FC236}">
                <a16:creationId xmlns:a16="http://schemas.microsoft.com/office/drawing/2014/main" id="{10423D34-184F-409D-83B0-0C8603D722E6}"/>
              </a:ext>
            </a:extLst>
          </p:cNvPr>
          <p:cNvSpPr txBox="1"/>
          <p:nvPr/>
        </p:nvSpPr>
        <p:spPr>
          <a:xfrm>
            <a:off x="3469459" y="5854055"/>
            <a:ext cx="6858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Low</a:t>
            </a:r>
          </a:p>
        </p:txBody>
      </p:sp>
      <p:sp>
        <p:nvSpPr>
          <p:cNvPr id="24" name="TextBox 23">
            <a:extLst>
              <a:ext uri="{FF2B5EF4-FFF2-40B4-BE49-F238E27FC236}">
                <a16:creationId xmlns:a16="http://schemas.microsoft.com/office/drawing/2014/main" id="{8AD949AF-A133-4797-9A72-FEC30C7A016A}"/>
              </a:ext>
            </a:extLst>
          </p:cNvPr>
          <p:cNvSpPr txBox="1"/>
          <p:nvPr/>
        </p:nvSpPr>
        <p:spPr>
          <a:xfrm>
            <a:off x="8036743" y="5854055"/>
            <a:ext cx="6858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High</a:t>
            </a:r>
          </a:p>
        </p:txBody>
      </p:sp>
      <p:sp>
        <p:nvSpPr>
          <p:cNvPr id="25" name="TextBox 24">
            <a:extLst>
              <a:ext uri="{FF2B5EF4-FFF2-40B4-BE49-F238E27FC236}">
                <a16:creationId xmlns:a16="http://schemas.microsoft.com/office/drawing/2014/main" id="{6B3E56D7-83FF-4371-A430-419428A0E18B}"/>
              </a:ext>
            </a:extLst>
          </p:cNvPr>
          <p:cNvSpPr txBox="1"/>
          <p:nvPr/>
        </p:nvSpPr>
        <p:spPr>
          <a:xfrm rot="16200000">
            <a:off x="541877" y="4488932"/>
            <a:ext cx="198800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Low</a:t>
            </a:r>
          </a:p>
        </p:txBody>
      </p:sp>
      <p:sp>
        <p:nvSpPr>
          <p:cNvPr id="27" name="TextBox 26">
            <a:extLst>
              <a:ext uri="{FF2B5EF4-FFF2-40B4-BE49-F238E27FC236}">
                <a16:creationId xmlns:a16="http://schemas.microsoft.com/office/drawing/2014/main" id="{11477C30-3189-41C5-BEBC-912B73F7E705}"/>
              </a:ext>
            </a:extLst>
          </p:cNvPr>
          <p:cNvSpPr txBox="1"/>
          <p:nvPr/>
        </p:nvSpPr>
        <p:spPr>
          <a:xfrm rot="16200000">
            <a:off x="541877" y="2324715"/>
            <a:ext cx="198800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000000">
                      <a:alpha val="74997"/>
                    </a:srgbClr>
                  </a:outerShdw>
                </a:effectLst>
              </a14:hiddenEffects>
            </a:ext>
          </a:extLst>
        </p:spPr>
        <p:txBody>
          <a:bodyPr wrap="square" lIns="0" tIns="0" rIns="0" bIns="0">
            <a:spAutoFit/>
          </a:bodyPr>
          <a:lstStyle>
            <a:defPPr>
              <a:defRPr lang="en-US"/>
            </a:defPPr>
            <a:lvl1pPr algn="ctr" defTabSz="973138">
              <a:spcBef>
                <a:spcPct val="50000"/>
              </a:spcBef>
              <a:tabLst>
                <a:tab pos="1374775" algn="l"/>
              </a:tabLst>
              <a:defRPr sz="1200">
                <a:solidFill>
                  <a:schemeClr val="folHlink"/>
                </a:solidFill>
                <a:latin typeface="Arial" charset="0"/>
                <a:ea typeface="ＭＳ Ｐゴシック" pitchFamily="34" charset="-128"/>
              </a:defRPr>
            </a:lvl1pPr>
            <a:lvl2pPr marL="742950" indent="-285750" defTabSz="973138" eaLnBrk="0" hangingPunct="0">
              <a:tabLst>
                <a:tab pos="1374775" algn="l"/>
              </a:tabLst>
              <a:defRPr sz="1400">
                <a:latin typeface="Arial" charset="0"/>
                <a:ea typeface="ＭＳ Ｐゴシック" pitchFamily="34" charset="-128"/>
              </a:defRPr>
            </a:lvl2pPr>
            <a:lvl3pPr marL="1143000" indent="-228600" defTabSz="973138" eaLnBrk="0" hangingPunct="0">
              <a:tabLst>
                <a:tab pos="1374775" algn="l"/>
              </a:tabLst>
              <a:defRPr sz="1400">
                <a:latin typeface="Arial" charset="0"/>
                <a:ea typeface="ＭＳ Ｐゴシック" pitchFamily="34" charset="-128"/>
              </a:defRPr>
            </a:lvl3pPr>
            <a:lvl4pPr marL="1600200" indent="-228600" defTabSz="973138" eaLnBrk="0" hangingPunct="0">
              <a:tabLst>
                <a:tab pos="1374775" algn="l"/>
              </a:tabLst>
              <a:defRPr sz="1400">
                <a:latin typeface="Arial" charset="0"/>
                <a:ea typeface="ＭＳ Ｐゴシック" pitchFamily="34" charset="-128"/>
              </a:defRPr>
            </a:lvl4pPr>
            <a:lvl5pPr marL="2057400" indent="-228600" defTabSz="973138" eaLnBrk="0" hangingPunct="0">
              <a:tabLst>
                <a:tab pos="1374775" algn="l"/>
              </a:tabLst>
              <a:defRPr sz="1400">
                <a:latin typeface="Arial" charset="0"/>
                <a:ea typeface="ＭＳ Ｐゴシック" pitchFamily="34" charset="-128"/>
              </a:defRPr>
            </a:lvl5pPr>
            <a:lvl6pPr marL="25146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6pPr>
            <a:lvl7pPr marL="29718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7pPr>
            <a:lvl8pPr marL="34290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8pPr>
            <a:lvl9pPr marL="3886200" indent="-228600" defTabSz="973138" eaLnBrk="0" fontAlgn="base" hangingPunct="0">
              <a:spcBef>
                <a:spcPct val="0"/>
              </a:spcBef>
              <a:spcAft>
                <a:spcPct val="0"/>
              </a:spcAft>
              <a:buClr>
                <a:schemeClr val="accent2"/>
              </a:buClr>
              <a:tabLst>
                <a:tab pos="1374775" algn="l"/>
              </a:tabLst>
              <a:defRPr sz="1400">
                <a:latin typeface="Arial" charset="0"/>
                <a:ea typeface="ＭＳ Ｐゴシック" pitchFamily="34" charset="-128"/>
              </a:defRPr>
            </a:lvl9pPr>
          </a:lstStyle>
          <a:p>
            <a:r>
              <a:rPr lang="en-US" dirty="0">
                <a:solidFill>
                  <a:srgbClr val="073262"/>
                </a:solidFill>
                <a:latin typeface="Georgia" panose="02040502050405020303" pitchFamily="18" charset="0"/>
                <a:ea typeface="+mn-ea"/>
              </a:rPr>
              <a:t>High</a:t>
            </a:r>
          </a:p>
        </p:txBody>
      </p:sp>
      <p:sp>
        <p:nvSpPr>
          <p:cNvPr id="28" name="Text Placeholder 1">
            <a:extLst>
              <a:ext uri="{FF2B5EF4-FFF2-40B4-BE49-F238E27FC236}">
                <a16:creationId xmlns:a16="http://schemas.microsoft.com/office/drawing/2014/main" id="{D0C66E63-4B57-47A9-B62C-18A60115FDF0}"/>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73262"/>
                </a:solidFill>
                <a:effectLst/>
                <a:uLnTx/>
                <a:uFillTx/>
                <a:latin typeface="Georgia" panose="02040502050405020303" pitchFamily="18" charset="0"/>
                <a:ea typeface="+mn-ea"/>
                <a:cs typeface="+mn-cs"/>
              </a:rPr>
              <a:t>Effort – Impact matrix</a:t>
            </a:r>
            <a:endParaRPr kumimoji="0" lang="en-US" sz="3000" b="0" i="0" u="none" strike="noStrike" kern="0" cap="none" spc="0" normalizeH="0" baseline="0" noProof="0" dirty="0">
              <a:ln>
                <a:noFill/>
              </a:ln>
              <a:solidFill>
                <a:schemeClr val="accent2"/>
              </a:solidFill>
              <a:effectLst/>
              <a:uLnTx/>
              <a:uFillTx/>
              <a:latin typeface="Georgia" panose="02040502050405020303" pitchFamily="18" charset="0"/>
              <a:ea typeface="+mn-ea"/>
              <a:cs typeface="+mn-cs"/>
            </a:endParaRPr>
          </a:p>
        </p:txBody>
      </p:sp>
      <p:sp>
        <p:nvSpPr>
          <p:cNvPr id="31" name="Oval 13">
            <a:extLst>
              <a:ext uri="{FF2B5EF4-FFF2-40B4-BE49-F238E27FC236}">
                <a16:creationId xmlns:a16="http://schemas.microsoft.com/office/drawing/2014/main" id="{8D47E174-8F62-46BF-AB1B-E591D24AFBBB}"/>
              </a:ext>
            </a:extLst>
          </p:cNvPr>
          <p:cNvSpPr>
            <a:spLocks noChangeArrowheads="1"/>
          </p:cNvSpPr>
          <p:nvPr>
            <p:custDataLst>
              <p:tags r:id="rId1"/>
            </p:custDataLst>
          </p:nvPr>
        </p:nvSpPr>
        <p:spPr bwMode="auto">
          <a:xfrm>
            <a:off x="2124670" y="1798556"/>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a:t>
            </a:r>
          </a:p>
        </p:txBody>
      </p:sp>
      <p:sp>
        <p:nvSpPr>
          <p:cNvPr id="32" name="Oval 13">
            <a:extLst>
              <a:ext uri="{FF2B5EF4-FFF2-40B4-BE49-F238E27FC236}">
                <a16:creationId xmlns:a16="http://schemas.microsoft.com/office/drawing/2014/main" id="{1DBADF3E-B0C9-48E5-9E4B-4EA48C62DF27}"/>
              </a:ext>
            </a:extLst>
          </p:cNvPr>
          <p:cNvSpPr>
            <a:spLocks noChangeArrowheads="1"/>
          </p:cNvSpPr>
          <p:nvPr>
            <p:custDataLst>
              <p:tags r:id="rId2"/>
            </p:custDataLst>
          </p:nvPr>
        </p:nvSpPr>
        <p:spPr bwMode="auto">
          <a:xfrm>
            <a:off x="3114901" y="1798556"/>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4</a:t>
            </a:r>
          </a:p>
        </p:txBody>
      </p:sp>
      <p:sp>
        <p:nvSpPr>
          <p:cNvPr id="35" name="Oval 13">
            <a:extLst>
              <a:ext uri="{FF2B5EF4-FFF2-40B4-BE49-F238E27FC236}">
                <a16:creationId xmlns:a16="http://schemas.microsoft.com/office/drawing/2014/main" id="{14D371D3-2CF4-4E4F-B9A2-EBF1B94B14DB}"/>
              </a:ext>
            </a:extLst>
          </p:cNvPr>
          <p:cNvSpPr>
            <a:spLocks noChangeArrowheads="1"/>
          </p:cNvSpPr>
          <p:nvPr>
            <p:custDataLst>
              <p:tags r:id="rId3"/>
            </p:custDataLst>
          </p:nvPr>
        </p:nvSpPr>
        <p:spPr bwMode="auto">
          <a:xfrm>
            <a:off x="6362135" y="1587874"/>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a:t>
            </a:r>
          </a:p>
        </p:txBody>
      </p:sp>
      <p:sp>
        <p:nvSpPr>
          <p:cNvPr id="36" name="Oval 13">
            <a:extLst>
              <a:ext uri="{FF2B5EF4-FFF2-40B4-BE49-F238E27FC236}">
                <a16:creationId xmlns:a16="http://schemas.microsoft.com/office/drawing/2014/main" id="{86D2FDA5-DA00-4154-B9A1-254B001FDA20}"/>
              </a:ext>
            </a:extLst>
          </p:cNvPr>
          <p:cNvSpPr>
            <a:spLocks noChangeArrowheads="1"/>
          </p:cNvSpPr>
          <p:nvPr>
            <p:custDataLst>
              <p:tags r:id="rId4"/>
            </p:custDataLst>
          </p:nvPr>
        </p:nvSpPr>
        <p:spPr bwMode="auto">
          <a:xfrm>
            <a:off x="6950247" y="1602854"/>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lang="en-GB" sz="1000" b="1" kern="0" dirty="0">
                <a:solidFill>
                  <a:prstClr val="white"/>
                </a:solidFill>
                <a:latin typeface="Georgia"/>
                <a:ea typeface="ＭＳ Ｐゴシック"/>
                <a:cs typeface="Calibri" panose="020F0502020204030204" pitchFamily="34" charset="0"/>
              </a:rPr>
              <a:t>K3</a:t>
            </a:r>
            <a:endPar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endParaRPr>
          </a:p>
        </p:txBody>
      </p:sp>
      <p:sp>
        <p:nvSpPr>
          <p:cNvPr id="37" name="Oval 13">
            <a:extLst>
              <a:ext uri="{FF2B5EF4-FFF2-40B4-BE49-F238E27FC236}">
                <a16:creationId xmlns:a16="http://schemas.microsoft.com/office/drawing/2014/main" id="{3AC0EA23-CCB1-456C-BA2E-43864348972F}"/>
              </a:ext>
            </a:extLst>
          </p:cNvPr>
          <p:cNvSpPr>
            <a:spLocks noChangeArrowheads="1"/>
          </p:cNvSpPr>
          <p:nvPr>
            <p:custDataLst>
              <p:tags r:id="rId5"/>
            </p:custDataLst>
          </p:nvPr>
        </p:nvSpPr>
        <p:spPr bwMode="auto">
          <a:xfrm>
            <a:off x="7547324" y="1602854"/>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5 </a:t>
            </a:r>
          </a:p>
        </p:txBody>
      </p:sp>
      <p:sp>
        <p:nvSpPr>
          <p:cNvPr id="38" name="Oval 13">
            <a:extLst>
              <a:ext uri="{FF2B5EF4-FFF2-40B4-BE49-F238E27FC236}">
                <a16:creationId xmlns:a16="http://schemas.microsoft.com/office/drawing/2014/main" id="{13B1EA79-6C66-4F79-BF9D-BA9B1C2BE037}"/>
              </a:ext>
            </a:extLst>
          </p:cNvPr>
          <p:cNvSpPr>
            <a:spLocks noChangeArrowheads="1"/>
          </p:cNvSpPr>
          <p:nvPr>
            <p:custDataLst>
              <p:tags r:id="rId6"/>
            </p:custDataLst>
          </p:nvPr>
        </p:nvSpPr>
        <p:spPr bwMode="auto">
          <a:xfrm>
            <a:off x="6656518" y="3825172"/>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0</a:t>
            </a:r>
          </a:p>
        </p:txBody>
      </p:sp>
      <p:sp>
        <p:nvSpPr>
          <p:cNvPr id="39" name="Oval 13">
            <a:extLst>
              <a:ext uri="{FF2B5EF4-FFF2-40B4-BE49-F238E27FC236}">
                <a16:creationId xmlns:a16="http://schemas.microsoft.com/office/drawing/2014/main" id="{4F989AAC-C5AB-438B-B1D4-220C7E109798}"/>
              </a:ext>
            </a:extLst>
          </p:cNvPr>
          <p:cNvSpPr>
            <a:spLocks noChangeArrowheads="1"/>
          </p:cNvSpPr>
          <p:nvPr>
            <p:custDataLst>
              <p:tags r:id="rId7"/>
            </p:custDataLst>
          </p:nvPr>
        </p:nvSpPr>
        <p:spPr bwMode="auto">
          <a:xfrm>
            <a:off x="7834419" y="3839809"/>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1</a:t>
            </a:r>
          </a:p>
        </p:txBody>
      </p:sp>
      <p:sp>
        <p:nvSpPr>
          <p:cNvPr id="40" name="Oval 13">
            <a:extLst>
              <a:ext uri="{FF2B5EF4-FFF2-40B4-BE49-F238E27FC236}">
                <a16:creationId xmlns:a16="http://schemas.microsoft.com/office/drawing/2014/main" id="{C6FA5A1C-7224-4FCD-BB91-B49A14A482DA}"/>
              </a:ext>
            </a:extLst>
          </p:cNvPr>
          <p:cNvSpPr>
            <a:spLocks noChangeArrowheads="1"/>
          </p:cNvSpPr>
          <p:nvPr>
            <p:custDataLst>
              <p:tags r:id="rId8"/>
            </p:custDataLst>
          </p:nvPr>
        </p:nvSpPr>
        <p:spPr bwMode="auto">
          <a:xfrm>
            <a:off x="3734248" y="3770328"/>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7</a:t>
            </a:r>
          </a:p>
        </p:txBody>
      </p:sp>
      <p:sp>
        <p:nvSpPr>
          <p:cNvPr id="41" name="Oval 13">
            <a:extLst>
              <a:ext uri="{FF2B5EF4-FFF2-40B4-BE49-F238E27FC236}">
                <a16:creationId xmlns:a16="http://schemas.microsoft.com/office/drawing/2014/main" id="{65CDA1D9-550D-4D51-8FA9-068143DE29C4}"/>
              </a:ext>
            </a:extLst>
          </p:cNvPr>
          <p:cNvSpPr>
            <a:spLocks noChangeArrowheads="1"/>
          </p:cNvSpPr>
          <p:nvPr>
            <p:custDataLst>
              <p:tags r:id="rId9"/>
            </p:custDataLst>
          </p:nvPr>
        </p:nvSpPr>
        <p:spPr bwMode="auto">
          <a:xfrm>
            <a:off x="2273968" y="4018922"/>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1</a:t>
            </a:r>
          </a:p>
        </p:txBody>
      </p:sp>
      <p:sp>
        <p:nvSpPr>
          <p:cNvPr id="42" name="Oval 13">
            <a:extLst>
              <a:ext uri="{FF2B5EF4-FFF2-40B4-BE49-F238E27FC236}">
                <a16:creationId xmlns:a16="http://schemas.microsoft.com/office/drawing/2014/main" id="{0FDAA96F-787F-4E6F-A0E7-1DED87CFDA87}"/>
              </a:ext>
            </a:extLst>
          </p:cNvPr>
          <p:cNvSpPr>
            <a:spLocks noChangeArrowheads="1"/>
          </p:cNvSpPr>
          <p:nvPr>
            <p:custDataLst>
              <p:tags r:id="rId10"/>
            </p:custDataLst>
          </p:nvPr>
        </p:nvSpPr>
        <p:spPr bwMode="auto">
          <a:xfrm>
            <a:off x="8189224" y="1602854"/>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6 </a:t>
            </a:r>
          </a:p>
        </p:txBody>
      </p:sp>
      <p:sp>
        <p:nvSpPr>
          <p:cNvPr id="30" name="Oval 13">
            <a:extLst>
              <a:ext uri="{FF2B5EF4-FFF2-40B4-BE49-F238E27FC236}">
                <a16:creationId xmlns:a16="http://schemas.microsoft.com/office/drawing/2014/main" id="{F0B6CF3A-785D-4630-BAFD-425D367AE8DB}"/>
              </a:ext>
            </a:extLst>
          </p:cNvPr>
          <p:cNvSpPr>
            <a:spLocks noChangeArrowheads="1"/>
          </p:cNvSpPr>
          <p:nvPr>
            <p:custDataLst>
              <p:tags r:id="rId11"/>
            </p:custDataLst>
          </p:nvPr>
        </p:nvSpPr>
        <p:spPr bwMode="auto">
          <a:xfrm>
            <a:off x="8739204" y="1602854"/>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8 </a:t>
            </a:r>
          </a:p>
        </p:txBody>
      </p:sp>
      <p:sp>
        <p:nvSpPr>
          <p:cNvPr id="44" name="Oval 13">
            <a:extLst>
              <a:ext uri="{FF2B5EF4-FFF2-40B4-BE49-F238E27FC236}">
                <a16:creationId xmlns:a16="http://schemas.microsoft.com/office/drawing/2014/main" id="{64D4149E-BA4F-4AF0-82A3-04DC00AC00E4}"/>
              </a:ext>
            </a:extLst>
          </p:cNvPr>
          <p:cNvSpPr>
            <a:spLocks noChangeArrowheads="1"/>
          </p:cNvSpPr>
          <p:nvPr>
            <p:custDataLst>
              <p:tags r:id="rId12"/>
            </p:custDataLst>
          </p:nvPr>
        </p:nvSpPr>
        <p:spPr bwMode="auto">
          <a:xfrm>
            <a:off x="9380942" y="1602854"/>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9 </a:t>
            </a:r>
          </a:p>
        </p:txBody>
      </p:sp>
      <p:sp>
        <p:nvSpPr>
          <p:cNvPr id="45" name="Oval 13">
            <a:extLst>
              <a:ext uri="{FF2B5EF4-FFF2-40B4-BE49-F238E27FC236}">
                <a16:creationId xmlns:a16="http://schemas.microsoft.com/office/drawing/2014/main" id="{B1A58010-35B7-4485-BD7D-09CEC6F5F19C}"/>
              </a:ext>
            </a:extLst>
          </p:cNvPr>
          <p:cNvSpPr>
            <a:spLocks noChangeArrowheads="1"/>
          </p:cNvSpPr>
          <p:nvPr>
            <p:custDataLst>
              <p:tags r:id="rId13"/>
            </p:custDataLst>
          </p:nvPr>
        </p:nvSpPr>
        <p:spPr bwMode="auto">
          <a:xfrm>
            <a:off x="6362135" y="2234567"/>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0</a:t>
            </a:r>
          </a:p>
        </p:txBody>
      </p:sp>
      <p:sp>
        <p:nvSpPr>
          <p:cNvPr id="46" name="Oval 13">
            <a:extLst>
              <a:ext uri="{FF2B5EF4-FFF2-40B4-BE49-F238E27FC236}">
                <a16:creationId xmlns:a16="http://schemas.microsoft.com/office/drawing/2014/main" id="{47AE56A0-12B9-4A3A-81B4-CFC229349624}"/>
              </a:ext>
            </a:extLst>
          </p:cNvPr>
          <p:cNvSpPr>
            <a:spLocks noChangeArrowheads="1"/>
          </p:cNvSpPr>
          <p:nvPr>
            <p:custDataLst>
              <p:tags r:id="rId14"/>
            </p:custDataLst>
          </p:nvPr>
        </p:nvSpPr>
        <p:spPr bwMode="auto">
          <a:xfrm>
            <a:off x="6950247" y="2249547"/>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lang="en-GB" sz="1000" b="1" kern="0" dirty="0">
                <a:solidFill>
                  <a:prstClr val="white"/>
                </a:solidFill>
                <a:latin typeface="Georgia"/>
                <a:ea typeface="ＭＳ Ｐゴシック"/>
                <a:cs typeface="Calibri" panose="020F0502020204030204" pitchFamily="34" charset="0"/>
              </a:rPr>
              <a:t>K12</a:t>
            </a:r>
            <a:endPar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endParaRPr>
          </a:p>
        </p:txBody>
      </p:sp>
      <p:sp>
        <p:nvSpPr>
          <p:cNvPr id="47" name="Oval 13">
            <a:extLst>
              <a:ext uri="{FF2B5EF4-FFF2-40B4-BE49-F238E27FC236}">
                <a16:creationId xmlns:a16="http://schemas.microsoft.com/office/drawing/2014/main" id="{270E420F-00D8-467E-9E8F-23D0E28F2385}"/>
              </a:ext>
            </a:extLst>
          </p:cNvPr>
          <p:cNvSpPr>
            <a:spLocks noChangeArrowheads="1"/>
          </p:cNvSpPr>
          <p:nvPr>
            <p:custDataLst>
              <p:tags r:id="rId15"/>
            </p:custDataLst>
          </p:nvPr>
        </p:nvSpPr>
        <p:spPr bwMode="auto">
          <a:xfrm>
            <a:off x="7547324" y="2249547"/>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3 </a:t>
            </a:r>
          </a:p>
        </p:txBody>
      </p:sp>
      <p:sp>
        <p:nvSpPr>
          <p:cNvPr id="48" name="Oval 13">
            <a:extLst>
              <a:ext uri="{FF2B5EF4-FFF2-40B4-BE49-F238E27FC236}">
                <a16:creationId xmlns:a16="http://schemas.microsoft.com/office/drawing/2014/main" id="{D966A02C-9ACC-40D8-B1EC-39643EDCD63E}"/>
              </a:ext>
            </a:extLst>
          </p:cNvPr>
          <p:cNvSpPr>
            <a:spLocks noChangeArrowheads="1"/>
          </p:cNvSpPr>
          <p:nvPr>
            <p:custDataLst>
              <p:tags r:id="rId16"/>
            </p:custDataLst>
          </p:nvPr>
        </p:nvSpPr>
        <p:spPr bwMode="auto">
          <a:xfrm>
            <a:off x="8189224" y="2249547"/>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4 </a:t>
            </a:r>
          </a:p>
        </p:txBody>
      </p:sp>
      <p:sp>
        <p:nvSpPr>
          <p:cNvPr id="49" name="Oval 13">
            <a:extLst>
              <a:ext uri="{FF2B5EF4-FFF2-40B4-BE49-F238E27FC236}">
                <a16:creationId xmlns:a16="http://schemas.microsoft.com/office/drawing/2014/main" id="{F0BE15FD-46BC-4609-9DE8-7EE4EF73885C}"/>
              </a:ext>
            </a:extLst>
          </p:cNvPr>
          <p:cNvSpPr>
            <a:spLocks noChangeArrowheads="1"/>
          </p:cNvSpPr>
          <p:nvPr>
            <p:custDataLst>
              <p:tags r:id="rId17"/>
            </p:custDataLst>
          </p:nvPr>
        </p:nvSpPr>
        <p:spPr bwMode="auto">
          <a:xfrm>
            <a:off x="8748636" y="2249547"/>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5 </a:t>
            </a:r>
          </a:p>
        </p:txBody>
      </p:sp>
      <p:sp>
        <p:nvSpPr>
          <p:cNvPr id="50" name="Oval 13">
            <a:extLst>
              <a:ext uri="{FF2B5EF4-FFF2-40B4-BE49-F238E27FC236}">
                <a16:creationId xmlns:a16="http://schemas.microsoft.com/office/drawing/2014/main" id="{8A2AF83B-E38A-47ED-A70C-19141117196F}"/>
              </a:ext>
            </a:extLst>
          </p:cNvPr>
          <p:cNvSpPr>
            <a:spLocks noChangeArrowheads="1"/>
          </p:cNvSpPr>
          <p:nvPr>
            <p:custDataLst>
              <p:tags r:id="rId18"/>
            </p:custDataLst>
          </p:nvPr>
        </p:nvSpPr>
        <p:spPr bwMode="auto">
          <a:xfrm>
            <a:off x="9380942" y="2241532"/>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8 </a:t>
            </a:r>
          </a:p>
        </p:txBody>
      </p:sp>
      <p:sp>
        <p:nvSpPr>
          <p:cNvPr id="51" name="Oval 13">
            <a:extLst>
              <a:ext uri="{FF2B5EF4-FFF2-40B4-BE49-F238E27FC236}">
                <a16:creationId xmlns:a16="http://schemas.microsoft.com/office/drawing/2014/main" id="{0238F267-EF37-4CD6-911F-E4E464597A02}"/>
              </a:ext>
            </a:extLst>
          </p:cNvPr>
          <p:cNvSpPr>
            <a:spLocks noChangeArrowheads="1"/>
          </p:cNvSpPr>
          <p:nvPr>
            <p:custDataLst>
              <p:tags r:id="rId19"/>
            </p:custDataLst>
          </p:nvPr>
        </p:nvSpPr>
        <p:spPr bwMode="auto">
          <a:xfrm>
            <a:off x="6362135" y="2820286"/>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9</a:t>
            </a:r>
          </a:p>
        </p:txBody>
      </p:sp>
      <p:sp>
        <p:nvSpPr>
          <p:cNvPr id="52" name="Oval 13">
            <a:extLst>
              <a:ext uri="{FF2B5EF4-FFF2-40B4-BE49-F238E27FC236}">
                <a16:creationId xmlns:a16="http://schemas.microsoft.com/office/drawing/2014/main" id="{35DCC155-15F4-45BD-949A-C1280260C9F9}"/>
              </a:ext>
            </a:extLst>
          </p:cNvPr>
          <p:cNvSpPr>
            <a:spLocks noChangeArrowheads="1"/>
          </p:cNvSpPr>
          <p:nvPr>
            <p:custDataLst>
              <p:tags r:id="rId20"/>
            </p:custDataLst>
          </p:nvPr>
        </p:nvSpPr>
        <p:spPr bwMode="auto">
          <a:xfrm>
            <a:off x="6950247" y="2835266"/>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lang="en-GB" sz="1000" b="1" kern="0" dirty="0">
                <a:solidFill>
                  <a:prstClr val="white"/>
                </a:solidFill>
                <a:latin typeface="Georgia"/>
                <a:ea typeface="ＭＳ Ｐゴシック"/>
                <a:cs typeface="Calibri" panose="020F0502020204030204" pitchFamily="34" charset="0"/>
              </a:rPr>
              <a:t>K24</a:t>
            </a:r>
            <a:endPar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endParaRPr>
          </a:p>
        </p:txBody>
      </p:sp>
      <p:sp>
        <p:nvSpPr>
          <p:cNvPr id="53" name="Oval 13">
            <a:extLst>
              <a:ext uri="{FF2B5EF4-FFF2-40B4-BE49-F238E27FC236}">
                <a16:creationId xmlns:a16="http://schemas.microsoft.com/office/drawing/2014/main" id="{BE26F550-2699-4BC2-8903-B60853AAA980}"/>
              </a:ext>
            </a:extLst>
          </p:cNvPr>
          <p:cNvSpPr>
            <a:spLocks noChangeArrowheads="1"/>
          </p:cNvSpPr>
          <p:nvPr>
            <p:custDataLst>
              <p:tags r:id="rId21"/>
            </p:custDataLst>
          </p:nvPr>
        </p:nvSpPr>
        <p:spPr bwMode="auto">
          <a:xfrm>
            <a:off x="7547324" y="2835266"/>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9 </a:t>
            </a:r>
          </a:p>
        </p:txBody>
      </p:sp>
      <p:sp>
        <p:nvSpPr>
          <p:cNvPr id="54" name="Oval 13">
            <a:extLst>
              <a:ext uri="{FF2B5EF4-FFF2-40B4-BE49-F238E27FC236}">
                <a16:creationId xmlns:a16="http://schemas.microsoft.com/office/drawing/2014/main" id="{CD151238-E6D3-402A-8FCB-9E9D54EDEEEF}"/>
              </a:ext>
            </a:extLst>
          </p:cNvPr>
          <p:cNvSpPr>
            <a:spLocks noChangeArrowheads="1"/>
          </p:cNvSpPr>
          <p:nvPr>
            <p:custDataLst>
              <p:tags r:id="rId22"/>
            </p:custDataLst>
          </p:nvPr>
        </p:nvSpPr>
        <p:spPr bwMode="auto">
          <a:xfrm>
            <a:off x="8189224" y="2835266"/>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3 </a:t>
            </a:r>
          </a:p>
        </p:txBody>
      </p:sp>
      <p:sp>
        <p:nvSpPr>
          <p:cNvPr id="55" name="Oval 13">
            <a:extLst>
              <a:ext uri="{FF2B5EF4-FFF2-40B4-BE49-F238E27FC236}">
                <a16:creationId xmlns:a16="http://schemas.microsoft.com/office/drawing/2014/main" id="{E7054FCA-3605-4F0C-9723-84FF18E4DBA5}"/>
              </a:ext>
            </a:extLst>
          </p:cNvPr>
          <p:cNvSpPr>
            <a:spLocks noChangeArrowheads="1"/>
          </p:cNvSpPr>
          <p:nvPr>
            <p:custDataLst>
              <p:tags r:id="rId23"/>
            </p:custDataLst>
          </p:nvPr>
        </p:nvSpPr>
        <p:spPr bwMode="auto">
          <a:xfrm>
            <a:off x="8793124" y="2851439"/>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4 </a:t>
            </a:r>
          </a:p>
        </p:txBody>
      </p:sp>
      <p:sp>
        <p:nvSpPr>
          <p:cNvPr id="56" name="Oval 13">
            <a:extLst>
              <a:ext uri="{FF2B5EF4-FFF2-40B4-BE49-F238E27FC236}">
                <a16:creationId xmlns:a16="http://schemas.microsoft.com/office/drawing/2014/main" id="{2E171F9B-0A07-4013-B61D-7616BC80AF49}"/>
              </a:ext>
            </a:extLst>
          </p:cNvPr>
          <p:cNvSpPr>
            <a:spLocks noChangeArrowheads="1"/>
          </p:cNvSpPr>
          <p:nvPr>
            <p:custDataLst>
              <p:tags r:id="rId24"/>
            </p:custDataLst>
          </p:nvPr>
        </p:nvSpPr>
        <p:spPr bwMode="auto">
          <a:xfrm>
            <a:off x="9372945" y="2833310"/>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 35</a:t>
            </a:r>
          </a:p>
        </p:txBody>
      </p:sp>
      <p:sp>
        <p:nvSpPr>
          <p:cNvPr id="57" name="Oval 13">
            <a:extLst>
              <a:ext uri="{FF2B5EF4-FFF2-40B4-BE49-F238E27FC236}">
                <a16:creationId xmlns:a16="http://schemas.microsoft.com/office/drawing/2014/main" id="{006932FC-3067-44AB-9B5C-A7224C159502}"/>
              </a:ext>
            </a:extLst>
          </p:cNvPr>
          <p:cNvSpPr>
            <a:spLocks noChangeArrowheads="1"/>
          </p:cNvSpPr>
          <p:nvPr>
            <p:custDataLst>
              <p:tags r:id="rId25"/>
            </p:custDataLst>
          </p:nvPr>
        </p:nvSpPr>
        <p:spPr bwMode="auto">
          <a:xfrm>
            <a:off x="4105400" y="4643609"/>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2</a:t>
            </a:r>
          </a:p>
        </p:txBody>
      </p:sp>
      <p:sp>
        <p:nvSpPr>
          <p:cNvPr id="58" name="Oval 13">
            <a:extLst>
              <a:ext uri="{FF2B5EF4-FFF2-40B4-BE49-F238E27FC236}">
                <a16:creationId xmlns:a16="http://schemas.microsoft.com/office/drawing/2014/main" id="{0114B6CE-A093-4D9F-9395-E7106EC346A9}"/>
              </a:ext>
            </a:extLst>
          </p:cNvPr>
          <p:cNvSpPr>
            <a:spLocks noChangeArrowheads="1"/>
          </p:cNvSpPr>
          <p:nvPr>
            <p:custDataLst>
              <p:tags r:id="rId26"/>
            </p:custDataLst>
          </p:nvPr>
        </p:nvSpPr>
        <p:spPr bwMode="auto">
          <a:xfrm>
            <a:off x="3130980" y="4569212"/>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6</a:t>
            </a:r>
          </a:p>
        </p:txBody>
      </p:sp>
      <p:sp>
        <p:nvSpPr>
          <p:cNvPr id="59" name="Oval 13">
            <a:extLst>
              <a:ext uri="{FF2B5EF4-FFF2-40B4-BE49-F238E27FC236}">
                <a16:creationId xmlns:a16="http://schemas.microsoft.com/office/drawing/2014/main" id="{0A98D45E-E7BA-4662-A9A5-408B84A358A9}"/>
              </a:ext>
            </a:extLst>
          </p:cNvPr>
          <p:cNvSpPr>
            <a:spLocks noChangeArrowheads="1"/>
          </p:cNvSpPr>
          <p:nvPr>
            <p:custDataLst>
              <p:tags r:id="rId27"/>
            </p:custDataLst>
          </p:nvPr>
        </p:nvSpPr>
        <p:spPr bwMode="auto">
          <a:xfrm>
            <a:off x="7094668" y="4588557"/>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7</a:t>
            </a:r>
          </a:p>
        </p:txBody>
      </p:sp>
      <p:sp>
        <p:nvSpPr>
          <p:cNvPr id="60" name="Oval 13">
            <a:extLst>
              <a:ext uri="{FF2B5EF4-FFF2-40B4-BE49-F238E27FC236}">
                <a16:creationId xmlns:a16="http://schemas.microsoft.com/office/drawing/2014/main" id="{6FCB1912-344F-4336-BE90-1003BC635178}"/>
              </a:ext>
            </a:extLst>
          </p:cNvPr>
          <p:cNvSpPr>
            <a:spLocks noChangeArrowheads="1"/>
          </p:cNvSpPr>
          <p:nvPr>
            <p:custDataLst>
              <p:tags r:id="rId28"/>
            </p:custDataLst>
          </p:nvPr>
        </p:nvSpPr>
        <p:spPr bwMode="auto">
          <a:xfrm>
            <a:off x="9952767" y="2241532"/>
            <a:ext cx="493776" cy="497632"/>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8</a:t>
            </a:r>
          </a:p>
        </p:txBody>
      </p:sp>
      <p:sp>
        <p:nvSpPr>
          <p:cNvPr id="61" name="Oval 13">
            <a:extLst>
              <a:ext uri="{FF2B5EF4-FFF2-40B4-BE49-F238E27FC236}">
                <a16:creationId xmlns:a16="http://schemas.microsoft.com/office/drawing/2014/main" id="{377C2C8E-1EA7-4920-ADF3-6D71C8FB5D2E}"/>
              </a:ext>
            </a:extLst>
          </p:cNvPr>
          <p:cNvSpPr>
            <a:spLocks noChangeArrowheads="1"/>
          </p:cNvSpPr>
          <p:nvPr>
            <p:custDataLst>
              <p:tags r:id="rId29"/>
            </p:custDataLst>
          </p:nvPr>
        </p:nvSpPr>
        <p:spPr bwMode="auto">
          <a:xfrm>
            <a:off x="9964264" y="2833310"/>
            <a:ext cx="493776" cy="449538"/>
          </a:xfrm>
          <a:prstGeom prst="ellipse">
            <a:avLst/>
          </a:prstGeom>
          <a:solidFill>
            <a:srgbClr val="00B050"/>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2</a:t>
            </a:r>
          </a:p>
        </p:txBody>
      </p:sp>
      <p:sp>
        <p:nvSpPr>
          <p:cNvPr id="62" name="Oval 13">
            <a:extLst>
              <a:ext uri="{FF2B5EF4-FFF2-40B4-BE49-F238E27FC236}">
                <a16:creationId xmlns:a16="http://schemas.microsoft.com/office/drawing/2014/main" id="{84BEA790-95CB-48CD-8358-1ADD764E5EB8}"/>
              </a:ext>
            </a:extLst>
          </p:cNvPr>
          <p:cNvSpPr>
            <a:spLocks noChangeArrowheads="1"/>
          </p:cNvSpPr>
          <p:nvPr>
            <p:custDataLst>
              <p:tags r:id="rId30"/>
            </p:custDataLst>
          </p:nvPr>
        </p:nvSpPr>
        <p:spPr bwMode="auto">
          <a:xfrm>
            <a:off x="9301886" y="3937691"/>
            <a:ext cx="493776" cy="40750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5</a:t>
            </a:r>
          </a:p>
        </p:txBody>
      </p:sp>
      <p:sp>
        <p:nvSpPr>
          <p:cNvPr id="63" name="Oval 13">
            <a:extLst>
              <a:ext uri="{FF2B5EF4-FFF2-40B4-BE49-F238E27FC236}">
                <a16:creationId xmlns:a16="http://schemas.microsoft.com/office/drawing/2014/main" id="{101ADD4C-1773-49BE-95B4-6DCF85988B7B}"/>
              </a:ext>
            </a:extLst>
          </p:cNvPr>
          <p:cNvSpPr>
            <a:spLocks noChangeArrowheads="1"/>
          </p:cNvSpPr>
          <p:nvPr>
            <p:custDataLst>
              <p:tags r:id="rId31"/>
            </p:custDataLst>
          </p:nvPr>
        </p:nvSpPr>
        <p:spPr bwMode="auto">
          <a:xfrm>
            <a:off x="4742381" y="4033857"/>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7</a:t>
            </a:r>
          </a:p>
        </p:txBody>
      </p:sp>
      <p:sp>
        <p:nvSpPr>
          <p:cNvPr id="64" name="Oval 13">
            <a:extLst>
              <a:ext uri="{FF2B5EF4-FFF2-40B4-BE49-F238E27FC236}">
                <a16:creationId xmlns:a16="http://schemas.microsoft.com/office/drawing/2014/main" id="{B8FC0CB5-FF3A-4B72-90E1-8FC233B16E6B}"/>
              </a:ext>
            </a:extLst>
          </p:cNvPr>
          <p:cNvSpPr>
            <a:spLocks noChangeArrowheads="1"/>
          </p:cNvSpPr>
          <p:nvPr>
            <p:custDataLst>
              <p:tags r:id="rId32"/>
            </p:custDataLst>
          </p:nvPr>
        </p:nvSpPr>
        <p:spPr bwMode="auto">
          <a:xfrm>
            <a:off x="9952767" y="1587774"/>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16 </a:t>
            </a:r>
          </a:p>
        </p:txBody>
      </p:sp>
      <p:sp>
        <p:nvSpPr>
          <p:cNvPr id="65" name="Oval 13">
            <a:extLst>
              <a:ext uri="{FF2B5EF4-FFF2-40B4-BE49-F238E27FC236}">
                <a16:creationId xmlns:a16="http://schemas.microsoft.com/office/drawing/2014/main" id="{337DFC3E-CC2E-4C85-8715-E3182ECB94B0}"/>
              </a:ext>
            </a:extLst>
          </p:cNvPr>
          <p:cNvSpPr>
            <a:spLocks noChangeArrowheads="1"/>
          </p:cNvSpPr>
          <p:nvPr>
            <p:custDataLst>
              <p:tags r:id="rId33"/>
            </p:custDataLst>
          </p:nvPr>
        </p:nvSpPr>
        <p:spPr bwMode="auto">
          <a:xfrm>
            <a:off x="8666192" y="4837373"/>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23</a:t>
            </a:r>
          </a:p>
        </p:txBody>
      </p:sp>
      <p:sp>
        <p:nvSpPr>
          <p:cNvPr id="66" name="Oval 13">
            <a:extLst>
              <a:ext uri="{FF2B5EF4-FFF2-40B4-BE49-F238E27FC236}">
                <a16:creationId xmlns:a16="http://schemas.microsoft.com/office/drawing/2014/main" id="{A45506D0-5B0D-42CE-A0DC-35D91A3B8B0D}"/>
              </a:ext>
            </a:extLst>
          </p:cNvPr>
          <p:cNvSpPr>
            <a:spLocks noChangeArrowheads="1"/>
          </p:cNvSpPr>
          <p:nvPr>
            <p:custDataLst>
              <p:tags r:id="rId34"/>
            </p:custDataLst>
          </p:nvPr>
        </p:nvSpPr>
        <p:spPr bwMode="auto">
          <a:xfrm>
            <a:off x="4796888" y="4722279"/>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0</a:t>
            </a:r>
          </a:p>
        </p:txBody>
      </p:sp>
      <p:sp>
        <p:nvSpPr>
          <p:cNvPr id="67" name="Oval 13">
            <a:extLst>
              <a:ext uri="{FF2B5EF4-FFF2-40B4-BE49-F238E27FC236}">
                <a16:creationId xmlns:a16="http://schemas.microsoft.com/office/drawing/2014/main" id="{E81B1BEA-9CD8-43EA-9F89-F536DCBC6407}"/>
              </a:ext>
            </a:extLst>
          </p:cNvPr>
          <p:cNvSpPr>
            <a:spLocks noChangeArrowheads="1"/>
          </p:cNvSpPr>
          <p:nvPr>
            <p:custDataLst>
              <p:tags r:id="rId35"/>
            </p:custDataLst>
          </p:nvPr>
        </p:nvSpPr>
        <p:spPr bwMode="auto">
          <a:xfrm>
            <a:off x="9325656" y="4597531"/>
            <a:ext cx="493776" cy="497632"/>
          </a:xfrm>
          <a:prstGeom prst="ellipse">
            <a:avLst/>
          </a:prstGeom>
          <a:solidFill>
            <a:srgbClr val="073262"/>
          </a:solidFill>
          <a:ln w="9525">
            <a:noFill/>
            <a:round/>
            <a:headEnd/>
            <a:tailEnd/>
          </a:ln>
        </p:spPr>
        <p:txBody>
          <a:bodyPr wrap="none" lIns="0" tIns="0" rIns="0" bIns="0" anchor="ctr"/>
          <a:lstStyle/>
          <a:p>
            <a:pPr marL="0" marR="0" lvl="0" indent="0" algn="ctr" defTabSz="973138" eaLnBrk="1" fontAlgn="base" latinLnBrk="0" hangingPunct="1">
              <a:lnSpc>
                <a:spcPct val="100000"/>
              </a:lnSpc>
              <a:spcBef>
                <a:spcPct val="0"/>
              </a:spcBef>
              <a:spcAft>
                <a:spcPct val="0"/>
              </a:spcAft>
              <a:buClr>
                <a:srgbClr val="0093D1"/>
              </a:buClr>
              <a:buSzTx/>
              <a:buFontTx/>
              <a:buNone/>
              <a:tabLst>
                <a:tab pos="1374775" algn="l"/>
              </a:tabLst>
              <a:defRPr/>
            </a:pPr>
            <a:r>
              <a:rPr kumimoji="0" lang="en-GB" sz="1000" b="1" i="0" u="none" strike="noStrike" kern="0" cap="none" spc="0" normalizeH="0" baseline="0" noProof="0" dirty="0">
                <a:ln>
                  <a:noFill/>
                </a:ln>
                <a:solidFill>
                  <a:prstClr val="white"/>
                </a:solidFill>
                <a:effectLst/>
                <a:uLnTx/>
                <a:uFillTx/>
                <a:latin typeface="Georgia"/>
                <a:ea typeface="ＭＳ Ｐゴシック"/>
                <a:cs typeface="Calibri" panose="020F0502020204030204" pitchFamily="34" charset="0"/>
              </a:rPr>
              <a:t>K31</a:t>
            </a:r>
          </a:p>
        </p:txBody>
      </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9438466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5D00601A-24E7-468F-A993-94D27B41E287}"/>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lvl="0">
              <a:defRPr/>
            </a:pPr>
            <a:r>
              <a:rPr lang="en-US" kern="0" dirty="0">
                <a:solidFill>
                  <a:srgbClr val="073262"/>
                </a:solidFill>
              </a:rPr>
              <a:t>Categories</a:t>
            </a:r>
          </a:p>
        </p:txBody>
      </p:sp>
      <p:grpSp>
        <p:nvGrpSpPr>
          <p:cNvPr id="19" name="Group 18">
            <a:extLst>
              <a:ext uri="{FF2B5EF4-FFF2-40B4-BE49-F238E27FC236}">
                <a16:creationId xmlns:a16="http://schemas.microsoft.com/office/drawing/2014/main" id="{9FE74E51-FB57-4899-A336-A69EA1B66A04}"/>
              </a:ext>
            </a:extLst>
          </p:cNvPr>
          <p:cNvGrpSpPr/>
          <p:nvPr/>
        </p:nvGrpSpPr>
        <p:grpSpPr>
          <a:xfrm>
            <a:off x="746808" y="1332648"/>
            <a:ext cx="10684666" cy="4745154"/>
            <a:chOff x="981257" y="2126696"/>
            <a:chExt cx="7056943" cy="2981941"/>
          </a:xfrm>
        </p:grpSpPr>
        <p:sp>
          <p:nvSpPr>
            <p:cNvPr id="20" name="Rounded Rectangle 3">
              <a:extLst>
                <a:ext uri="{FF2B5EF4-FFF2-40B4-BE49-F238E27FC236}">
                  <a16:creationId xmlns:a16="http://schemas.microsoft.com/office/drawing/2014/main" id="{C70A2FE2-2BBA-49D5-90E3-65EE19D52754}"/>
                </a:ext>
              </a:extLst>
            </p:cNvPr>
            <p:cNvSpPr/>
            <p:nvPr/>
          </p:nvSpPr>
          <p:spPr>
            <a:xfrm>
              <a:off x="981257" y="2126696"/>
              <a:ext cx="2970000" cy="1381776"/>
            </a:xfrm>
            <a:prstGeom prst="roundRect">
              <a:avLst/>
            </a:prstGeom>
            <a:solidFill>
              <a:srgbClr val="07326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Georgia"/>
                </a:rPr>
                <a:t>SYSTEM</a:t>
              </a:r>
              <a:endParaRPr kumimoji="0" lang="id-ID" sz="2000" b="1" i="0" u="none" strike="noStrike" kern="0" cap="none" spc="0" normalizeH="0" baseline="0" noProof="0" dirty="0">
                <a:ln>
                  <a:noFill/>
                </a:ln>
                <a:solidFill>
                  <a:prstClr val="white"/>
                </a:solidFill>
                <a:effectLst/>
                <a:uLnTx/>
                <a:uFillTx/>
                <a:latin typeface="Georgia"/>
              </a:endParaRPr>
            </a:p>
          </p:txBody>
        </p:sp>
        <p:sp>
          <p:nvSpPr>
            <p:cNvPr id="21" name="Oval 20">
              <a:extLst>
                <a:ext uri="{FF2B5EF4-FFF2-40B4-BE49-F238E27FC236}">
                  <a16:creationId xmlns:a16="http://schemas.microsoft.com/office/drawing/2014/main" id="{0FB2B5D2-688B-4C10-AD47-5DA7307CD5E5}"/>
                </a:ext>
              </a:extLst>
            </p:cNvPr>
            <p:cNvSpPr>
              <a:spLocks noChangeAspect="1"/>
            </p:cNvSpPr>
            <p:nvPr/>
          </p:nvSpPr>
          <p:spPr>
            <a:xfrm>
              <a:off x="3478758" y="2345084"/>
              <a:ext cx="945000" cy="945000"/>
            </a:xfrm>
            <a:prstGeom prst="ellipse">
              <a:avLst/>
            </a:prstGeom>
            <a:solidFill>
              <a:srgbClr val="FF555F"/>
            </a:solidFill>
            <a:ln w="508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Georgia"/>
                </a:rPr>
                <a:t>15</a:t>
              </a:r>
              <a:endParaRPr kumimoji="0" lang="id-ID" sz="2800" b="1" i="0" u="none" strike="noStrike" kern="0" cap="none" spc="0" normalizeH="0" baseline="0" noProof="0" dirty="0">
                <a:ln>
                  <a:noFill/>
                </a:ln>
                <a:solidFill>
                  <a:prstClr val="white"/>
                </a:solidFill>
                <a:effectLst/>
                <a:uLnTx/>
                <a:uFillTx/>
                <a:latin typeface="Georgia"/>
              </a:endParaRPr>
            </a:p>
          </p:txBody>
        </p:sp>
        <p:sp>
          <p:nvSpPr>
            <p:cNvPr id="22" name="Rounded Rectangle 5">
              <a:extLst>
                <a:ext uri="{FF2B5EF4-FFF2-40B4-BE49-F238E27FC236}">
                  <a16:creationId xmlns:a16="http://schemas.microsoft.com/office/drawing/2014/main" id="{C48CDE7B-595F-4BB7-81C2-B758F08640D7}"/>
                </a:ext>
              </a:extLst>
            </p:cNvPr>
            <p:cNvSpPr/>
            <p:nvPr/>
          </p:nvSpPr>
          <p:spPr>
            <a:xfrm>
              <a:off x="981257" y="3726860"/>
              <a:ext cx="2970000" cy="1381776"/>
            </a:xfrm>
            <a:prstGeom prst="roundRect">
              <a:avLst/>
            </a:prstGeom>
            <a:solidFill>
              <a:srgbClr val="FF55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Georgia"/>
                </a:rPr>
                <a:t>PROCESS</a:t>
              </a:r>
              <a:endParaRPr kumimoji="0" lang="id-ID" sz="2000" b="1" i="0" u="none" strike="noStrike" kern="0" cap="none" spc="0" normalizeH="0" baseline="0" noProof="0" dirty="0">
                <a:ln>
                  <a:noFill/>
                </a:ln>
                <a:solidFill>
                  <a:prstClr val="white"/>
                </a:solidFill>
                <a:effectLst/>
                <a:uLnTx/>
                <a:uFillTx/>
                <a:latin typeface="Georgia"/>
              </a:endParaRPr>
            </a:p>
          </p:txBody>
        </p:sp>
        <p:sp>
          <p:nvSpPr>
            <p:cNvPr id="23" name="Oval 22">
              <a:extLst>
                <a:ext uri="{FF2B5EF4-FFF2-40B4-BE49-F238E27FC236}">
                  <a16:creationId xmlns:a16="http://schemas.microsoft.com/office/drawing/2014/main" id="{24AABFDC-BF44-47FB-8CC1-E9E34CB7943D}"/>
                </a:ext>
              </a:extLst>
            </p:cNvPr>
            <p:cNvSpPr>
              <a:spLocks noChangeAspect="1"/>
            </p:cNvSpPr>
            <p:nvPr/>
          </p:nvSpPr>
          <p:spPr>
            <a:xfrm>
              <a:off x="3478758" y="3945248"/>
              <a:ext cx="945000" cy="945000"/>
            </a:xfrm>
            <a:prstGeom prst="ellipse">
              <a:avLst/>
            </a:prstGeom>
            <a:solidFill>
              <a:srgbClr val="073262"/>
            </a:solidFill>
            <a:ln w="508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800" b="1" kern="0" dirty="0">
                  <a:solidFill>
                    <a:prstClr val="white"/>
                  </a:solidFill>
                  <a:latin typeface="Georgia"/>
                </a:rPr>
                <a:t>9</a:t>
              </a:r>
              <a:endParaRPr kumimoji="0" lang="id-ID" sz="2800" b="1" i="0" u="none" strike="noStrike" kern="0" cap="none" spc="0" normalizeH="0" baseline="0" noProof="0" dirty="0">
                <a:ln>
                  <a:noFill/>
                </a:ln>
                <a:solidFill>
                  <a:prstClr val="white"/>
                </a:solidFill>
                <a:effectLst/>
                <a:uLnTx/>
                <a:uFillTx/>
                <a:latin typeface="Georgia"/>
              </a:endParaRPr>
            </a:p>
          </p:txBody>
        </p:sp>
        <p:sp>
          <p:nvSpPr>
            <p:cNvPr id="24" name="Rounded Rectangle 7">
              <a:extLst>
                <a:ext uri="{FF2B5EF4-FFF2-40B4-BE49-F238E27FC236}">
                  <a16:creationId xmlns:a16="http://schemas.microsoft.com/office/drawing/2014/main" id="{7CE335CB-6D99-4363-B1B5-DDC917810384}"/>
                </a:ext>
              </a:extLst>
            </p:cNvPr>
            <p:cNvSpPr/>
            <p:nvPr/>
          </p:nvSpPr>
          <p:spPr>
            <a:xfrm>
              <a:off x="5068200" y="2126696"/>
              <a:ext cx="2970000" cy="1381776"/>
            </a:xfrm>
            <a:prstGeom prst="roundRect">
              <a:avLst/>
            </a:prstGeom>
            <a:solidFill>
              <a:srgbClr val="FF555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Georgia"/>
                </a:rPr>
                <a:t>DATA</a:t>
              </a:r>
              <a:endParaRPr kumimoji="0" lang="id-ID" sz="2000" b="1" i="0" u="none" strike="noStrike" kern="0" cap="none" spc="0" normalizeH="0" baseline="0" noProof="0" dirty="0">
                <a:ln>
                  <a:noFill/>
                </a:ln>
                <a:solidFill>
                  <a:prstClr val="white"/>
                </a:solidFill>
                <a:effectLst/>
                <a:uLnTx/>
                <a:uFillTx/>
                <a:latin typeface="Georgia"/>
              </a:endParaRPr>
            </a:p>
          </p:txBody>
        </p:sp>
        <p:sp>
          <p:nvSpPr>
            <p:cNvPr id="25" name="Oval 24">
              <a:extLst>
                <a:ext uri="{FF2B5EF4-FFF2-40B4-BE49-F238E27FC236}">
                  <a16:creationId xmlns:a16="http://schemas.microsoft.com/office/drawing/2014/main" id="{FC8079F7-5933-4D11-81BE-A21495DA9753}"/>
                </a:ext>
              </a:extLst>
            </p:cNvPr>
            <p:cNvSpPr>
              <a:spLocks noChangeAspect="1"/>
            </p:cNvSpPr>
            <p:nvPr/>
          </p:nvSpPr>
          <p:spPr>
            <a:xfrm>
              <a:off x="4613412" y="2345084"/>
              <a:ext cx="945000" cy="945000"/>
            </a:xfrm>
            <a:prstGeom prst="ellipse">
              <a:avLst/>
            </a:prstGeom>
            <a:solidFill>
              <a:srgbClr val="073262"/>
            </a:solidFill>
            <a:ln w="508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Georgia"/>
                </a:rPr>
                <a:t>7</a:t>
              </a:r>
              <a:endParaRPr kumimoji="0" lang="id-ID" sz="2800" b="1" i="0" u="none" strike="noStrike" kern="0" cap="none" spc="0" normalizeH="0" baseline="0" noProof="0" dirty="0">
                <a:ln>
                  <a:noFill/>
                </a:ln>
                <a:solidFill>
                  <a:prstClr val="white"/>
                </a:solidFill>
                <a:effectLst/>
                <a:uLnTx/>
                <a:uFillTx/>
                <a:latin typeface="Georgia"/>
              </a:endParaRPr>
            </a:p>
          </p:txBody>
        </p:sp>
        <p:sp>
          <p:nvSpPr>
            <p:cNvPr id="26" name="Rounded Rectangle 9">
              <a:extLst>
                <a:ext uri="{FF2B5EF4-FFF2-40B4-BE49-F238E27FC236}">
                  <a16:creationId xmlns:a16="http://schemas.microsoft.com/office/drawing/2014/main" id="{71D0D2D2-4921-4A59-A503-D2CCE0C75F96}"/>
                </a:ext>
              </a:extLst>
            </p:cNvPr>
            <p:cNvSpPr/>
            <p:nvPr/>
          </p:nvSpPr>
          <p:spPr>
            <a:xfrm>
              <a:off x="5068200" y="3726861"/>
              <a:ext cx="2970000" cy="1381776"/>
            </a:xfrm>
            <a:prstGeom prst="roundRect">
              <a:avLst/>
            </a:prstGeom>
            <a:solidFill>
              <a:srgbClr val="07326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Georgia"/>
                </a:rPr>
                <a:t>CUSTOMER INPUT</a:t>
              </a:r>
              <a:endParaRPr kumimoji="0" lang="id-ID" sz="2000" b="1" i="0" u="none" strike="noStrike" kern="0" cap="none" spc="0" normalizeH="0" baseline="0" noProof="0" dirty="0">
                <a:ln>
                  <a:noFill/>
                </a:ln>
                <a:solidFill>
                  <a:prstClr val="white"/>
                </a:solidFill>
                <a:effectLst/>
                <a:uLnTx/>
                <a:uFillTx/>
                <a:latin typeface="Georgia"/>
              </a:endParaRPr>
            </a:p>
          </p:txBody>
        </p:sp>
        <p:sp>
          <p:nvSpPr>
            <p:cNvPr id="27" name="Oval 26">
              <a:extLst>
                <a:ext uri="{FF2B5EF4-FFF2-40B4-BE49-F238E27FC236}">
                  <a16:creationId xmlns:a16="http://schemas.microsoft.com/office/drawing/2014/main" id="{ADE387AC-833A-4CC5-A4A0-B35F30DE0DB2}"/>
                </a:ext>
              </a:extLst>
            </p:cNvPr>
            <p:cNvSpPr>
              <a:spLocks noChangeAspect="1"/>
            </p:cNvSpPr>
            <p:nvPr/>
          </p:nvSpPr>
          <p:spPr>
            <a:xfrm>
              <a:off x="4613412" y="3945249"/>
              <a:ext cx="945000" cy="945000"/>
            </a:xfrm>
            <a:prstGeom prst="ellipse">
              <a:avLst/>
            </a:prstGeom>
            <a:solidFill>
              <a:srgbClr val="FF555F"/>
            </a:solidFill>
            <a:ln w="508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prstClr val="white"/>
                  </a:solidFill>
                  <a:effectLst/>
                  <a:uLnTx/>
                  <a:uFillTx/>
                  <a:latin typeface="Georgia"/>
                </a:rPr>
                <a:t>4</a:t>
              </a:r>
              <a:endParaRPr kumimoji="0" lang="id-ID" sz="2800" b="1" i="0" u="none" strike="noStrike" kern="0" cap="none" spc="0" normalizeH="0" baseline="0" noProof="0" dirty="0">
                <a:ln>
                  <a:noFill/>
                </a:ln>
                <a:solidFill>
                  <a:prstClr val="white"/>
                </a:solidFill>
                <a:effectLst/>
                <a:uLnTx/>
                <a:uFillTx/>
                <a:latin typeface="Georgia"/>
              </a:endParaRPr>
            </a:p>
          </p:txBody>
        </p:sp>
      </p:grpSp>
      <p:sp>
        <p:nvSpPr>
          <p:cNvPr id="2" name="Footer Placeholder 1"/>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spTree>
    <p:extLst>
      <p:ext uri="{BB962C8B-B14F-4D97-AF65-F5344CB8AC3E}">
        <p14:creationId xmlns:p14="http://schemas.microsoft.com/office/powerpoint/2010/main" val="11409353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0C489D-79B1-435D-88E5-5CC6E2FB2995}"/>
              </a:ext>
            </a:extLst>
          </p:cNvPr>
          <p:cNvPicPr>
            <a:picLocks noChangeAspect="1"/>
          </p:cNvPicPr>
          <p:nvPr/>
        </p:nvPicPr>
        <p:blipFill>
          <a:blip r:embed="rId2"/>
          <a:stretch>
            <a:fillRect/>
          </a:stretch>
        </p:blipFill>
        <p:spPr>
          <a:xfrm>
            <a:off x="1098936" y="1415331"/>
            <a:ext cx="9559686" cy="4353558"/>
          </a:xfrm>
          <a:prstGeom prst="rect">
            <a:avLst/>
          </a:prstGeom>
        </p:spPr>
      </p:pic>
      <p:sp>
        <p:nvSpPr>
          <p:cNvPr id="2" name="Footer Placeholder 1">
            <a:extLst>
              <a:ext uri="{FF2B5EF4-FFF2-40B4-BE49-F238E27FC236}">
                <a16:creationId xmlns:a16="http://schemas.microsoft.com/office/drawing/2014/main" id="{CD8B9D60-52E5-4635-A8CC-4C2F4E7FA3E6}"/>
              </a:ext>
            </a:extLst>
          </p:cNvPr>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pic>
        <p:nvPicPr>
          <p:cNvPr id="9" name="Picture 8">
            <a:extLst>
              <a:ext uri="{FF2B5EF4-FFF2-40B4-BE49-F238E27FC236}">
                <a16:creationId xmlns:a16="http://schemas.microsoft.com/office/drawing/2014/main" id="{9CB568CA-D0D4-4DAE-916F-FBA7FF788F64}"/>
              </a:ext>
            </a:extLst>
          </p:cNvPr>
          <p:cNvPicPr>
            <a:picLocks noChangeAspect="1"/>
          </p:cNvPicPr>
          <p:nvPr/>
        </p:nvPicPr>
        <p:blipFill>
          <a:blip r:embed="rId2"/>
          <a:stretch>
            <a:fillRect/>
          </a:stretch>
        </p:blipFill>
        <p:spPr>
          <a:xfrm>
            <a:off x="1533378" y="1662437"/>
            <a:ext cx="9559686" cy="4353558"/>
          </a:xfrm>
          <a:prstGeom prst="rect">
            <a:avLst/>
          </a:prstGeom>
        </p:spPr>
      </p:pic>
      <p:sp>
        <p:nvSpPr>
          <p:cNvPr id="4" name="Text Placeholder 1">
            <a:extLst>
              <a:ext uri="{FF2B5EF4-FFF2-40B4-BE49-F238E27FC236}">
                <a16:creationId xmlns:a16="http://schemas.microsoft.com/office/drawing/2014/main" id="{B3D5BD14-CBAB-41B0-84D4-510348A313EB}"/>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73262"/>
                </a:solidFill>
                <a:effectLst/>
                <a:uLnTx/>
                <a:uFillTx/>
                <a:latin typeface="Georgia" panose="02040502050405020303" pitchFamily="18" charset="0"/>
                <a:ea typeface="+mn-ea"/>
                <a:cs typeface="+mn-cs"/>
              </a:rPr>
              <a:t>Kaizen details</a:t>
            </a:r>
            <a:endParaRPr kumimoji="0" lang="en-US" sz="3000" b="0" i="0" u="none" strike="noStrike" kern="0" cap="none" spc="0" normalizeH="0" baseline="0" noProof="0" dirty="0">
              <a:ln>
                <a:noFill/>
              </a:ln>
              <a:solidFill>
                <a:schemeClr val="accent2"/>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12336452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8D8A8B7-CE30-48FC-B939-40E2A72BFCCE}"/>
              </a:ext>
            </a:extLst>
          </p:cNvPr>
          <p:cNvSpPr>
            <a:spLocks noGrp="1"/>
          </p:cNvSpPr>
          <p:nvPr>
            <p:ph type="ftr" sz="quarter" idx="3"/>
          </p:nvPr>
        </p:nvSpPr>
        <p:spPr/>
        <p:txBody>
          <a:bodyPr/>
          <a:lstStyle/>
          <a:p>
            <a:r>
              <a:rPr lang="en-US">
                <a:ea typeface="Cambria" panose="02040503050406030204" pitchFamily="18" charset="0"/>
                <a:cs typeface="Calibri" charset="0"/>
              </a:rPr>
              <a:t>© 2020 Copyright Genpact. All Rights Reserved.</a:t>
            </a:r>
            <a:endParaRPr lang="en-US" dirty="0">
              <a:ea typeface="Cambria" panose="02040503050406030204" pitchFamily="18" charset="0"/>
              <a:cs typeface="Calibri" charset="0"/>
            </a:endParaRPr>
          </a:p>
        </p:txBody>
      </p:sp>
      <p:pic>
        <p:nvPicPr>
          <p:cNvPr id="14" name="Picture 13">
            <a:extLst>
              <a:ext uri="{FF2B5EF4-FFF2-40B4-BE49-F238E27FC236}">
                <a16:creationId xmlns:a16="http://schemas.microsoft.com/office/drawing/2014/main" id="{904057B6-CF30-4315-939E-174DBBF3B7BB}"/>
              </a:ext>
            </a:extLst>
          </p:cNvPr>
          <p:cNvPicPr>
            <a:picLocks noChangeAspect="1"/>
          </p:cNvPicPr>
          <p:nvPr/>
        </p:nvPicPr>
        <p:blipFill>
          <a:blip r:embed="rId2"/>
          <a:stretch>
            <a:fillRect/>
          </a:stretch>
        </p:blipFill>
        <p:spPr>
          <a:xfrm>
            <a:off x="726142" y="1383725"/>
            <a:ext cx="10901082" cy="3410300"/>
          </a:xfrm>
          <a:prstGeom prst="rect">
            <a:avLst/>
          </a:prstGeom>
        </p:spPr>
      </p:pic>
      <p:sp>
        <p:nvSpPr>
          <p:cNvPr id="15" name="TextBox 14">
            <a:extLst>
              <a:ext uri="{FF2B5EF4-FFF2-40B4-BE49-F238E27FC236}">
                <a16:creationId xmlns:a16="http://schemas.microsoft.com/office/drawing/2014/main" id="{BBC8DA00-9687-45CD-AA11-1945EF340538}"/>
              </a:ext>
            </a:extLst>
          </p:cNvPr>
          <p:cNvSpPr txBox="1"/>
          <p:nvPr/>
        </p:nvSpPr>
        <p:spPr>
          <a:xfrm>
            <a:off x="623887" y="5172635"/>
            <a:ext cx="5292819" cy="1093694"/>
          </a:xfrm>
          <a:prstGeom prst="rect">
            <a:avLst/>
          </a:prstGeom>
        </p:spPr>
        <p:txBody>
          <a:bodyPr vert="horz" wrap="square" lIns="0" tIns="45720" rIns="91440" bIns="45720" rtlCol="0" anchor="t">
            <a:noAutofit/>
          </a:bodyPr>
          <a:lstStyle/>
          <a:p>
            <a:pPr algn="l"/>
            <a:r>
              <a:rPr lang="en-US" sz="1200" dirty="0"/>
              <a:t>*</a:t>
            </a:r>
          </a:p>
          <a:p>
            <a:pPr algn="l"/>
            <a:r>
              <a:rPr lang="en-US" sz="1200" dirty="0"/>
              <a:t>Based on January analysis</a:t>
            </a:r>
          </a:p>
          <a:p>
            <a:pPr algn="l"/>
            <a:r>
              <a:rPr lang="en-US" sz="1200" dirty="0"/>
              <a:t>Impact depending on System, Process, Data, Customer input</a:t>
            </a:r>
          </a:p>
          <a:p>
            <a:pPr algn="l"/>
            <a:r>
              <a:rPr lang="en-US" sz="1200" dirty="0"/>
              <a:t>% improvement indicative of end-to-end solutions for the drivers</a:t>
            </a:r>
          </a:p>
          <a:p>
            <a:pPr algn="l"/>
            <a:endParaRPr lang="en-US" sz="1200" dirty="0"/>
          </a:p>
          <a:p>
            <a:pPr algn="l"/>
            <a:endParaRPr lang="en-US" sz="1200" dirty="0"/>
          </a:p>
        </p:txBody>
      </p:sp>
      <p:sp>
        <p:nvSpPr>
          <p:cNvPr id="16" name="Text Placeholder 1">
            <a:extLst>
              <a:ext uri="{FF2B5EF4-FFF2-40B4-BE49-F238E27FC236}">
                <a16:creationId xmlns:a16="http://schemas.microsoft.com/office/drawing/2014/main" id="{1793D6A4-2B9B-4D23-B734-F8949B88A230}"/>
              </a:ext>
            </a:extLst>
          </p:cNvPr>
          <p:cNvSpPr txBox="1">
            <a:spLocks/>
          </p:cNvSpPr>
          <p:nvPr/>
        </p:nvSpPr>
        <p:spPr>
          <a:xfrm>
            <a:off x="457200" y="471715"/>
            <a:ext cx="11277600" cy="533400"/>
          </a:xfrm>
          <a:prstGeom prst="rect">
            <a:avLst/>
          </a:prstGeom>
        </p:spPr>
        <p:txBody>
          <a:bodyPr lIns="0" rIns="0" anchor="t" anchorCtr="0"/>
          <a:lstStyle>
            <a:lvl1pPr marL="0">
              <a:defRPr sz="3000">
                <a:solidFill>
                  <a:schemeClr val="tx1"/>
                </a:solidFill>
                <a:latin typeface="Georgia" panose="02040502050405020303" pitchFamily="18" charset="0"/>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rgbClr val="073262"/>
                </a:solidFill>
                <a:effectLst/>
                <a:uLnTx/>
                <a:uFillTx/>
                <a:latin typeface="Georgia" panose="02040502050405020303" pitchFamily="18" charset="0"/>
                <a:ea typeface="+mn-ea"/>
                <a:cs typeface="+mn-cs"/>
              </a:rPr>
              <a:t>Auto Bank Improvements</a:t>
            </a:r>
            <a:endParaRPr kumimoji="0" lang="en-US" sz="3000" b="0" i="0" u="none" strike="noStrike" kern="0" cap="none" spc="0" normalizeH="0" baseline="0" noProof="0" dirty="0">
              <a:ln>
                <a:noFill/>
              </a:ln>
              <a:solidFill>
                <a:schemeClr val="accent2"/>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3988559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BoQJx2z20CLTNvD8P.gSw"/>
</p:tagLst>
</file>

<file path=ppt/theme/theme1.xml><?xml version="1.0" encoding="utf-8"?>
<a:theme xmlns:a="http://schemas.openxmlformats.org/drawingml/2006/main" name="Light Theme">
  <a:themeElements>
    <a:clrScheme name="Custom 2">
      <a:dk1>
        <a:srgbClr val="000000"/>
      </a:dk1>
      <a:lt1>
        <a:srgbClr val="FFFFFF"/>
      </a:lt1>
      <a:dk2>
        <a:srgbClr val="021D44"/>
      </a:dk2>
      <a:lt2>
        <a:srgbClr val="798399"/>
      </a:lt2>
      <a:accent1>
        <a:srgbClr val="00AECF"/>
      </a:accent1>
      <a:accent2>
        <a:srgbClr val="FF555F"/>
      </a:accent2>
      <a:accent3>
        <a:srgbClr val="073262"/>
      </a:accent3>
      <a:accent4>
        <a:srgbClr val="007199"/>
      </a:accent4>
      <a:accent5>
        <a:srgbClr val="894560"/>
      </a:accent5>
      <a:accent6>
        <a:srgbClr val="10548C"/>
      </a:accent6>
      <a:hlink>
        <a:srgbClr val="10548C"/>
      </a:hlink>
      <a:folHlink>
        <a:srgbClr val="894560"/>
      </a:folHlink>
    </a:clrScheme>
    <a:fontScheme name="Genpact theme 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45720" rIns="91440" bIns="45720" rtlCol="0" anchor="t">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New Branding colors_10-10-2017">
      <a:dk1>
        <a:srgbClr val="073262"/>
      </a:dk1>
      <a:lt1>
        <a:sysClr val="window" lastClr="FFFFFF"/>
      </a:lt1>
      <a:dk2>
        <a:srgbClr val="EBECED"/>
      </a:dk2>
      <a:lt2>
        <a:srgbClr val="BFC0C1"/>
      </a:lt2>
      <a:accent1>
        <a:srgbClr val="FF555F"/>
      </a:accent1>
      <a:accent2>
        <a:srgbClr val="00AECF"/>
      </a:accent2>
      <a:accent3>
        <a:srgbClr val="10548C"/>
      </a:accent3>
      <a:accent4>
        <a:srgbClr val="EA3946"/>
      </a:accent4>
      <a:accent5>
        <a:srgbClr val="60C7D7"/>
      </a:accent5>
      <a:accent6>
        <a:srgbClr val="000000"/>
      </a:accent6>
      <a:hlink>
        <a:srgbClr val="60C7D7"/>
      </a:hlink>
      <a:folHlink>
        <a:srgbClr val="1F497D"/>
      </a:folHlink>
    </a:clrScheme>
    <a:fontScheme name="G PPT 2017">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3</TotalTime>
  <Words>2976</Words>
  <Application>Microsoft Office PowerPoint</Application>
  <PresentationFormat>Widescreen</PresentationFormat>
  <Paragraphs>831</Paragraphs>
  <Slides>24</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4" baseType="lpstr">
      <vt:lpstr>Arial</vt:lpstr>
      <vt:lpstr>Arial Bold</vt:lpstr>
      <vt:lpstr>Calibri</vt:lpstr>
      <vt:lpstr>Garamond</vt:lpstr>
      <vt:lpstr>GE Inspira</vt:lpstr>
      <vt:lpstr>Georgia</vt:lpstr>
      <vt:lpstr>Wingdings</vt:lpstr>
      <vt:lpstr>Light Theme</vt:lpstr>
      <vt:lpstr>Blank</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garwal, Mohit A</dc:creator>
  <cp:lastModifiedBy>Kerekes, Balazs</cp:lastModifiedBy>
  <cp:revision>44</cp:revision>
  <dcterms:created xsi:type="dcterms:W3CDTF">2021-02-24T09:53:40Z</dcterms:created>
  <dcterms:modified xsi:type="dcterms:W3CDTF">2021-02-25T22:21:02Z</dcterms:modified>
</cp:coreProperties>
</file>